
<file path=[Content_Types].xml><?xml version="1.0" encoding="utf-8"?>
<Types xmlns="http://schemas.openxmlformats.org/package/2006/content-types">
  <Default Extension="xml" ContentType="application/xml"/>
  <Default Extension="wmf" ContentType="image/x-wmf"/>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embeddings/oleObject1.bin" ContentType="application/vnd.openxmlformats-officedocument.oleObject"/>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embeddings/oleObject2.bin" ContentType="application/vnd.openxmlformats-officedocument.oleObject"/>
  <Override PartName="/ppt/tags/tag17.xml" ContentType="application/vnd.openxmlformats-officedocument.presentationml.tags+xml"/>
  <Override PartName="/ppt/tags/tag18.xml" ContentType="application/vnd.openxmlformats-officedocument.presentationml.tags+xml"/>
  <Override PartName="/ppt/embeddings/oleObject3.bin" ContentType="application/vnd.openxmlformats-officedocument.oleObject"/>
  <Override PartName="/ppt/tags/tag19.xml" ContentType="application/vnd.openxmlformats-officedocument.presentationml.tags+xml"/>
  <Override PartName="/ppt/tags/tag20.xml" ContentType="application/vnd.openxmlformats-officedocument.presentationml.tags+xml"/>
  <Override PartName="/ppt/embeddings/oleObject4.bin" ContentType="application/vnd.openxmlformats-officedocument.oleObject"/>
  <Override PartName="/ppt/tags/tag21.xml" ContentType="application/vnd.openxmlformats-officedocument.presentationml.tags+xml"/>
  <Override PartName="/ppt/tags/tag22.xml" ContentType="application/vnd.openxmlformats-officedocument.presentationml.tags+xml"/>
  <Override PartName="/ppt/embeddings/oleObject5.bin" ContentType="application/vnd.openxmlformats-officedocument.oleObject"/>
  <Override PartName="/ppt/tags/tag23.xml" ContentType="application/vnd.openxmlformats-officedocument.presentationml.tags+xml"/>
  <Override PartName="/ppt/tags/tag24.xml" ContentType="application/vnd.openxmlformats-officedocument.presentationml.tags+xml"/>
  <Override PartName="/ppt/embeddings/oleObject6.bin" ContentType="application/vnd.openxmlformats-officedocument.oleObject"/>
  <Override PartName="/ppt/embeddings/oleObject7.bin" ContentType="application/vnd.openxmlformats-officedocument.oleObject"/>
  <Override PartName="/ppt/tags/tag25.xml" ContentType="application/vnd.openxmlformats-officedocument.presentationml.tags+xml"/>
  <Override PartName="/ppt/embeddings/oleObject8.bin" ContentType="application/vnd.openxmlformats-officedocument.oleObject"/>
  <Override PartName="/ppt/tags/tag26.xml" ContentType="application/vnd.openxmlformats-officedocument.presentationml.tags+xml"/>
  <Override PartName="/ppt/tags/tag27.xml" ContentType="application/vnd.openxmlformats-officedocument.presentationml.tags+xml"/>
  <Override PartName="/ppt/embeddings/oleObject9.bin" ContentType="application/vnd.openxmlformats-officedocument.oleObject"/>
  <Override PartName="/ppt/tags/tag28.xml" ContentType="application/vnd.openxmlformats-officedocument.presentationml.tags+xml"/>
  <Override PartName="/ppt/tags/tag29.xml" ContentType="application/vnd.openxmlformats-officedocument.presentationml.tags+xml"/>
  <Override PartName="/ppt/embeddings/oleObject10.bin" ContentType="application/vnd.openxmlformats-officedocument.oleObject"/>
  <Override PartName="/ppt/tags/tag30.xml" ContentType="application/vnd.openxmlformats-officedocument.presentationml.tags+xml"/>
  <Override PartName="/ppt/tags/tag31.xml" ContentType="application/vnd.openxmlformats-officedocument.presentationml.tags+xml"/>
  <Override PartName="/ppt/embeddings/oleObject11.bin" ContentType="application/vnd.openxmlformats-officedocument.oleObject"/>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embeddings/oleObject12.bin" ContentType="application/vnd.openxmlformats-officedocument.oleObject"/>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embeddings/oleObject13.bin" ContentType="application/vnd.openxmlformats-officedocument.oleObject"/>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embeddings/oleObject14.bin" ContentType="application/vnd.openxmlformats-officedocument.oleObject"/>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embeddings/oleObject15.bin" ContentType="application/vnd.openxmlformats-officedocument.oleObject"/>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embeddings/oleObject16.bin" ContentType="application/vnd.openxmlformats-officedocument.oleObject"/>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embeddings/oleObject17.bin" ContentType="application/vnd.openxmlformats-officedocument.oleObject"/>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embeddings/oleObject18.bin" ContentType="application/vnd.openxmlformats-officedocument.oleObject"/>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embeddings/oleObject19.bin" ContentType="application/vnd.openxmlformats-officedocument.oleObject"/>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embeddings/oleObject20.bin" ContentType="application/vnd.openxmlformats-officedocument.oleObject"/>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embeddings/oleObject21.bin" ContentType="application/vnd.openxmlformats-officedocument.oleObject"/>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embeddings/oleObject22.bin" ContentType="application/vnd.openxmlformats-officedocument.oleObject"/>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embeddings/oleObject23.bin" ContentType="application/vnd.openxmlformats-officedocument.oleObject"/>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6.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embeddings/oleObject24.bin" ContentType="application/vnd.openxmlformats-officedocument.oleObject"/>
  <Override PartName="/ppt/tags/tag124.xml" ContentType="application/vnd.openxmlformats-officedocument.presentationml.tags+xml"/>
  <Override PartName="/ppt/tags/tag125.xml" ContentType="application/vnd.openxmlformats-officedocument.presentationml.tags+xml"/>
  <Override PartName="/ppt/embeddings/oleObject25.bin" ContentType="application/vnd.openxmlformats-officedocument.oleObject"/>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notesSlides/notesSlide3.xml" ContentType="application/vnd.openxmlformats-officedocument.presentationml.notesSlide+xml"/>
  <Override PartName="/ppt/tags/tag220.xml" ContentType="application/vnd.openxmlformats-officedocument.presentationml.tags+xml"/>
  <Override PartName="/ppt/tags/tag22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22.xml" ContentType="application/vnd.openxmlformats-officedocument.presentationml.tags+xml"/>
  <Override PartName="/ppt/notesSlides/notesSlide13.xml" ContentType="application/vnd.openxmlformats-officedocument.presentationml.notesSlide+xml"/>
  <Override PartName="/ppt/embeddings/oleObject26.bin" ContentType="application/vnd.openxmlformats-officedocument.oleObject"/>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242" r:id="rId1"/>
    <p:sldMasterId id="2147484334" r:id="rId2"/>
    <p:sldMasterId id="2147484353" r:id="rId3"/>
    <p:sldMasterId id="2147484371" r:id="rId4"/>
    <p:sldMasterId id="2147484390" r:id="rId5"/>
    <p:sldMasterId id="2147484408" r:id="rId6"/>
  </p:sldMasterIdLst>
  <p:notesMasterIdLst>
    <p:notesMasterId r:id="rId43"/>
  </p:notesMasterIdLst>
  <p:handoutMasterIdLst>
    <p:handoutMasterId r:id="rId44"/>
  </p:handoutMasterIdLst>
  <p:sldIdLst>
    <p:sldId id="603" r:id="rId7"/>
    <p:sldId id="882" r:id="rId8"/>
    <p:sldId id="859" r:id="rId9"/>
    <p:sldId id="866" r:id="rId10"/>
    <p:sldId id="857" r:id="rId11"/>
    <p:sldId id="867" r:id="rId12"/>
    <p:sldId id="868" r:id="rId13"/>
    <p:sldId id="869" r:id="rId14"/>
    <p:sldId id="861" r:id="rId15"/>
    <p:sldId id="736" r:id="rId16"/>
    <p:sldId id="737" r:id="rId17"/>
    <p:sldId id="879" r:id="rId18"/>
    <p:sldId id="872" r:id="rId19"/>
    <p:sldId id="738" r:id="rId20"/>
    <p:sldId id="884" r:id="rId21"/>
    <p:sldId id="885" r:id="rId22"/>
    <p:sldId id="886" r:id="rId23"/>
    <p:sldId id="892" r:id="rId24"/>
    <p:sldId id="893" r:id="rId25"/>
    <p:sldId id="894" r:id="rId26"/>
    <p:sldId id="895" r:id="rId27"/>
    <p:sldId id="898" r:id="rId28"/>
    <p:sldId id="901" r:id="rId29"/>
    <p:sldId id="902" r:id="rId30"/>
    <p:sldId id="876" r:id="rId31"/>
    <p:sldId id="863" r:id="rId32"/>
    <p:sldId id="864" r:id="rId33"/>
    <p:sldId id="865" r:id="rId34"/>
    <p:sldId id="777" r:id="rId35"/>
    <p:sldId id="862" r:id="rId36"/>
    <p:sldId id="778" r:id="rId37"/>
    <p:sldId id="845" r:id="rId38"/>
    <p:sldId id="875" r:id="rId39"/>
    <p:sldId id="841" r:id="rId40"/>
    <p:sldId id="881" r:id="rId41"/>
    <p:sldId id="877" r:id="rId42"/>
  </p:sldIdLst>
  <p:sldSz cx="9144000" cy="6858000" type="screen4x3"/>
  <p:notesSz cx="6997700" cy="9271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lorenzano Valdes, Francisca" initials="FVF" lastIdx="5" clrIdx="0"/>
  <p:cmAuthor id="1" name="MURILC" initials="M" lastIdx="9"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66FF"/>
    <a:srgbClr val="080808"/>
    <a:srgbClr val="FF9933"/>
    <a:srgbClr val="008000"/>
    <a:srgbClr val="426E6E"/>
    <a:srgbClr val="00CC99"/>
    <a:srgbClr val="3333CC"/>
    <a:srgbClr val="00FF00"/>
    <a:srgbClr val="66FF33"/>
    <a:srgbClr val="DC406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Estilo Mé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1390" autoAdjust="0"/>
    <p:restoredTop sz="89703" autoAdjust="0"/>
  </p:normalViewPr>
  <p:slideViewPr>
    <p:cSldViewPr>
      <p:cViewPr varScale="1">
        <p:scale>
          <a:sx n="112" d="100"/>
          <a:sy n="112" d="100"/>
        </p:scale>
        <p:origin x="-1416" y="-12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50" d="100"/>
        <a:sy n="150" d="100"/>
      </p:scale>
      <p:origin x="0" y="12280"/>
    </p:cViewPr>
  </p:sorterViewPr>
  <p:notesViewPr>
    <p:cSldViewPr>
      <p:cViewPr varScale="1">
        <p:scale>
          <a:sx n="52" d="100"/>
          <a:sy n="52" d="100"/>
        </p:scale>
        <p:origin x="-2868" y="-102"/>
      </p:cViewPr>
      <p:guideLst>
        <p:guide orient="horz" pos="2920"/>
        <p:guide pos="2204"/>
      </p:guideLst>
    </p:cSldViewPr>
  </p:notesViewPr>
  <p:gridSpacing cx="72008" cy="72008"/>
</p:viewPr>
</file>

<file path=ppt/_rels/presentation.xml.rels><?xml version="1.0" encoding="UTF-8" standalone="yes"?>
<Relationships xmlns="http://schemas.openxmlformats.org/package/2006/relationships"><Relationship Id="rId46" Type="http://schemas.openxmlformats.org/officeDocument/2006/relationships/commentAuthors" Target="commentAuthors.xml"/><Relationship Id="rId47" Type="http://schemas.openxmlformats.org/officeDocument/2006/relationships/presProps" Target="presProps.xml"/><Relationship Id="rId48" Type="http://schemas.openxmlformats.org/officeDocument/2006/relationships/viewProps" Target="viewProps.xml"/><Relationship Id="rId49" Type="http://schemas.openxmlformats.org/officeDocument/2006/relationships/theme" Target="theme/theme1.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50"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9" Type="http://schemas.openxmlformats.org/officeDocument/2006/relationships/slide" Target="slides/slide3.xml"/><Relationship Id="rId6" Type="http://schemas.openxmlformats.org/officeDocument/2006/relationships/slideMaster" Target="slideMasters/slideMaster6.xml"/><Relationship Id="rId7" Type="http://schemas.openxmlformats.org/officeDocument/2006/relationships/slide" Target="slides/slide1.xml"/><Relationship Id="rId8" Type="http://schemas.openxmlformats.org/officeDocument/2006/relationships/slide" Target="slides/slide2.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notesMaster" Target="notesMasters/notesMaster1.xml"/><Relationship Id="rId44" Type="http://schemas.openxmlformats.org/officeDocument/2006/relationships/handoutMaster" Target="handoutMasters/handoutMaster1.xml"/><Relationship Id="rId45" Type="http://schemas.openxmlformats.org/officeDocument/2006/relationships/printerSettings" Target="printerSettings/printerSettings1.bin"/></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DA4BA2B-13B1-4759-9C44-67140DA2E22D}" type="doc">
      <dgm:prSet loTypeId="urn:microsoft.com/office/officeart/2005/8/layout/radial1" loCatId="cycle" qsTypeId="urn:microsoft.com/office/officeart/2005/8/quickstyle/simple1" qsCatId="simple" csTypeId="urn:microsoft.com/office/officeart/2005/8/colors/accent0_1" csCatId="mainScheme" phldr="1"/>
      <dgm:spPr/>
      <dgm:t>
        <a:bodyPr/>
        <a:lstStyle/>
        <a:p>
          <a:endParaRPr lang="en-US"/>
        </a:p>
      </dgm:t>
    </dgm:pt>
    <dgm:pt modelId="{2199A41D-E610-4912-BBB5-200C3CE5CE55}">
      <dgm:prSet phldrT="[Texto]" custT="1"/>
      <dgm:spPr/>
      <dgm:t>
        <a:bodyPr/>
        <a:lstStyle/>
        <a:p>
          <a:r>
            <a:rPr lang="en-US" sz="1050" noProof="0" dirty="0" smtClean="0"/>
            <a:t>Academia</a:t>
          </a:r>
          <a:endParaRPr lang="en-US" sz="1050" noProof="0" dirty="0"/>
        </a:p>
      </dgm:t>
    </dgm:pt>
    <dgm:pt modelId="{8CF9EA11-DB73-486F-A7A4-8228BB1477B2}" type="parTrans" cxnId="{00A108E9-3B70-4486-8E25-452CAC52E96C}">
      <dgm:prSet/>
      <dgm:spPr/>
      <dgm:t>
        <a:bodyPr/>
        <a:lstStyle/>
        <a:p>
          <a:endParaRPr lang="en-US" noProof="0" dirty="0"/>
        </a:p>
      </dgm:t>
    </dgm:pt>
    <dgm:pt modelId="{770EF60F-2EFD-49D6-84A2-C7CC11B339C8}" type="sibTrans" cxnId="{00A108E9-3B70-4486-8E25-452CAC52E96C}">
      <dgm:prSet/>
      <dgm:spPr/>
      <dgm:t>
        <a:bodyPr/>
        <a:lstStyle/>
        <a:p>
          <a:endParaRPr lang="en-US" noProof="0" dirty="0"/>
        </a:p>
      </dgm:t>
    </dgm:pt>
    <dgm:pt modelId="{344940C3-DAFE-4A1A-AA77-225AD08D3F28}">
      <dgm:prSet phldrT="[Texto]" custT="1"/>
      <dgm:spPr/>
      <dgm:t>
        <a:bodyPr/>
        <a:lstStyle/>
        <a:p>
          <a:r>
            <a:rPr lang="en-US" sz="1050" noProof="0" dirty="0" smtClean="0"/>
            <a:t>Med / </a:t>
          </a:r>
          <a:r>
            <a:rPr lang="en-US" sz="1050" noProof="0" dirty="0" err="1" smtClean="0"/>
            <a:t>Ing</a:t>
          </a:r>
          <a:r>
            <a:rPr lang="en-US" sz="1050" noProof="0" dirty="0" smtClean="0"/>
            <a:t> Faculties</a:t>
          </a:r>
          <a:endParaRPr lang="en-US" sz="1050" noProof="0" dirty="0"/>
        </a:p>
      </dgm:t>
    </dgm:pt>
    <dgm:pt modelId="{0E722A72-DAB5-48F5-80D8-77D996A417D2}" type="parTrans" cxnId="{82EDDDBF-8FA7-4C95-B63A-58597BDBFEFF}">
      <dgm:prSet/>
      <dgm:spPr/>
      <dgm:t>
        <a:bodyPr/>
        <a:lstStyle/>
        <a:p>
          <a:endParaRPr lang="en-US" noProof="0" dirty="0"/>
        </a:p>
      </dgm:t>
    </dgm:pt>
    <dgm:pt modelId="{5C082D8A-DB0C-43DD-950B-7531C73975C9}" type="sibTrans" cxnId="{82EDDDBF-8FA7-4C95-B63A-58597BDBFEFF}">
      <dgm:prSet/>
      <dgm:spPr/>
      <dgm:t>
        <a:bodyPr/>
        <a:lstStyle/>
        <a:p>
          <a:endParaRPr lang="en-US" noProof="0" dirty="0"/>
        </a:p>
      </dgm:t>
    </dgm:pt>
    <dgm:pt modelId="{F6F95D2D-5C45-4683-813B-D09D746FBACD}">
      <dgm:prSet phldrT="[Texto]" custT="1"/>
      <dgm:spPr/>
      <dgm:t>
        <a:bodyPr/>
        <a:lstStyle/>
        <a:p>
          <a:r>
            <a:rPr lang="en-US" sz="1050" noProof="0" dirty="0" smtClean="0"/>
            <a:t>Ad. Board </a:t>
          </a:r>
          <a:r>
            <a:rPr lang="en-US" sz="1050" noProof="0" dirty="0" err="1" smtClean="0"/>
            <a:t>MoH</a:t>
          </a:r>
          <a:endParaRPr lang="en-US" sz="1050" noProof="0" dirty="0"/>
        </a:p>
      </dgm:t>
    </dgm:pt>
    <dgm:pt modelId="{8EB6B46D-B935-4714-B325-60FF2E95C350}" type="parTrans" cxnId="{C2EF222D-564A-4C4B-B71F-50277ACDC15D}">
      <dgm:prSet/>
      <dgm:spPr/>
      <dgm:t>
        <a:bodyPr/>
        <a:lstStyle/>
        <a:p>
          <a:endParaRPr lang="en-US" noProof="0" dirty="0"/>
        </a:p>
      </dgm:t>
    </dgm:pt>
    <dgm:pt modelId="{41D1255E-CEC8-4D12-8E55-D52EA07BEBED}" type="sibTrans" cxnId="{C2EF222D-564A-4C4B-B71F-50277ACDC15D}">
      <dgm:prSet/>
      <dgm:spPr/>
      <dgm:t>
        <a:bodyPr/>
        <a:lstStyle/>
        <a:p>
          <a:endParaRPr lang="en-US" noProof="0" dirty="0"/>
        </a:p>
      </dgm:t>
    </dgm:pt>
    <dgm:pt modelId="{313A4D03-D2AD-4AAB-8472-6EF5C0CDD388}">
      <dgm:prSet phldrT="[Texto]" custT="1"/>
      <dgm:spPr/>
      <dgm:t>
        <a:bodyPr/>
        <a:lstStyle/>
        <a:p>
          <a:r>
            <a:rPr lang="es-CL" sz="1050" noProof="0" dirty="0" smtClean="0"/>
            <a:t>Hospitales</a:t>
          </a:r>
          <a:endParaRPr lang="en-US" sz="1050" noProof="0" dirty="0"/>
        </a:p>
      </dgm:t>
    </dgm:pt>
    <dgm:pt modelId="{D6327A21-84BC-44E4-B503-564CE11B12DB}" type="parTrans" cxnId="{2EFCBC81-1E1F-4E44-8DD4-BE62F14F2D59}">
      <dgm:prSet/>
      <dgm:spPr/>
      <dgm:t>
        <a:bodyPr/>
        <a:lstStyle/>
        <a:p>
          <a:endParaRPr lang="en-US" noProof="0" dirty="0"/>
        </a:p>
      </dgm:t>
    </dgm:pt>
    <dgm:pt modelId="{72BAAB63-CE93-4FDE-B8E1-FC2E3E3A2659}" type="sibTrans" cxnId="{2EFCBC81-1E1F-4E44-8DD4-BE62F14F2D59}">
      <dgm:prSet/>
      <dgm:spPr/>
      <dgm:t>
        <a:bodyPr/>
        <a:lstStyle/>
        <a:p>
          <a:endParaRPr lang="en-US" noProof="0" dirty="0"/>
        </a:p>
      </dgm:t>
    </dgm:pt>
    <dgm:pt modelId="{012C1140-A491-4F3F-B476-7F8EFBF029C9}">
      <dgm:prSet phldrT="[Texto]" custT="1"/>
      <dgm:spPr/>
      <dgm:t>
        <a:bodyPr/>
        <a:lstStyle/>
        <a:p>
          <a:r>
            <a:rPr lang="es-CL" sz="1050" noProof="0" dirty="0" err="1" smtClean="0"/>
            <a:t>Universities</a:t>
          </a:r>
          <a:endParaRPr lang="en-US" sz="1050" noProof="0" dirty="0"/>
        </a:p>
      </dgm:t>
    </dgm:pt>
    <dgm:pt modelId="{FB069760-335E-455F-B20F-2831C6EF7DCA}" type="parTrans" cxnId="{DE85994C-18F2-4D0A-94C6-79443E8D128A}">
      <dgm:prSet/>
      <dgm:spPr/>
      <dgm:t>
        <a:bodyPr/>
        <a:lstStyle/>
        <a:p>
          <a:endParaRPr lang="en-US"/>
        </a:p>
      </dgm:t>
    </dgm:pt>
    <dgm:pt modelId="{02C6BD34-CB40-4587-BA8C-5595B7CD199F}" type="sibTrans" cxnId="{DE85994C-18F2-4D0A-94C6-79443E8D128A}">
      <dgm:prSet/>
      <dgm:spPr/>
      <dgm:t>
        <a:bodyPr/>
        <a:lstStyle/>
        <a:p>
          <a:endParaRPr lang="en-US"/>
        </a:p>
      </dgm:t>
    </dgm:pt>
    <dgm:pt modelId="{4DBC32C2-B539-4147-A4E5-01F5FC6B002E}" type="pres">
      <dgm:prSet presAssocID="{BDA4BA2B-13B1-4759-9C44-67140DA2E22D}" presName="cycle" presStyleCnt="0">
        <dgm:presLayoutVars>
          <dgm:chMax val="1"/>
          <dgm:dir/>
          <dgm:animLvl val="ctr"/>
          <dgm:resizeHandles val="exact"/>
        </dgm:presLayoutVars>
      </dgm:prSet>
      <dgm:spPr/>
      <dgm:t>
        <a:bodyPr/>
        <a:lstStyle/>
        <a:p>
          <a:endParaRPr lang="en-US"/>
        </a:p>
      </dgm:t>
    </dgm:pt>
    <dgm:pt modelId="{D18500E8-5D22-49DF-A219-0A13E583EBF5}" type="pres">
      <dgm:prSet presAssocID="{2199A41D-E610-4912-BBB5-200C3CE5CE55}" presName="centerShape" presStyleLbl="node0" presStyleIdx="0" presStyleCnt="1" custScaleX="123983"/>
      <dgm:spPr/>
      <dgm:t>
        <a:bodyPr/>
        <a:lstStyle/>
        <a:p>
          <a:endParaRPr lang="en-US"/>
        </a:p>
      </dgm:t>
    </dgm:pt>
    <dgm:pt modelId="{AA3FBAD9-289C-493E-A0D4-D55F6CF47F2F}" type="pres">
      <dgm:prSet presAssocID="{0E722A72-DAB5-48F5-80D8-77D996A417D2}" presName="Name9" presStyleLbl="parChTrans1D2" presStyleIdx="0" presStyleCnt="4"/>
      <dgm:spPr/>
      <dgm:t>
        <a:bodyPr/>
        <a:lstStyle/>
        <a:p>
          <a:endParaRPr lang="en-US"/>
        </a:p>
      </dgm:t>
    </dgm:pt>
    <dgm:pt modelId="{52848FCF-A223-4D27-AF3B-78CC090F493F}" type="pres">
      <dgm:prSet presAssocID="{0E722A72-DAB5-48F5-80D8-77D996A417D2}" presName="connTx" presStyleLbl="parChTrans1D2" presStyleIdx="0" presStyleCnt="4"/>
      <dgm:spPr/>
      <dgm:t>
        <a:bodyPr/>
        <a:lstStyle/>
        <a:p>
          <a:endParaRPr lang="en-US"/>
        </a:p>
      </dgm:t>
    </dgm:pt>
    <dgm:pt modelId="{C5E15262-C4BD-4FFE-8E01-596D70BA91BC}" type="pres">
      <dgm:prSet presAssocID="{344940C3-DAFE-4A1A-AA77-225AD08D3F28}" presName="node" presStyleLbl="node1" presStyleIdx="0" presStyleCnt="4" custScaleX="112194" custScaleY="81579">
        <dgm:presLayoutVars>
          <dgm:bulletEnabled val="1"/>
        </dgm:presLayoutVars>
      </dgm:prSet>
      <dgm:spPr/>
      <dgm:t>
        <a:bodyPr/>
        <a:lstStyle/>
        <a:p>
          <a:endParaRPr lang="en-US"/>
        </a:p>
      </dgm:t>
    </dgm:pt>
    <dgm:pt modelId="{7904F5FB-A4BE-41A0-9A1C-C1E2DD8302E6}" type="pres">
      <dgm:prSet presAssocID="{8EB6B46D-B935-4714-B325-60FF2E95C350}" presName="Name9" presStyleLbl="parChTrans1D2" presStyleIdx="1" presStyleCnt="4"/>
      <dgm:spPr/>
      <dgm:t>
        <a:bodyPr/>
        <a:lstStyle/>
        <a:p>
          <a:endParaRPr lang="en-US"/>
        </a:p>
      </dgm:t>
    </dgm:pt>
    <dgm:pt modelId="{3C3ED146-22FE-43BC-BCBF-A1B27F45A2A0}" type="pres">
      <dgm:prSet presAssocID="{8EB6B46D-B935-4714-B325-60FF2E95C350}" presName="connTx" presStyleLbl="parChTrans1D2" presStyleIdx="1" presStyleCnt="4"/>
      <dgm:spPr/>
      <dgm:t>
        <a:bodyPr/>
        <a:lstStyle/>
        <a:p>
          <a:endParaRPr lang="en-US"/>
        </a:p>
      </dgm:t>
    </dgm:pt>
    <dgm:pt modelId="{EF254C89-10AF-4C55-A359-54252E587020}" type="pres">
      <dgm:prSet presAssocID="{F6F95D2D-5C45-4683-813B-D09D746FBACD}" presName="node" presStyleLbl="node1" presStyleIdx="1" presStyleCnt="4" custScaleX="95139" custScaleY="99415">
        <dgm:presLayoutVars>
          <dgm:bulletEnabled val="1"/>
        </dgm:presLayoutVars>
      </dgm:prSet>
      <dgm:spPr/>
      <dgm:t>
        <a:bodyPr/>
        <a:lstStyle/>
        <a:p>
          <a:endParaRPr lang="en-US"/>
        </a:p>
      </dgm:t>
    </dgm:pt>
    <dgm:pt modelId="{491E0E00-D07E-4F99-B3EC-8FE113B8F42E}" type="pres">
      <dgm:prSet presAssocID="{D6327A21-84BC-44E4-B503-564CE11B12DB}" presName="Name9" presStyleLbl="parChTrans1D2" presStyleIdx="2" presStyleCnt="4"/>
      <dgm:spPr/>
      <dgm:t>
        <a:bodyPr/>
        <a:lstStyle/>
        <a:p>
          <a:endParaRPr lang="en-US"/>
        </a:p>
      </dgm:t>
    </dgm:pt>
    <dgm:pt modelId="{6B8E2C2A-EB83-4A2E-A437-9B87EDA21816}" type="pres">
      <dgm:prSet presAssocID="{D6327A21-84BC-44E4-B503-564CE11B12DB}" presName="connTx" presStyleLbl="parChTrans1D2" presStyleIdx="2" presStyleCnt="4"/>
      <dgm:spPr/>
      <dgm:t>
        <a:bodyPr/>
        <a:lstStyle/>
        <a:p>
          <a:endParaRPr lang="en-US"/>
        </a:p>
      </dgm:t>
    </dgm:pt>
    <dgm:pt modelId="{39974301-2281-44A2-9F42-3A45B499F1B3}" type="pres">
      <dgm:prSet presAssocID="{313A4D03-D2AD-4AAB-8472-6EF5C0CDD388}" presName="node" presStyleLbl="node1" presStyleIdx="2" presStyleCnt="4" custScaleX="114835" custScaleY="91507">
        <dgm:presLayoutVars>
          <dgm:bulletEnabled val="1"/>
        </dgm:presLayoutVars>
      </dgm:prSet>
      <dgm:spPr/>
      <dgm:t>
        <a:bodyPr/>
        <a:lstStyle/>
        <a:p>
          <a:endParaRPr lang="en-US"/>
        </a:p>
      </dgm:t>
    </dgm:pt>
    <dgm:pt modelId="{2BB32115-886F-4A46-A053-E76E40530C55}" type="pres">
      <dgm:prSet presAssocID="{FB069760-335E-455F-B20F-2831C6EF7DCA}" presName="Name9" presStyleLbl="parChTrans1D2" presStyleIdx="3" presStyleCnt="4"/>
      <dgm:spPr/>
      <dgm:t>
        <a:bodyPr/>
        <a:lstStyle/>
        <a:p>
          <a:endParaRPr lang="en-US"/>
        </a:p>
      </dgm:t>
    </dgm:pt>
    <dgm:pt modelId="{D625456D-A694-4C61-8DC4-07EDCF3DBCDE}" type="pres">
      <dgm:prSet presAssocID="{FB069760-335E-455F-B20F-2831C6EF7DCA}" presName="connTx" presStyleLbl="parChTrans1D2" presStyleIdx="3" presStyleCnt="4"/>
      <dgm:spPr/>
      <dgm:t>
        <a:bodyPr/>
        <a:lstStyle/>
        <a:p>
          <a:endParaRPr lang="en-US"/>
        </a:p>
      </dgm:t>
    </dgm:pt>
    <dgm:pt modelId="{06B7C48B-836C-4DBD-A81C-D2EBAE5FFFA8}" type="pres">
      <dgm:prSet presAssocID="{012C1140-A491-4F3F-B476-7F8EFBF029C9}" presName="node" presStyleLbl="node1" presStyleIdx="3" presStyleCnt="4" custScaleX="131404" custRadScaleRad="110648" custRadScaleInc="50641">
        <dgm:presLayoutVars>
          <dgm:bulletEnabled val="1"/>
        </dgm:presLayoutVars>
      </dgm:prSet>
      <dgm:spPr/>
      <dgm:t>
        <a:bodyPr/>
        <a:lstStyle/>
        <a:p>
          <a:endParaRPr lang="en-US"/>
        </a:p>
      </dgm:t>
    </dgm:pt>
  </dgm:ptLst>
  <dgm:cxnLst>
    <dgm:cxn modelId="{00A108E9-3B70-4486-8E25-452CAC52E96C}" srcId="{BDA4BA2B-13B1-4759-9C44-67140DA2E22D}" destId="{2199A41D-E610-4912-BBB5-200C3CE5CE55}" srcOrd="0" destOrd="0" parTransId="{8CF9EA11-DB73-486F-A7A4-8228BB1477B2}" sibTransId="{770EF60F-2EFD-49D6-84A2-C7CC11B339C8}"/>
    <dgm:cxn modelId="{82EDDDBF-8FA7-4C95-B63A-58597BDBFEFF}" srcId="{2199A41D-E610-4912-BBB5-200C3CE5CE55}" destId="{344940C3-DAFE-4A1A-AA77-225AD08D3F28}" srcOrd="0" destOrd="0" parTransId="{0E722A72-DAB5-48F5-80D8-77D996A417D2}" sibTransId="{5C082D8A-DB0C-43DD-950B-7531C73975C9}"/>
    <dgm:cxn modelId="{42054BBC-9D01-42E3-A745-8D72CFB2509B}" type="presOf" srcId="{D6327A21-84BC-44E4-B503-564CE11B12DB}" destId="{6B8E2C2A-EB83-4A2E-A437-9B87EDA21816}" srcOrd="1" destOrd="0" presId="urn:microsoft.com/office/officeart/2005/8/layout/radial1"/>
    <dgm:cxn modelId="{2EFCBC81-1E1F-4E44-8DD4-BE62F14F2D59}" srcId="{2199A41D-E610-4912-BBB5-200C3CE5CE55}" destId="{313A4D03-D2AD-4AAB-8472-6EF5C0CDD388}" srcOrd="2" destOrd="0" parTransId="{D6327A21-84BC-44E4-B503-564CE11B12DB}" sibTransId="{72BAAB63-CE93-4FDE-B8E1-FC2E3E3A2659}"/>
    <dgm:cxn modelId="{B207A2DD-18CD-475F-A4B1-516B9D754E7F}" type="presOf" srcId="{8EB6B46D-B935-4714-B325-60FF2E95C350}" destId="{7904F5FB-A4BE-41A0-9A1C-C1E2DD8302E6}" srcOrd="0" destOrd="0" presId="urn:microsoft.com/office/officeart/2005/8/layout/radial1"/>
    <dgm:cxn modelId="{19D7C04A-B546-4CC8-9C95-C026BE858086}" type="presOf" srcId="{012C1140-A491-4F3F-B476-7F8EFBF029C9}" destId="{06B7C48B-836C-4DBD-A81C-D2EBAE5FFFA8}" srcOrd="0" destOrd="0" presId="urn:microsoft.com/office/officeart/2005/8/layout/radial1"/>
    <dgm:cxn modelId="{3AF92571-48A7-4EEE-BE37-08FA8EF24A4E}" type="presOf" srcId="{FB069760-335E-455F-B20F-2831C6EF7DCA}" destId="{2BB32115-886F-4A46-A053-E76E40530C55}" srcOrd="0" destOrd="0" presId="urn:microsoft.com/office/officeart/2005/8/layout/radial1"/>
    <dgm:cxn modelId="{D2D3401F-F2B9-46FE-A7E3-53FA24E1718B}" type="presOf" srcId="{F6F95D2D-5C45-4683-813B-D09D746FBACD}" destId="{EF254C89-10AF-4C55-A359-54252E587020}" srcOrd="0" destOrd="0" presId="urn:microsoft.com/office/officeart/2005/8/layout/radial1"/>
    <dgm:cxn modelId="{7387F671-916C-4865-A9A8-8108B14F5C86}" type="presOf" srcId="{2199A41D-E610-4912-BBB5-200C3CE5CE55}" destId="{D18500E8-5D22-49DF-A219-0A13E583EBF5}" srcOrd="0" destOrd="0" presId="urn:microsoft.com/office/officeart/2005/8/layout/radial1"/>
    <dgm:cxn modelId="{41113667-E2C4-43A9-B66A-46496FD172CF}" type="presOf" srcId="{313A4D03-D2AD-4AAB-8472-6EF5C0CDD388}" destId="{39974301-2281-44A2-9F42-3A45B499F1B3}" srcOrd="0" destOrd="0" presId="urn:microsoft.com/office/officeart/2005/8/layout/radial1"/>
    <dgm:cxn modelId="{E75BFECE-D779-4B3C-89B8-910FF60D913F}" type="presOf" srcId="{FB069760-335E-455F-B20F-2831C6EF7DCA}" destId="{D625456D-A694-4C61-8DC4-07EDCF3DBCDE}" srcOrd="1" destOrd="0" presId="urn:microsoft.com/office/officeart/2005/8/layout/radial1"/>
    <dgm:cxn modelId="{6443E00C-4ADE-4731-971D-9F0741FE96A3}" type="presOf" srcId="{0E722A72-DAB5-48F5-80D8-77D996A417D2}" destId="{52848FCF-A223-4D27-AF3B-78CC090F493F}" srcOrd="1" destOrd="0" presId="urn:microsoft.com/office/officeart/2005/8/layout/radial1"/>
    <dgm:cxn modelId="{45CEC840-58B9-49E0-BC55-05322A944884}" type="presOf" srcId="{0E722A72-DAB5-48F5-80D8-77D996A417D2}" destId="{AA3FBAD9-289C-493E-A0D4-D55F6CF47F2F}" srcOrd="0" destOrd="0" presId="urn:microsoft.com/office/officeart/2005/8/layout/radial1"/>
    <dgm:cxn modelId="{0AE5FE29-F88F-4054-B267-5ECDF7CE65B0}" type="presOf" srcId="{344940C3-DAFE-4A1A-AA77-225AD08D3F28}" destId="{C5E15262-C4BD-4FFE-8E01-596D70BA91BC}" srcOrd="0" destOrd="0" presId="urn:microsoft.com/office/officeart/2005/8/layout/radial1"/>
    <dgm:cxn modelId="{C2EF222D-564A-4C4B-B71F-50277ACDC15D}" srcId="{2199A41D-E610-4912-BBB5-200C3CE5CE55}" destId="{F6F95D2D-5C45-4683-813B-D09D746FBACD}" srcOrd="1" destOrd="0" parTransId="{8EB6B46D-B935-4714-B325-60FF2E95C350}" sibTransId="{41D1255E-CEC8-4D12-8E55-D52EA07BEBED}"/>
    <dgm:cxn modelId="{8A19D526-77B6-4CBD-84F0-92303923B991}" type="presOf" srcId="{8EB6B46D-B935-4714-B325-60FF2E95C350}" destId="{3C3ED146-22FE-43BC-BCBF-A1B27F45A2A0}" srcOrd="1" destOrd="0" presId="urn:microsoft.com/office/officeart/2005/8/layout/radial1"/>
    <dgm:cxn modelId="{DE85994C-18F2-4D0A-94C6-79443E8D128A}" srcId="{2199A41D-E610-4912-BBB5-200C3CE5CE55}" destId="{012C1140-A491-4F3F-B476-7F8EFBF029C9}" srcOrd="3" destOrd="0" parTransId="{FB069760-335E-455F-B20F-2831C6EF7DCA}" sibTransId="{02C6BD34-CB40-4587-BA8C-5595B7CD199F}"/>
    <dgm:cxn modelId="{53256E28-EA0C-44D4-8B89-123FA2E5B9A1}" type="presOf" srcId="{D6327A21-84BC-44E4-B503-564CE11B12DB}" destId="{491E0E00-D07E-4F99-B3EC-8FE113B8F42E}" srcOrd="0" destOrd="0" presId="urn:microsoft.com/office/officeart/2005/8/layout/radial1"/>
    <dgm:cxn modelId="{A94AC9CF-5B53-41AE-92F3-73E22AD71977}" type="presOf" srcId="{BDA4BA2B-13B1-4759-9C44-67140DA2E22D}" destId="{4DBC32C2-B539-4147-A4E5-01F5FC6B002E}" srcOrd="0" destOrd="0" presId="urn:microsoft.com/office/officeart/2005/8/layout/radial1"/>
    <dgm:cxn modelId="{49CCEB44-9FB8-44B9-9144-F04F39253DA7}" type="presParOf" srcId="{4DBC32C2-B539-4147-A4E5-01F5FC6B002E}" destId="{D18500E8-5D22-49DF-A219-0A13E583EBF5}" srcOrd="0" destOrd="0" presId="urn:microsoft.com/office/officeart/2005/8/layout/radial1"/>
    <dgm:cxn modelId="{CA77A8E2-2430-4B51-B754-B842CA4F69B2}" type="presParOf" srcId="{4DBC32C2-B539-4147-A4E5-01F5FC6B002E}" destId="{AA3FBAD9-289C-493E-A0D4-D55F6CF47F2F}" srcOrd="1" destOrd="0" presId="urn:microsoft.com/office/officeart/2005/8/layout/radial1"/>
    <dgm:cxn modelId="{5D5790F1-2A98-4185-8408-513E676BD584}" type="presParOf" srcId="{AA3FBAD9-289C-493E-A0D4-D55F6CF47F2F}" destId="{52848FCF-A223-4D27-AF3B-78CC090F493F}" srcOrd="0" destOrd="0" presId="urn:microsoft.com/office/officeart/2005/8/layout/radial1"/>
    <dgm:cxn modelId="{3A29815C-E0A9-4EEF-BA60-5AE86F849861}" type="presParOf" srcId="{4DBC32C2-B539-4147-A4E5-01F5FC6B002E}" destId="{C5E15262-C4BD-4FFE-8E01-596D70BA91BC}" srcOrd="2" destOrd="0" presId="urn:microsoft.com/office/officeart/2005/8/layout/radial1"/>
    <dgm:cxn modelId="{DDE47E0E-4B34-47C1-9EC2-C76629E0200D}" type="presParOf" srcId="{4DBC32C2-B539-4147-A4E5-01F5FC6B002E}" destId="{7904F5FB-A4BE-41A0-9A1C-C1E2DD8302E6}" srcOrd="3" destOrd="0" presId="urn:microsoft.com/office/officeart/2005/8/layout/radial1"/>
    <dgm:cxn modelId="{F09294E3-BF35-49B4-A89F-3DC6F68A2891}" type="presParOf" srcId="{7904F5FB-A4BE-41A0-9A1C-C1E2DD8302E6}" destId="{3C3ED146-22FE-43BC-BCBF-A1B27F45A2A0}" srcOrd="0" destOrd="0" presId="urn:microsoft.com/office/officeart/2005/8/layout/radial1"/>
    <dgm:cxn modelId="{5A08A30B-E1E4-4926-94C3-D809F8AFD1F9}" type="presParOf" srcId="{4DBC32C2-B539-4147-A4E5-01F5FC6B002E}" destId="{EF254C89-10AF-4C55-A359-54252E587020}" srcOrd="4" destOrd="0" presId="urn:microsoft.com/office/officeart/2005/8/layout/radial1"/>
    <dgm:cxn modelId="{5F44928E-D799-4EB4-9963-6A6E180CA3FC}" type="presParOf" srcId="{4DBC32C2-B539-4147-A4E5-01F5FC6B002E}" destId="{491E0E00-D07E-4F99-B3EC-8FE113B8F42E}" srcOrd="5" destOrd="0" presId="urn:microsoft.com/office/officeart/2005/8/layout/radial1"/>
    <dgm:cxn modelId="{97FA470D-D447-4F48-B2A4-9AB1D8AA0F70}" type="presParOf" srcId="{491E0E00-D07E-4F99-B3EC-8FE113B8F42E}" destId="{6B8E2C2A-EB83-4A2E-A437-9B87EDA21816}" srcOrd="0" destOrd="0" presId="urn:microsoft.com/office/officeart/2005/8/layout/radial1"/>
    <dgm:cxn modelId="{5D2CA143-2480-4DC9-AAB2-0554F4F6EBBE}" type="presParOf" srcId="{4DBC32C2-B539-4147-A4E5-01F5FC6B002E}" destId="{39974301-2281-44A2-9F42-3A45B499F1B3}" srcOrd="6" destOrd="0" presId="urn:microsoft.com/office/officeart/2005/8/layout/radial1"/>
    <dgm:cxn modelId="{6A476ACC-19A9-4F1C-89B0-03E04BAD052B}" type="presParOf" srcId="{4DBC32C2-B539-4147-A4E5-01F5FC6B002E}" destId="{2BB32115-886F-4A46-A053-E76E40530C55}" srcOrd="7" destOrd="0" presId="urn:microsoft.com/office/officeart/2005/8/layout/radial1"/>
    <dgm:cxn modelId="{EC934217-CE16-43A5-A962-4961E8DC14AA}" type="presParOf" srcId="{2BB32115-886F-4A46-A053-E76E40530C55}" destId="{D625456D-A694-4C61-8DC4-07EDCF3DBCDE}" srcOrd="0" destOrd="0" presId="urn:microsoft.com/office/officeart/2005/8/layout/radial1"/>
    <dgm:cxn modelId="{CEEFFBBC-360D-40E1-A8B9-301571BB6D54}" type="presParOf" srcId="{4DBC32C2-B539-4147-A4E5-01F5FC6B002E}" destId="{06B7C48B-836C-4DBD-A81C-D2EBAE5FFFA8}" srcOrd="8" destOrd="0" presId="urn:microsoft.com/office/officeart/2005/8/layout/radia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20EE35A-2925-49FB-BF3F-47FCF07DBEFF}" type="doc">
      <dgm:prSet loTypeId="urn:microsoft.com/office/officeart/2005/8/layout/radial1" loCatId="relationship" qsTypeId="urn:microsoft.com/office/officeart/2005/8/quickstyle/simple1" qsCatId="simple" csTypeId="urn:microsoft.com/office/officeart/2005/8/colors/accent0_1" csCatId="mainScheme" phldr="1"/>
      <dgm:spPr/>
      <dgm:t>
        <a:bodyPr/>
        <a:lstStyle/>
        <a:p>
          <a:endParaRPr lang="en-US"/>
        </a:p>
      </dgm:t>
    </dgm:pt>
    <dgm:pt modelId="{CA2F489B-FF46-4676-B4CB-100F62E7CE4E}">
      <dgm:prSet phldrT="[Texto]" custT="1"/>
      <dgm:spPr/>
      <dgm:t>
        <a:bodyPr/>
        <a:lstStyle/>
        <a:p>
          <a:r>
            <a:rPr lang="en-US" sz="900" noProof="0" dirty="0" smtClean="0"/>
            <a:t>Pro. Bodies</a:t>
          </a:r>
          <a:endParaRPr lang="en-US" sz="900" noProof="0" dirty="0"/>
        </a:p>
      </dgm:t>
    </dgm:pt>
    <dgm:pt modelId="{774B6756-CB09-482D-8636-F4A7FB4CB930}" type="parTrans" cxnId="{C688BC3E-4B26-406B-959D-EA7FB1D0B1DD}">
      <dgm:prSet/>
      <dgm:spPr/>
      <dgm:t>
        <a:bodyPr/>
        <a:lstStyle/>
        <a:p>
          <a:endParaRPr lang="en-US" noProof="0" dirty="0"/>
        </a:p>
      </dgm:t>
    </dgm:pt>
    <dgm:pt modelId="{FCC4DC14-28AE-4B22-87F3-F06BEF772A39}" type="sibTrans" cxnId="{C688BC3E-4B26-406B-959D-EA7FB1D0B1DD}">
      <dgm:prSet/>
      <dgm:spPr/>
      <dgm:t>
        <a:bodyPr/>
        <a:lstStyle/>
        <a:p>
          <a:endParaRPr lang="en-US" noProof="0" dirty="0"/>
        </a:p>
      </dgm:t>
    </dgm:pt>
    <dgm:pt modelId="{69319ABA-FA6A-494E-BFC2-BE826B5355BC}">
      <dgm:prSet phldrT="[Texto]" custT="1"/>
      <dgm:spPr/>
      <dgm:t>
        <a:bodyPr/>
        <a:lstStyle/>
        <a:p>
          <a:r>
            <a:rPr lang="en-US" sz="900" noProof="0" dirty="0" smtClean="0"/>
            <a:t>Scientific Associations</a:t>
          </a:r>
          <a:endParaRPr lang="en-US" sz="900" noProof="0" dirty="0"/>
        </a:p>
      </dgm:t>
    </dgm:pt>
    <dgm:pt modelId="{435496A5-9364-4101-B1D9-A632A5E2D432}" type="parTrans" cxnId="{3C0D1AFD-9116-4B34-BA2E-5EFAB7A73CAE}">
      <dgm:prSet/>
      <dgm:spPr/>
      <dgm:t>
        <a:bodyPr/>
        <a:lstStyle/>
        <a:p>
          <a:endParaRPr lang="en-US" noProof="0" dirty="0"/>
        </a:p>
      </dgm:t>
    </dgm:pt>
    <dgm:pt modelId="{30C25B4E-0F56-478E-BA71-54625C8D6FF3}" type="sibTrans" cxnId="{3C0D1AFD-9116-4B34-BA2E-5EFAB7A73CAE}">
      <dgm:prSet/>
      <dgm:spPr/>
      <dgm:t>
        <a:bodyPr/>
        <a:lstStyle/>
        <a:p>
          <a:endParaRPr lang="en-US" noProof="0" dirty="0"/>
        </a:p>
      </dgm:t>
    </dgm:pt>
    <dgm:pt modelId="{2472B298-0B22-4FA7-B270-F2E860D794F1}">
      <dgm:prSet phldrT="[Texto]" custT="1"/>
      <dgm:spPr/>
      <dgm:t>
        <a:bodyPr/>
        <a:lstStyle/>
        <a:p>
          <a:r>
            <a:rPr lang="en-US" sz="900" noProof="0" dirty="0" smtClean="0"/>
            <a:t>CIF</a:t>
          </a:r>
          <a:endParaRPr lang="en-US" sz="900" noProof="0" dirty="0"/>
        </a:p>
      </dgm:t>
    </dgm:pt>
    <dgm:pt modelId="{3B9F1C07-7070-4A22-B56C-689FFE29097C}" type="parTrans" cxnId="{6A1D2DAE-EDFD-4D03-85D9-08726A23D924}">
      <dgm:prSet/>
      <dgm:spPr/>
      <dgm:t>
        <a:bodyPr/>
        <a:lstStyle/>
        <a:p>
          <a:endParaRPr lang="en-US" noProof="0" dirty="0"/>
        </a:p>
      </dgm:t>
    </dgm:pt>
    <dgm:pt modelId="{847C0200-0BCD-4E2A-BC22-02A96B229618}" type="sibTrans" cxnId="{6A1D2DAE-EDFD-4D03-85D9-08726A23D924}">
      <dgm:prSet/>
      <dgm:spPr/>
      <dgm:t>
        <a:bodyPr/>
        <a:lstStyle/>
        <a:p>
          <a:endParaRPr lang="en-US" noProof="0" dirty="0"/>
        </a:p>
      </dgm:t>
    </dgm:pt>
    <dgm:pt modelId="{1CB6BC28-8369-4E6B-A08B-4DFEBB5D4496}">
      <dgm:prSet phldrT="[Texto]" custT="1"/>
      <dgm:spPr/>
      <dgm:t>
        <a:bodyPr/>
        <a:lstStyle/>
        <a:p>
          <a:r>
            <a:rPr lang="en-US" sz="900" noProof="0" dirty="0" smtClean="0"/>
            <a:t>US Embassy</a:t>
          </a:r>
          <a:endParaRPr lang="en-US" sz="900" noProof="0" dirty="0"/>
        </a:p>
      </dgm:t>
    </dgm:pt>
    <dgm:pt modelId="{85321690-A6B1-4771-B897-5A5334E500FE}" type="parTrans" cxnId="{C590E9DD-8289-4A32-A740-6D5680BC6A36}">
      <dgm:prSet/>
      <dgm:spPr/>
      <dgm:t>
        <a:bodyPr/>
        <a:lstStyle/>
        <a:p>
          <a:endParaRPr lang="en-US" noProof="0" dirty="0"/>
        </a:p>
      </dgm:t>
    </dgm:pt>
    <dgm:pt modelId="{D25DC6F8-7F03-4485-8304-BE67B247BE63}" type="sibTrans" cxnId="{C590E9DD-8289-4A32-A740-6D5680BC6A36}">
      <dgm:prSet/>
      <dgm:spPr/>
      <dgm:t>
        <a:bodyPr/>
        <a:lstStyle/>
        <a:p>
          <a:endParaRPr lang="en-US" noProof="0" dirty="0"/>
        </a:p>
      </dgm:t>
    </dgm:pt>
    <dgm:pt modelId="{623C38B8-7568-4508-BEE0-C81546D586E8}">
      <dgm:prSet phldrT="[Texto]" custT="1"/>
      <dgm:spPr/>
      <dgm:t>
        <a:bodyPr/>
        <a:lstStyle/>
        <a:p>
          <a:r>
            <a:rPr lang="en-US" sz="900" noProof="0" dirty="0" err="1" smtClean="0"/>
            <a:t>AmCham</a:t>
          </a:r>
          <a:endParaRPr lang="en-US" sz="900" noProof="0" dirty="0"/>
        </a:p>
      </dgm:t>
    </dgm:pt>
    <dgm:pt modelId="{D4772B4A-1123-4C86-BCCE-AB55199F398D}" type="parTrans" cxnId="{4718E4EF-CBB0-41CD-A0B3-6EA13BC8D07C}">
      <dgm:prSet/>
      <dgm:spPr/>
      <dgm:t>
        <a:bodyPr/>
        <a:lstStyle/>
        <a:p>
          <a:endParaRPr lang="en-US" noProof="0" dirty="0"/>
        </a:p>
      </dgm:t>
    </dgm:pt>
    <dgm:pt modelId="{BE3256A6-C4F0-4632-A6F0-129E588ACE11}" type="sibTrans" cxnId="{4718E4EF-CBB0-41CD-A0B3-6EA13BC8D07C}">
      <dgm:prSet/>
      <dgm:spPr/>
      <dgm:t>
        <a:bodyPr/>
        <a:lstStyle/>
        <a:p>
          <a:endParaRPr lang="en-US" noProof="0" dirty="0"/>
        </a:p>
      </dgm:t>
    </dgm:pt>
    <dgm:pt modelId="{45C03DDB-C1A6-42F8-8345-4FE208E75D0F}" type="pres">
      <dgm:prSet presAssocID="{920EE35A-2925-49FB-BF3F-47FCF07DBEFF}" presName="cycle" presStyleCnt="0">
        <dgm:presLayoutVars>
          <dgm:chMax val="1"/>
          <dgm:dir/>
          <dgm:animLvl val="ctr"/>
          <dgm:resizeHandles val="exact"/>
        </dgm:presLayoutVars>
      </dgm:prSet>
      <dgm:spPr/>
      <dgm:t>
        <a:bodyPr/>
        <a:lstStyle/>
        <a:p>
          <a:endParaRPr lang="en-US"/>
        </a:p>
      </dgm:t>
    </dgm:pt>
    <dgm:pt modelId="{1BA44D97-B2B0-416B-A3A0-E18142E884A8}" type="pres">
      <dgm:prSet presAssocID="{CA2F489B-FF46-4676-B4CB-100F62E7CE4E}" presName="centerShape" presStyleLbl="node0" presStyleIdx="0" presStyleCnt="1"/>
      <dgm:spPr/>
      <dgm:t>
        <a:bodyPr/>
        <a:lstStyle/>
        <a:p>
          <a:endParaRPr lang="en-US"/>
        </a:p>
      </dgm:t>
    </dgm:pt>
    <dgm:pt modelId="{C1173578-73AA-46D3-B6BC-3FBB701A3F1C}" type="pres">
      <dgm:prSet presAssocID="{435496A5-9364-4101-B1D9-A632A5E2D432}" presName="Name9" presStyleLbl="parChTrans1D2" presStyleIdx="0" presStyleCnt="4"/>
      <dgm:spPr/>
      <dgm:t>
        <a:bodyPr/>
        <a:lstStyle/>
        <a:p>
          <a:endParaRPr lang="en-US"/>
        </a:p>
      </dgm:t>
    </dgm:pt>
    <dgm:pt modelId="{1ABE7289-B804-4A00-AFEC-205A31055F63}" type="pres">
      <dgm:prSet presAssocID="{435496A5-9364-4101-B1D9-A632A5E2D432}" presName="connTx" presStyleLbl="parChTrans1D2" presStyleIdx="0" presStyleCnt="4"/>
      <dgm:spPr/>
      <dgm:t>
        <a:bodyPr/>
        <a:lstStyle/>
        <a:p>
          <a:endParaRPr lang="en-US"/>
        </a:p>
      </dgm:t>
    </dgm:pt>
    <dgm:pt modelId="{30B5D53E-F026-4302-B975-6DA2B7B07CF6}" type="pres">
      <dgm:prSet presAssocID="{69319ABA-FA6A-494E-BFC2-BE826B5355BC}" presName="node" presStyleLbl="node1" presStyleIdx="0" presStyleCnt="4" custScaleX="142045" custScaleY="105182" custRadScaleRad="142697" custRadScaleInc="-90353">
        <dgm:presLayoutVars>
          <dgm:bulletEnabled val="1"/>
        </dgm:presLayoutVars>
      </dgm:prSet>
      <dgm:spPr/>
      <dgm:t>
        <a:bodyPr/>
        <a:lstStyle/>
        <a:p>
          <a:endParaRPr lang="en-US"/>
        </a:p>
      </dgm:t>
    </dgm:pt>
    <dgm:pt modelId="{BB095157-E600-4E3B-B4B4-BF5193D9315E}" type="pres">
      <dgm:prSet presAssocID="{3B9F1C07-7070-4A22-B56C-689FFE29097C}" presName="Name9" presStyleLbl="parChTrans1D2" presStyleIdx="1" presStyleCnt="4"/>
      <dgm:spPr/>
      <dgm:t>
        <a:bodyPr/>
        <a:lstStyle/>
        <a:p>
          <a:endParaRPr lang="en-US"/>
        </a:p>
      </dgm:t>
    </dgm:pt>
    <dgm:pt modelId="{147B238D-EF03-48D7-901A-E509A37CE1A8}" type="pres">
      <dgm:prSet presAssocID="{3B9F1C07-7070-4A22-B56C-689FFE29097C}" presName="connTx" presStyleLbl="parChTrans1D2" presStyleIdx="1" presStyleCnt="4"/>
      <dgm:spPr/>
      <dgm:t>
        <a:bodyPr/>
        <a:lstStyle/>
        <a:p>
          <a:endParaRPr lang="en-US"/>
        </a:p>
      </dgm:t>
    </dgm:pt>
    <dgm:pt modelId="{24EDDF24-82EB-49F5-A073-260051276F9D}" type="pres">
      <dgm:prSet presAssocID="{2472B298-0B22-4FA7-B270-F2E860D794F1}" presName="node" presStyleLbl="node1" presStyleIdx="1" presStyleCnt="4">
        <dgm:presLayoutVars>
          <dgm:bulletEnabled val="1"/>
        </dgm:presLayoutVars>
      </dgm:prSet>
      <dgm:spPr/>
      <dgm:t>
        <a:bodyPr/>
        <a:lstStyle/>
        <a:p>
          <a:endParaRPr lang="en-US"/>
        </a:p>
      </dgm:t>
    </dgm:pt>
    <dgm:pt modelId="{6D8C9AD8-9139-4115-BC3C-5776E97DE8FE}" type="pres">
      <dgm:prSet presAssocID="{85321690-A6B1-4771-B897-5A5334E500FE}" presName="Name9" presStyleLbl="parChTrans1D2" presStyleIdx="2" presStyleCnt="4"/>
      <dgm:spPr/>
      <dgm:t>
        <a:bodyPr/>
        <a:lstStyle/>
        <a:p>
          <a:endParaRPr lang="en-US"/>
        </a:p>
      </dgm:t>
    </dgm:pt>
    <dgm:pt modelId="{229DFB12-19D8-4062-A955-2C535461D5F7}" type="pres">
      <dgm:prSet presAssocID="{85321690-A6B1-4771-B897-5A5334E500FE}" presName="connTx" presStyleLbl="parChTrans1D2" presStyleIdx="2" presStyleCnt="4"/>
      <dgm:spPr/>
      <dgm:t>
        <a:bodyPr/>
        <a:lstStyle/>
        <a:p>
          <a:endParaRPr lang="en-US"/>
        </a:p>
      </dgm:t>
    </dgm:pt>
    <dgm:pt modelId="{5E9A33A2-B0E1-4755-8705-0A5FC015CF8E}" type="pres">
      <dgm:prSet presAssocID="{1CB6BC28-8369-4E6B-A08B-4DFEBB5D4496}" presName="node" presStyleLbl="node1" presStyleIdx="2" presStyleCnt="4">
        <dgm:presLayoutVars>
          <dgm:bulletEnabled val="1"/>
        </dgm:presLayoutVars>
      </dgm:prSet>
      <dgm:spPr/>
      <dgm:t>
        <a:bodyPr/>
        <a:lstStyle/>
        <a:p>
          <a:endParaRPr lang="en-US"/>
        </a:p>
      </dgm:t>
    </dgm:pt>
    <dgm:pt modelId="{F5645C2C-C000-494C-A8E8-E104277BA839}" type="pres">
      <dgm:prSet presAssocID="{D4772B4A-1123-4C86-BCCE-AB55199F398D}" presName="Name9" presStyleLbl="parChTrans1D2" presStyleIdx="3" presStyleCnt="4"/>
      <dgm:spPr/>
      <dgm:t>
        <a:bodyPr/>
        <a:lstStyle/>
        <a:p>
          <a:endParaRPr lang="en-US"/>
        </a:p>
      </dgm:t>
    </dgm:pt>
    <dgm:pt modelId="{596E36F9-4DAC-4476-8070-6FD1E1F8B4DD}" type="pres">
      <dgm:prSet presAssocID="{D4772B4A-1123-4C86-BCCE-AB55199F398D}" presName="connTx" presStyleLbl="parChTrans1D2" presStyleIdx="3" presStyleCnt="4"/>
      <dgm:spPr/>
      <dgm:t>
        <a:bodyPr/>
        <a:lstStyle/>
        <a:p>
          <a:endParaRPr lang="en-US"/>
        </a:p>
      </dgm:t>
    </dgm:pt>
    <dgm:pt modelId="{FED36B09-494C-4081-A71C-38F6CCE6CEEB}" type="pres">
      <dgm:prSet presAssocID="{623C38B8-7568-4508-BEE0-C81546D586E8}" presName="node" presStyleLbl="node1" presStyleIdx="3" presStyleCnt="4" custScaleX="113379">
        <dgm:presLayoutVars>
          <dgm:bulletEnabled val="1"/>
        </dgm:presLayoutVars>
      </dgm:prSet>
      <dgm:spPr/>
      <dgm:t>
        <a:bodyPr/>
        <a:lstStyle/>
        <a:p>
          <a:endParaRPr lang="en-US"/>
        </a:p>
      </dgm:t>
    </dgm:pt>
  </dgm:ptLst>
  <dgm:cxnLst>
    <dgm:cxn modelId="{C590E9DD-8289-4A32-A740-6D5680BC6A36}" srcId="{CA2F489B-FF46-4676-B4CB-100F62E7CE4E}" destId="{1CB6BC28-8369-4E6B-A08B-4DFEBB5D4496}" srcOrd="2" destOrd="0" parTransId="{85321690-A6B1-4771-B897-5A5334E500FE}" sibTransId="{D25DC6F8-7F03-4485-8304-BE67B247BE63}"/>
    <dgm:cxn modelId="{6F04FD5E-B9FC-4260-BAAF-5AAFC7562AFD}" type="presOf" srcId="{CA2F489B-FF46-4676-B4CB-100F62E7CE4E}" destId="{1BA44D97-B2B0-416B-A3A0-E18142E884A8}" srcOrd="0" destOrd="0" presId="urn:microsoft.com/office/officeart/2005/8/layout/radial1"/>
    <dgm:cxn modelId="{AA856812-CC94-4724-9E37-3F1572178ACB}" type="presOf" srcId="{2472B298-0B22-4FA7-B270-F2E860D794F1}" destId="{24EDDF24-82EB-49F5-A073-260051276F9D}" srcOrd="0" destOrd="0" presId="urn:microsoft.com/office/officeart/2005/8/layout/radial1"/>
    <dgm:cxn modelId="{83F6577B-AA72-4AAF-BC89-8C0A9CB6958A}" type="presOf" srcId="{3B9F1C07-7070-4A22-B56C-689FFE29097C}" destId="{147B238D-EF03-48D7-901A-E509A37CE1A8}" srcOrd="1" destOrd="0" presId="urn:microsoft.com/office/officeart/2005/8/layout/radial1"/>
    <dgm:cxn modelId="{AAC39AAD-32E1-4155-889C-B2D41324AB04}" type="presOf" srcId="{85321690-A6B1-4771-B897-5A5334E500FE}" destId="{229DFB12-19D8-4062-A955-2C535461D5F7}" srcOrd="1" destOrd="0" presId="urn:microsoft.com/office/officeart/2005/8/layout/radial1"/>
    <dgm:cxn modelId="{C688BC3E-4B26-406B-959D-EA7FB1D0B1DD}" srcId="{920EE35A-2925-49FB-BF3F-47FCF07DBEFF}" destId="{CA2F489B-FF46-4676-B4CB-100F62E7CE4E}" srcOrd="0" destOrd="0" parTransId="{774B6756-CB09-482D-8636-F4A7FB4CB930}" sibTransId="{FCC4DC14-28AE-4B22-87F3-F06BEF772A39}"/>
    <dgm:cxn modelId="{64DF5F7C-2FEF-414C-B0CD-80697CB7B1B8}" type="presOf" srcId="{435496A5-9364-4101-B1D9-A632A5E2D432}" destId="{C1173578-73AA-46D3-B6BC-3FBB701A3F1C}" srcOrd="0" destOrd="0" presId="urn:microsoft.com/office/officeart/2005/8/layout/radial1"/>
    <dgm:cxn modelId="{7AF0A9FB-64F2-40AC-8B8E-06898DBF6786}" type="presOf" srcId="{435496A5-9364-4101-B1D9-A632A5E2D432}" destId="{1ABE7289-B804-4A00-AFEC-205A31055F63}" srcOrd="1" destOrd="0" presId="urn:microsoft.com/office/officeart/2005/8/layout/radial1"/>
    <dgm:cxn modelId="{86DFD6F8-FFDE-460D-8443-FE13857A338A}" type="presOf" srcId="{920EE35A-2925-49FB-BF3F-47FCF07DBEFF}" destId="{45C03DDB-C1A6-42F8-8345-4FE208E75D0F}" srcOrd="0" destOrd="0" presId="urn:microsoft.com/office/officeart/2005/8/layout/radial1"/>
    <dgm:cxn modelId="{051EE263-53DB-4485-A35A-D0BE72CED3C1}" type="presOf" srcId="{623C38B8-7568-4508-BEE0-C81546D586E8}" destId="{FED36B09-494C-4081-A71C-38F6CCE6CEEB}" srcOrd="0" destOrd="0" presId="urn:microsoft.com/office/officeart/2005/8/layout/radial1"/>
    <dgm:cxn modelId="{3C0D1AFD-9116-4B34-BA2E-5EFAB7A73CAE}" srcId="{CA2F489B-FF46-4676-B4CB-100F62E7CE4E}" destId="{69319ABA-FA6A-494E-BFC2-BE826B5355BC}" srcOrd="0" destOrd="0" parTransId="{435496A5-9364-4101-B1D9-A632A5E2D432}" sibTransId="{30C25B4E-0F56-478E-BA71-54625C8D6FF3}"/>
    <dgm:cxn modelId="{01892527-0E98-4943-9295-58AA4706807C}" type="presOf" srcId="{69319ABA-FA6A-494E-BFC2-BE826B5355BC}" destId="{30B5D53E-F026-4302-B975-6DA2B7B07CF6}" srcOrd="0" destOrd="0" presId="urn:microsoft.com/office/officeart/2005/8/layout/radial1"/>
    <dgm:cxn modelId="{F2EC4E6B-C487-4050-A2C2-F95C2A24E927}" type="presOf" srcId="{1CB6BC28-8369-4E6B-A08B-4DFEBB5D4496}" destId="{5E9A33A2-B0E1-4755-8705-0A5FC015CF8E}" srcOrd="0" destOrd="0" presId="urn:microsoft.com/office/officeart/2005/8/layout/radial1"/>
    <dgm:cxn modelId="{4D4EF9EE-0033-4F9F-A501-2BCA1175CF45}" type="presOf" srcId="{3B9F1C07-7070-4A22-B56C-689FFE29097C}" destId="{BB095157-E600-4E3B-B4B4-BF5193D9315E}" srcOrd="0" destOrd="0" presId="urn:microsoft.com/office/officeart/2005/8/layout/radial1"/>
    <dgm:cxn modelId="{B30699CC-0939-47FC-9436-28B05733EFEF}" type="presOf" srcId="{D4772B4A-1123-4C86-BCCE-AB55199F398D}" destId="{596E36F9-4DAC-4476-8070-6FD1E1F8B4DD}" srcOrd="1" destOrd="0" presId="urn:microsoft.com/office/officeart/2005/8/layout/radial1"/>
    <dgm:cxn modelId="{6A1D2DAE-EDFD-4D03-85D9-08726A23D924}" srcId="{CA2F489B-FF46-4676-B4CB-100F62E7CE4E}" destId="{2472B298-0B22-4FA7-B270-F2E860D794F1}" srcOrd="1" destOrd="0" parTransId="{3B9F1C07-7070-4A22-B56C-689FFE29097C}" sibTransId="{847C0200-0BCD-4E2A-BC22-02A96B229618}"/>
    <dgm:cxn modelId="{061CA90E-1D79-4CB1-AD79-DA948F53097D}" type="presOf" srcId="{85321690-A6B1-4771-B897-5A5334E500FE}" destId="{6D8C9AD8-9139-4115-BC3C-5776E97DE8FE}" srcOrd="0" destOrd="0" presId="urn:microsoft.com/office/officeart/2005/8/layout/radial1"/>
    <dgm:cxn modelId="{BF0C377E-BE93-4495-9609-225C13E48B58}" type="presOf" srcId="{D4772B4A-1123-4C86-BCCE-AB55199F398D}" destId="{F5645C2C-C000-494C-A8E8-E104277BA839}" srcOrd="0" destOrd="0" presId="urn:microsoft.com/office/officeart/2005/8/layout/radial1"/>
    <dgm:cxn modelId="{4718E4EF-CBB0-41CD-A0B3-6EA13BC8D07C}" srcId="{CA2F489B-FF46-4676-B4CB-100F62E7CE4E}" destId="{623C38B8-7568-4508-BEE0-C81546D586E8}" srcOrd="3" destOrd="0" parTransId="{D4772B4A-1123-4C86-BCCE-AB55199F398D}" sibTransId="{BE3256A6-C4F0-4632-A6F0-129E588ACE11}"/>
    <dgm:cxn modelId="{E0FC176B-8323-4C89-BAA0-A9A73FE785AD}" type="presParOf" srcId="{45C03DDB-C1A6-42F8-8345-4FE208E75D0F}" destId="{1BA44D97-B2B0-416B-A3A0-E18142E884A8}" srcOrd="0" destOrd="0" presId="urn:microsoft.com/office/officeart/2005/8/layout/radial1"/>
    <dgm:cxn modelId="{DAB5B3DB-724B-439C-BC1F-DE30E1BA5DE6}" type="presParOf" srcId="{45C03DDB-C1A6-42F8-8345-4FE208E75D0F}" destId="{C1173578-73AA-46D3-B6BC-3FBB701A3F1C}" srcOrd="1" destOrd="0" presId="urn:microsoft.com/office/officeart/2005/8/layout/radial1"/>
    <dgm:cxn modelId="{3EE64597-B4CC-46DC-8F51-07CB3DAAD85C}" type="presParOf" srcId="{C1173578-73AA-46D3-B6BC-3FBB701A3F1C}" destId="{1ABE7289-B804-4A00-AFEC-205A31055F63}" srcOrd="0" destOrd="0" presId="urn:microsoft.com/office/officeart/2005/8/layout/radial1"/>
    <dgm:cxn modelId="{51582FE8-E661-44CD-8B45-4E0165BD8094}" type="presParOf" srcId="{45C03DDB-C1A6-42F8-8345-4FE208E75D0F}" destId="{30B5D53E-F026-4302-B975-6DA2B7B07CF6}" srcOrd="2" destOrd="0" presId="urn:microsoft.com/office/officeart/2005/8/layout/radial1"/>
    <dgm:cxn modelId="{24E65FD7-66A4-46E0-B02F-777CA2EA92C7}" type="presParOf" srcId="{45C03DDB-C1A6-42F8-8345-4FE208E75D0F}" destId="{BB095157-E600-4E3B-B4B4-BF5193D9315E}" srcOrd="3" destOrd="0" presId="urn:microsoft.com/office/officeart/2005/8/layout/radial1"/>
    <dgm:cxn modelId="{1A184106-CFF1-40EB-8F7F-19DC89E59250}" type="presParOf" srcId="{BB095157-E600-4E3B-B4B4-BF5193D9315E}" destId="{147B238D-EF03-48D7-901A-E509A37CE1A8}" srcOrd="0" destOrd="0" presId="urn:microsoft.com/office/officeart/2005/8/layout/radial1"/>
    <dgm:cxn modelId="{C3B58EEA-A454-47A7-87C3-0C3760F3E644}" type="presParOf" srcId="{45C03DDB-C1A6-42F8-8345-4FE208E75D0F}" destId="{24EDDF24-82EB-49F5-A073-260051276F9D}" srcOrd="4" destOrd="0" presId="urn:microsoft.com/office/officeart/2005/8/layout/radial1"/>
    <dgm:cxn modelId="{219727EA-11BD-4E23-A2A9-44800EB7B79B}" type="presParOf" srcId="{45C03DDB-C1A6-42F8-8345-4FE208E75D0F}" destId="{6D8C9AD8-9139-4115-BC3C-5776E97DE8FE}" srcOrd="5" destOrd="0" presId="urn:microsoft.com/office/officeart/2005/8/layout/radial1"/>
    <dgm:cxn modelId="{0951FFE4-6416-4621-88D5-E8BDAF402C38}" type="presParOf" srcId="{6D8C9AD8-9139-4115-BC3C-5776E97DE8FE}" destId="{229DFB12-19D8-4062-A955-2C535461D5F7}" srcOrd="0" destOrd="0" presId="urn:microsoft.com/office/officeart/2005/8/layout/radial1"/>
    <dgm:cxn modelId="{E6951E25-0BD8-45C5-B444-917C0E4D4E5D}" type="presParOf" srcId="{45C03DDB-C1A6-42F8-8345-4FE208E75D0F}" destId="{5E9A33A2-B0E1-4755-8705-0A5FC015CF8E}" srcOrd="6" destOrd="0" presId="urn:microsoft.com/office/officeart/2005/8/layout/radial1"/>
    <dgm:cxn modelId="{DC916E31-6DA8-421A-A4C6-4B3A500EAF1E}" type="presParOf" srcId="{45C03DDB-C1A6-42F8-8345-4FE208E75D0F}" destId="{F5645C2C-C000-494C-A8E8-E104277BA839}" srcOrd="7" destOrd="0" presId="urn:microsoft.com/office/officeart/2005/8/layout/radial1"/>
    <dgm:cxn modelId="{3AE4056E-5053-44DF-9C66-B567332112F8}" type="presParOf" srcId="{F5645C2C-C000-494C-A8E8-E104277BA839}" destId="{596E36F9-4DAC-4476-8070-6FD1E1F8B4DD}" srcOrd="0" destOrd="0" presId="urn:microsoft.com/office/officeart/2005/8/layout/radial1"/>
    <dgm:cxn modelId="{4A970C33-FBCE-4572-960A-C59964FBF9DB}" type="presParOf" srcId="{45C03DDB-C1A6-42F8-8345-4FE208E75D0F}" destId="{FED36B09-494C-4081-A71C-38F6CCE6CEEB}" srcOrd="8" destOrd="0" presId="urn:microsoft.com/office/officeart/2005/8/layout/radial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AB7F93E-A12F-4E6E-AADC-8F6DAE660A76}" type="doc">
      <dgm:prSet loTypeId="urn:microsoft.com/office/officeart/2005/8/layout/radial1" loCatId="relationship" qsTypeId="urn:microsoft.com/office/officeart/2005/8/quickstyle/simple1" qsCatId="simple" csTypeId="urn:microsoft.com/office/officeart/2005/8/colors/accent0_1" csCatId="mainScheme" phldr="1"/>
      <dgm:spPr/>
      <dgm:t>
        <a:bodyPr/>
        <a:lstStyle/>
        <a:p>
          <a:endParaRPr lang="en-US"/>
        </a:p>
      </dgm:t>
    </dgm:pt>
    <dgm:pt modelId="{18F441DE-1203-4EC1-8420-DB855DE11297}">
      <dgm:prSet phldrT="[Texto]" custT="1"/>
      <dgm:spPr/>
      <dgm:t>
        <a:bodyPr/>
        <a:lstStyle/>
        <a:p>
          <a:r>
            <a:rPr lang="en-US" sz="900" noProof="0" dirty="0" smtClean="0"/>
            <a:t>Government</a:t>
          </a:r>
          <a:endParaRPr lang="en-US" sz="900" noProof="0" dirty="0"/>
        </a:p>
      </dgm:t>
    </dgm:pt>
    <dgm:pt modelId="{53765BD1-DEC2-4DD9-AEA8-B1E70F8F6E52}" type="parTrans" cxnId="{5BCA8F70-68AE-46A7-8AD4-120B6214272D}">
      <dgm:prSet/>
      <dgm:spPr/>
      <dgm:t>
        <a:bodyPr/>
        <a:lstStyle/>
        <a:p>
          <a:endParaRPr lang="en-US" sz="2000" noProof="0" dirty="0"/>
        </a:p>
      </dgm:t>
    </dgm:pt>
    <dgm:pt modelId="{8D624CC4-AE1E-41DC-8259-720D4A1BB034}" type="sibTrans" cxnId="{5BCA8F70-68AE-46A7-8AD4-120B6214272D}">
      <dgm:prSet/>
      <dgm:spPr/>
      <dgm:t>
        <a:bodyPr/>
        <a:lstStyle/>
        <a:p>
          <a:endParaRPr lang="en-US" sz="2000" noProof="0" dirty="0"/>
        </a:p>
      </dgm:t>
    </dgm:pt>
    <dgm:pt modelId="{84381FB6-1787-49D2-A190-DC29E1274594}">
      <dgm:prSet phldrT="[Texto]" custT="1"/>
      <dgm:spPr/>
      <dgm:t>
        <a:bodyPr/>
        <a:lstStyle/>
        <a:p>
          <a:r>
            <a:rPr lang="es-CL" sz="900" noProof="0" dirty="0" err="1" smtClean="0"/>
            <a:t>MoH</a:t>
          </a:r>
          <a:endParaRPr lang="en-US" sz="900" noProof="0" dirty="0"/>
        </a:p>
      </dgm:t>
    </dgm:pt>
    <dgm:pt modelId="{4BB9404B-F39C-4A78-BC00-3262751D9B85}" type="parTrans" cxnId="{1D983F4F-B1AA-4D80-8CF7-58CEB46BDA88}">
      <dgm:prSet custT="1"/>
      <dgm:spPr/>
      <dgm:t>
        <a:bodyPr/>
        <a:lstStyle/>
        <a:p>
          <a:endParaRPr lang="en-US" sz="600" noProof="0" dirty="0"/>
        </a:p>
      </dgm:t>
    </dgm:pt>
    <dgm:pt modelId="{FFDF87DC-1283-47B7-BB30-BBC8425DF977}" type="sibTrans" cxnId="{1D983F4F-B1AA-4D80-8CF7-58CEB46BDA88}">
      <dgm:prSet/>
      <dgm:spPr/>
      <dgm:t>
        <a:bodyPr/>
        <a:lstStyle/>
        <a:p>
          <a:endParaRPr lang="en-US" sz="2000" noProof="0" dirty="0"/>
        </a:p>
      </dgm:t>
    </dgm:pt>
    <dgm:pt modelId="{28940E25-4319-41A2-950D-820BF3D7F387}">
      <dgm:prSet phldrT="[Texto]" custT="1"/>
      <dgm:spPr/>
      <dgm:t>
        <a:bodyPr/>
        <a:lstStyle/>
        <a:p>
          <a:r>
            <a:rPr lang="es-CL" sz="900" noProof="0" dirty="0" smtClean="0"/>
            <a:t>ISP</a:t>
          </a:r>
          <a:endParaRPr lang="en-US" sz="900" noProof="0" dirty="0"/>
        </a:p>
      </dgm:t>
    </dgm:pt>
    <dgm:pt modelId="{C87C707E-49C6-4F66-B545-0E72490D08FE}" type="parTrans" cxnId="{7EDCCC6F-B392-460A-84EB-2AB08C539387}">
      <dgm:prSet custT="1"/>
      <dgm:spPr/>
      <dgm:t>
        <a:bodyPr/>
        <a:lstStyle/>
        <a:p>
          <a:endParaRPr lang="en-US" sz="600" noProof="0" dirty="0"/>
        </a:p>
      </dgm:t>
    </dgm:pt>
    <dgm:pt modelId="{78A901F7-3810-4AED-B8D9-F5B4084D0DAF}" type="sibTrans" cxnId="{7EDCCC6F-B392-460A-84EB-2AB08C539387}">
      <dgm:prSet/>
      <dgm:spPr/>
      <dgm:t>
        <a:bodyPr/>
        <a:lstStyle/>
        <a:p>
          <a:endParaRPr lang="en-US" sz="2000" noProof="0" dirty="0"/>
        </a:p>
      </dgm:t>
    </dgm:pt>
    <dgm:pt modelId="{62431D07-A508-407A-8C4A-17BEDF81C924}">
      <dgm:prSet phldrT="[Texto]" custT="1"/>
      <dgm:spPr/>
      <dgm:t>
        <a:bodyPr/>
        <a:lstStyle/>
        <a:p>
          <a:r>
            <a:rPr lang="en-US" sz="900" noProof="0" dirty="0" smtClean="0"/>
            <a:t>ETESA</a:t>
          </a:r>
          <a:endParaRPr lang="en-US" sz="900" noProof="0" dirty="0"/>
        </a:p>
      </dgm:t>
    </dgm:pt>
    <dgm:pt modelId="{8915A2F7-F51B-482A-8926-140592B64994}" type="parTrans" cxnId="{87670494-F499-4C79-8E7E-DF13B1CFD8D6}">
      <dgm:prSet custT="1"/>
      <dgm:spPr/>
      <dgm:t>
        <a:bodyPr/>
        <a:lstStyle/>
        <a:p>
          <a:endParaRPr lang="en-US" sz="600" noProof="0" dirty="0"/>
        </a:p>
      </dgm:t>
    </dgm:pt>
    <dgm:pt modelId="{ECB8927C-1EBA-444B-9894-4B42DF9EBD90}" type="sibTrans" cxnId="{87670494-F499-4C79-8E7E-DF13B1CFD8D6}">
      <dgm:prSet/>
      <dgm:spPr/>
      <dgm:t>
        <a:bodyPr/>
        <a:lstStyle/>
        <a:p>
          <a:endParaRPr lang="en-US" sz="2000" noProof="0" dirty="0"/>
        </a:p>
      </dgm:t>
    </dgm:pt>
    <dgm:pt modelId="{83418A01-CE14-45DC-B63F-1EF5B4BF57EB}">
      <dgm:prSet phldrT="[Texto]" custT="1"/>
      <dgm:spPr/>
      <dgm:t>
        <a:bodyPr/>
        <a:lstStyle/>
        <a:p>
          <a:r>
            <a:rPr lang="es-CL" sz="900" noProof="0" dirty="0" smtClean="0"/>
            <a:t>IBR</a:t>
          </a:r>
          <a:endParaRPr lang="en-US" sz="900" noProof="0" dirty="0"/>
        </a:p>
      </dgm:t>
    </dgm:pt>
    <dgm:pt modelId="{1200389D-E859-456C-867B-A256FA122D96}" type="parTrans" cxnId="{F5DEF559-BB55-4D73-B2D2-5FD236191358}">
      <dgm:prSet custT="1"/>
      <dgm:spPr/>
      <dgm:t>
        <a:bodyPr/>
        <a:lstStyle/>
        <a:p>
          <a:endParaRPr lang="en-US" sz="600" noProof="0" dirty="0"/>
        </a:p>
      </dgm:t>
    </dgm:pt>
    <dgm:pt modelId="{C3A4DF87-35B9-42D6-AD33-56C8B5FE6774}" type="sibTrans" cxnId="{F5DEF559-BB55-4D73-B2D2-5FD236191358}">
      <dgm:prSet/>
      <dgm:spPr/>
      <dgm:t>
        <a:bodyPr/>
        <a:lstStyle/>
        <a:p>
          <a:endParaRPr lang="en-US" sz="2000" noProof="0" dirty="0"/>
        </a:p>
      </dgm:t>
    </dgm:pt>
    <dgm:pt modelId="{20A30B52-11C6-4BCE-87D2-EDEFE2DCB5FD}">
      <dgm:prSet phldrT="[Texto]" custT="1"/>
      <dgm:spPr/>
      <dgm:t>
        <a:bodyPr/>
        <a:lstStyle/>
        <a:p>
          <a:r>
            <a:rPr lang="es-CL" sz="900" noProof="0" dirty="0" err="1" smtClean="0"/>
            <a:t>Corfo</a:t>
          </a:r>
          <a:endParaRPr lang="en-US" sz="900" noProof="0" dirty="0"/>
        </a:p>
      </dgm:t>
    </dgm:pt>
    <dgm:pt modelId="{74555A96-5599-4671-89D5-226C08B2CE83}" type="parTrans" cxnId="{1E5DF79E-DB46-4A57-8574-8BFDD2F16494}">
      <dgm:prSet custT="1"/>
      <dgm:spPr/>
      <dgm:t>
        <a:bodyPr/>
        <a:lstStyle/>
        <a:p>
          <a:endParaRPr lang="en-US" sz="600" noProof="0" dirty="0"/>
        </a:p>
      </dgm:t>
    </dgm:pt>
    <dgm:pt modelId="{1BBD3CCD-4C04-422A-ACBC-D43D5F628FC1}" type="sibTrans" cxnId="{1E5DF79E-DB46-4A57-8574-8BFDD2F16494}">
      <dgm:prSet/>
      <dgm:spPr/>
      <dgm:t>
        <a:bodyPr/>
        <a:lstStyle/>
        <a:p>
          <a:endParaRPr lang="en-US" sz="2000" noProof="0" dirty="0"/>
        </a:p>
      </dgm:t>
    </dgm:pt>
    <dgm:pt modelId="{0F0D0A40-502E-4F7C-BF7A-8FB0E32DD211}">
      <dgm:prSet phldrT="[Texto]" custT="1"/>
      <dgm:spPr/>
      <dgm:t>
        <a:bodyPr/>
        <a:lstStyle/>
        <a:p>
          <a:r>
            <a:rPr lang="es-CL" sz="900" noProof="0" dirty="0" err="1" smtClean="0"/>
            <a:t>MoE</a:t>
          </a:r>
          <a:endParaRPr lang="en-US" sz="900" noProof="0" dirty="0"/>
        </a:p>
      </dgm:t>
    </dgm:pt>
    <dgm:pt modelId="{663CDD4A-9C08-4F21-B86F-25C819ECF245}" type="parTrans" cxnId="{41FBC999-8F37-4682-8137-1741733FB499}">
      <dgm:prSet custT="1"/>
      <dgm:spPr/>
      <dgm:t>
        <a:bodyPr/>
        <a:lstStyle/>
        <a:p>
          <a:endParaRPr lang="en-US" sz="600" noProof="0" dirty="0"/>
        </a:p>
      </dgm:t>
    </dgm:pt>
    <dgm:pt modelId="{154E08E8-06B5-4737-92DD-9A034E41192F}" type="sibTrans" cxnId="{41FBC999-8F37-4682-8137-1741733FB499}">
      <dgm:prSet/>
      <dgm:spPr/>
      <dgm:t>
        <a:bodyPr/>
        <a:lstStyle/>
        <a:p>
          <a:endParaRPr lang="en-US" sz="2000" noProof="0" dirty="0"/>
        </a:p>
      </dgm:t>
    </dgm:pt>
    <dgm:pt modelId="{2D5E9222-5EDC-4DDF-B3DD-1337E41FBAC5}" type="pres">
      <dgm:prSet presAssocID="{6AB7F93E-A12F-4E6E-AADC-8F6DAE660A76}" presName="cycle" presStyleCnt="0">
        <dgm:presLayoutVars>
          <dgm:chMax val="1"/>
          <dgm:dir/>
          <dgm:animLvl val="ctr"/>
          <dgm:resizeHandles val="exact"/>
        </dgm:presLayoutVars>
      </dgm:prSet>
      <dgm:spPr/>
      <dgm:t>
        <a:bodyPr/>
        <a:lstStyle/>
        <a:p>
          <a:endParaRPr lang="en-US"/>
        </a:p>
      </dgm:t>
    </dgm:pt>
    <dgm:pt modelId="{F27ED0B4-4F7A-4A3B-B9F5-3391AC8ADCBA}" type="pres">
      <dgm:prSet presAssocID="{18F441DE-1203-4EC1-8420-DB855DE11297}" presName="centerShape" presStyleLbl="node0" presStyleIdx="0" presStyleCnt="1" custScaleX="129668"/>
      <dgm:spPr/>
      <dgm:t>
        <a:bodyPr/>
        <a:lstStyle/>
        <a:p>
          <a:endParaRPr lang="en-US"/>
        </a:p>
      </dgm:t>
    </dgm:pt>
    <dgm:pt modelId="{9FF49026-EB2E-4148-98C6-6DF3B27F0827}" type="pres">
      <dgm:prSet presAssocID="{4BB9404B-F39C-4A78-BC00-3262751D9B85}" presName="Name9" presStyleLbl="parChTrans1D2" presStyleIdx="0" presStyleCnt="6"/>
      <dgm:spPr/>
      <dgm:t>
        <a:bodyPr/>
        <a:lstStyle/>
        <a:p>
          <a:endParaRPr lang="en-US"/>
        </a:p>
      </dgm:t>
    </dgm:pt>
    <dgm:pt modelId="{85F66897-91CC-4368-A9A8-75D02B912040}" type="pres">
      <dgm:prSet presAssocID="{4BB9404B-F39C-4A78-BC00-3262751D9B85}" presName="connTx" presStyleLbl="parChTrans1D2" presStyleIdx="0" presStyleCnt="6"/>
      <dgm:spPr/>
      <dgm:t>
        <a:bodyPr/>
        <a:lstStyle/>
        <a:p>
          <a:endParaRPr lang="en-US"/>
        </a:p>
      </dgm:t>
    </dgm:pt>
    <dgm:pt modelId="{4437D463-1B0E-44EA-89D6-694D3E46766F}" type="pres">
      <dgm:prSet presAssocID="{84381FB6-1787-49D2-A190-DC29E1274594}" presName="node" presStyleLbl="node1" presStyleIdx="0" presStyleCnt="6">
        <dgm:presLayoutVars>
          <dgm:bulletEnabled val="1"/>
        </dgm:presLayoutVars>
      </dgm:prSet>
      <dgm:spPr/>
      <dgm:t>
        <a:bodyPr/>
        <a:lstStyle/>
        <a:p>
          <a:endParaRPr lang="en-US"/>
        </a:p>
      </dgm:t>
    </dgm:pt>
    <dgm:pt modelId="{9162F308-BC15-4B93-A10A-F4336E3BB880}" type="pres">
      <dgm:prSet presAssocID="{C87C707E-49C6-4F66-B545-0E72490D08FE}" presName="Name9" presStyleLbl="parChTrans1D2" presStyleIdx="1" presStyleCnt="6"/>
      <dgm:spPr/>
      <dgm:t>
        <a:bodyPr/>
        <a:lstStyle/>
        <a:p>
          <a:endParaRPr lang="en-US"/>
        </a:p>
      </dgm:t>
    </dgm:pt>
    <dgm:pt modelId="{195837C4-7BE4-4ED1-ADA5-A0A690AB92BF}" type="pres">
      <dgm:prSet presAssocID="{C87C707E-49C6-4F66-B545-0E72490D08FE}" presName="connTx" presStyleLbl="parChTrans1D2" presStyleIdx="1" presStyleCnt="6"/>
      <dgm:spPr/>
      <dgm:t>
        <a:bodyPr/>
        <a:lstStyle/>
        <a:p>
          <a:endParaRPr lang="en-US"/>
        </a:p>
      </dgm:t>
    </dgm:pt>
    <dgm:pt modelId="{FCD89645-156A-4615-A71A-FBF7FDAFB9BD}" type="pres">
      <dgm:prSet presAssocID="{28940E25-4319-41A2-950D-820BF3D7F387}" presName="node" presStyleLbl="node1" presStyleIdx="1" presStyleCnt="6">
        <dgm:presLayoutVars>
          <dgm:bulletEnabled val="1"/>
        </dgm:presLayoutVars>
      </dgm:prSet>
      <dgm:spPr/>
      <dgm:t>
        <a:bodyPr/>
        <a:lstStyle/>
        <a:p>
          <a:endParaRPr lang="en-US"/>
        </a:p>
      </dgm:t>
    </dgm:pt>
    <dgm:pt modelId="{E1F4A180-4A1C-4CE0-B7C3-9CB8FBAC1B7C}" type="pres">
      <dgm:prSet presAssocID="{1200389D-E859-456C-867B-A256FA122D96}" presName="Name9" presStyleLbl="parChTrans1D2" presStyleIdx="2" presStyleCnt="6"/>
      <dgm:spPr/>
      <dgm:t>
        <a:bodyPr/>
        <a:lstStyle/>
        <a:p>
          <a:endParaRPr lang="en-US"/>
        </a:p>
      </dgm:t>
    </dgm:pt>
    <dgm:pt modelId="{521FC711-E196-4BB8-9B50-ECA3986C50C1}" type="pres">
      <dgm:prSet presAssocID="{1200389D-E859-456C-867B-A256FA122D96}" presName="connTx" presStyleLbl="parChTrans1D2" presStyleIdx="2" presStyleCnt="6"/>
      <dgm:spPr/>
      <dgm:t>
        <a:bodyPr/>
        <a:lstStyle/>
        <a:p>
          <a:endParaRPr lang="en-US"/>
        </a:p>
      </dgm:t>
    </dgm:pt>
    <dgm:pt modelId="{444FE26B-E17F-4896-98C5-ED2AAF9BB139}" type="pres">
      <dgm:prSet presAssocID="{83418A01-CE14-45DC-B63F-1EF5B4BF57EB}" presName="node" presStyleLbl="node1" presStyleIdx="2" presStyleCnt="6">
        <dgm:presLayoutVars>
          <dgm:bulletEnabled val="1"/>
        </dgm:presLayoutVars>
      </dgm:prSet>
      <dgm:spPr/>
      <dgm:t>
        <a:bodyPr/>
        <a:lstStyle/>
        <a:p>
          <a:endParaRPr lang="en-US"/>
        </a:p>
      </dgm:t>
    </dgm:pt>
    <dgm:pt modelId="{A5142DBC-45B8-4C17-9D51-D7C1C78833D9}" type="pres">
      <dgm:prSet presAssocID="{8915A2F7-F51B-482A-8926-140592B64994}" presName="Name9" presStyleLbl="parChTrans1D2" presStyleIdx="3" presStyleCnt="6"/>
      <dgm:spPr/>
      <dgm:t>
        <a:bodyPr/>
        <a:lstStyle/>
        <a:p>
          <a:endParaRPr lang="en-US"/>
        </a:p>
      </dgm:t>
    </dgm:pt>
    <dgm:pt modelId="{E0AA8103-0F99-45B3-8E34-980F69D1B79B}" type="pres">
      <dgm:prSet presAssocID="{8915A2F7-F51B-482A-8926-140592B64994}" presName="connTx" presStyleLbl="parChTrans1D2" presStyleIdx="3" presStyleCnt="6"/>
      <dgm:spPr/>
      <dgm:t>
        <a:bodyPr/>
        <a:lstStyle/>
        <a:p>
          <a:endParaRPr lang="en-US"/>
        </a:p>
      </dgm:t>
    </dgm:pt>
    <dgm:pt modelId="{015DE7BC-27B6-4D05-AE4C-23BF8EE8998E}" type="pres">
      <dgm:prSet presAssocID="{62431D07-A508-407A-8C4A-17BEDF81C924}" presName="node" presStyleLbl="node1" presStyleIdx="3" presStyleCnt="6">
        <dgm:presLayoutVars>
          <dgm:bulletEnabled val="1"/>
        </dgm:presLayoutVars>
      </dgm:prSet>
      <dgm:spPr/>
      <dgm:t>
        <a:bodyPr/>
        <a:lstStyle/>
        <a:p>
          <a:endParaRPr lang="en-US"/>
        </a:p>
      </dgm:t>
    </dgm:pt>
    <dgm:pt modelId="{3A361699-D006-4229-8E81-5A619B90C764}" type="pres">
      <dgm:prSet presAssocID="{74555A96-5599-4671-89D5-226C08B2CE83}" presName="Name9" presStyleLbl="parChTrans1D2" presStyleIdx="4" presStyleCnt="6"/>
      <dgm:spPr/>
      <dgm:t>
        <a:bodyPr/>
        <a:lstStyle/>
        <a:p>
          <a:endParaRPr lang="en-US"/>
        </a:p>
      </dgm:t>
    </dgm:pt>
    <dgm:pt modelId="{5B853C8A-DD4B-40FD-9775-24E1D4FE4D1B}" type="pres">
      <dgm:prSet presAssocID="{74555A96-5599-4671-89D5-226C08B2CE83}" presName="connTx" presStyleLbl="parChTrans1D2" presStyleIdx="4" presStyleCnt="6"/>
      <dgm:spPr/>
      <dgm:t>
        <a:bodyPr/>
        <a:lstStyle/>
        <a:p>
          <a:endParaRPr lang="en-US"/>
        </a:p>
      </dgm:t>
    </dgm:pt>
    <dgm:pt modelId="{34AEB013-EE56-4BD0-B5D5-A2DBF130B80E}" type="pres">
      <dgm:prSet presAssocID="{20A30B52-11C6-4BCE-87D2-EDEFE2DCB5FD}" presName="node" presStyleLbl="node1" presStyleIdx="4" presStyleCnt="6">
        <dgm:presLayoutVars>
          <dgm:bulletEnabled val="1"/>
        </dgm:presLayoutVars>
      </dgm:prSet>
      <dgm:spPr/>
      <dgm:t>
        <a:bodyPr/>
        <a:lstStyle/>
        <a:p>
          <a:endParaRPr lang="en-US"/>
        </a:p>
      </dgm:t>
    </dgm:pt>
    <dgm:pt modelId="{C2F14498-BE72-48CB-B304-278919BA540C}" type="pres">
      <dgm:prSet presAssocID="{663CDD4A-9C08-4F21-B86F-25C819ECF245}" presName="Name9" presStyleLbl="parChTrans1D2" presStyleIdx="5" presStyleCnt="6"/>
      <dgm:spPr/>
      <dgm:t>
        <a:bodyPr/>
        <a:lstStyle/>
        <a:p>
          <a:endParaRPr lang="en-US"/>
        </a:p>
      </dgm:t>
    </dgm:pt>
    <dgm:pt modelId="{53D6FA39-2F3C-4AFE-8633-17EB71D5010D}" type="pres">
      <dgm:prSet presAssocID="{663CDD4A-9C08-4F21-B86F-25C819ECF245}" presName="connTx" presStyleLbl="parChTrans1D2" presStyleIdx="5" presStyleCnt="6"/>
      <dgm:spPr/>
      <dgm:t>
        <a:bodyPr/>
        <a:lstStyle/>
        <a:p>
          <a:endParaRPr lang="en-US"/>
        </a:p>
      </dgm:t>
    </dgm:pt>
    <dgm:pt modelId="{FE236A8D-C476-4C87-B324-C6A87BA9DF7D}" type="pres">
      <dgm:prSet presAssocID="{0F0D0A40-502E-4F7C-BF7A-8FB0E32DD211}" presName="node" presStyleLbl="node1" presStyleIdx="5" presStyleCnt="6">
        <dgm:presLayoutVars>
          <dgm:bulletEnabled val="1"/>
        </dgm:presLayoutVars>
      </dgm:prSet>
      <dgm:spPr/>
      <dgm:t>
        <a:bodyPr/>
        <a:lstStyle/>
        <a:p>
          <a:endParaRPr lang="en-US"/>
        </a:p>
      </dgm:t>
    </dgm:pt>
  </dgm:ptLst>
  <dgm:cxnLst>
    <dgm:cxn modelId="{A10A5338-17C2-446E-977B-4D1EA7272A12}" type="presOf" srcId="{1200389D-E859-456C-867B-A256FA122D96}" destId="{521FC711-E196-4BB8-9B50-ECA3986C50C1}" srcOrd="1" destOrd="0" presId="urn:microsoft.com/office/officeart/2005/8/layout/radial1"/>
    <dgm:cxn modelId="{725361BB-9CE0-4C8A-8636-A89A9AE63758}" type="presOf" srcId="{8915A2F7-F51B-482A-8926-140592B64994}" destId="{A5142DBC-45B8-4C17-9D51-D7C1C78833D9}" srcOrd="0" destOrd="0" presId="urn:microsoft.com/office/officeart/2005/8/layout/radial1"/>
    <dgm:cxn modelId="{43B3DFBF-234F-474E-814E-6D0EFFF172A4}" type="presOf" srcId="{28940E25-4319-41A2-950D-820BF3D7F387}" destId="{FCD89645-156A-4615-A71A-FBF7FDAFB9BD}" srcOrd="0" destOrd="0" presId="urn:microsoft.com/office/officeart/2005/8/layout/radial1"/>
    <dgm:cxn modelId="{1FAC1E5B-3B14-44C6-BB7D-381050B1BEEE}" type="presOf" srcId="{6AB7F93E-A12F-4E6E-AADC-8F6DAE660A76}" destId="{2D5E9222-5EDC-4DDF-B3DD-1337E41FBAC5}" srcOrd="0" destOrd="0" presId="urn:microsoft.com/office/officeart/2005/8/layout/radial1"/>
    <dgm:cxn modelId="{5BCA8F70-68AE-46A7-8AD4-120B6214272D}" srcId="{6AB7F93E-A12F-4E6E-AADC-8F6DAE660A76}" destId="{18F441DE-1203-4EC1-8420-DB855DE11297}" srcOrd="0" destOrd="0" parTransId="{53765BD1-DEC2-4DD9-AEA8-B1E70F8F6E52}" sibTransId="{8D624CC4-AE1E-41DC-8259-720D4A1BB034}"/>
    <dgm:cxn modelId="{362DB682-8023-46F5-B47A-93C00D5F8F40}" type="presOf" srcId="{74555A96-5599-4671-89D5-226C08B2CE83}" destId="{5B853C8A-DD4B-40FD-9775-24E1D4FE4D1B}" srcOrd="1" destOrd="0" presId="urn:microsoft.com/office/officeart/2005/8/layout/radial1"/>
    <dgm:cxn modelId="{0D6EEFDA-4BDB-4D9C-BDAE-C0B2DEBB02CB}" type="presOf" srcId="{0F0D0A40-502E-4F7C-BF7A-8FB0E32DD211}" destId="{FE236A8D-C476-4C87-B324-C6A87BA9DF7D}" srcOrd="0" destOrd="0" presId="urn:microsoft.com/office/officeart/2005/8/layout/radial1"/>
    <dgm:cxn modelId="{87670494-F499-4C79-8E7E-DF13B1CFD8D6}" srcId="{18F441DE-1203-4EC1-8420-DB855DE11297}" destId="{62431D07-A508-407A-8C4A-17BEDF81C924}" srcOrd="3" destOrd="0" parTransId="{8915A2F7-F51B-482A-8926-140592B64994}" sibTransId="{ECB8927C-1EBA-444B-9894-4B42DF9EBD90}"/>
    <dgm:cxn modelId="{F5DEF559-BB55-4D73-B2D2-5FD236191358}" srcId="{18F441DE-1203-4EC1-8420-DB855DE11297}" destId="{83418A01-CE14-45DC-B63F-1EF5B4BF57EB}" srcOrd="2" destOrd="0" parTransId="{1200389D-E859-456C-867B-A256FA122D96}" sibTransId="{C3A4DF87-35B9-42D6-AD33-56C8B5FE6774}"/>
    <dgm:cxn modelId="{FBD6129F-8783-4877-AA55-86A772F9CFD3}" type="presOf" srcId="{C87C707E-49C6-4F66-B545-0E72490D08FE}" destId="{195837C4-7BE4-4ED1-ADA5-A0A690AB92BF}" srcOrd="1" destOrd="0" presId="urn:microsoft.com/office/officeart/2005/8/layout/radial1"/>
    <dgm:cxn modelId="{0D89DEA8-5E6C-45EA-B69A-8CECD628D39E}" type="presOf" srcId="{8915A2F7-F51B-482A-8926-140592B64994}" destId="{E0AA8103-0F99-45B3-8E34-980F69D1B79B}" srcOrd="1" destOrd="0" presId="urn:microsoft.com/office/officeart/2005/8/layout/radial1"/>
    <dgm:cxn modelId="{1E5DF79E-DB46-4A57-8574-8BFDD2F16494}" srcId="{18F441DE-1203-4EC1-8420-DB855DE11297}" destId="{20A30B52-11C6-4BCE-87D2-EDEFE2DCB5FD}" srcOrd="4" destOrd="0" parTransId="{74555A96-5599-4671-89D5-226C08B2CE83}" sibTransId="{1BBD3CCD-4C04-422A-ACBC-D43D5F628FC1}"/>
    <dgm:cxn modelId="{E92C40A7-3C00-4592-8424-9A3BEB2A3129}" type="presOf" srcId="{4BB9404B-F39C-4A78-BC00-3262751D9B85}" destId="{9FF49026-EB2E-4148-98C6-6DF3B27F0827}" srcOrd="0" destOrd="0" presId="urn:microsoft.com/office/officeart/2005/8/layout/radial1"/>
    <dgm:cxn modelId="{7EDCCC6F-B392-460A-84EB-2AB08C539387}" srcId="{18F441DE-1203-4EC1-8420-DB855DE11297}" destId="{28940E25-4319-41A2-950D-820BF3D7F387}" srcOrd="1" destOrd="0" parTransId="{C87C707E-49C6-4F66-B545-0E72490D08FE}" sibTransId="{78A901F7-3810-4AED-B8D9-F5B4084D0DAF}"/>
    <dgm:cxn modelId="{386277AA-89DD-44FF-9F76-CE90404906BA}" type="presOf" srcId="{C87C707E-49C6-4F66-B545-0E72490D08FE}" destId="{9162F308-BC15-4B93-A10A-F4336E3BB880}" srcOrd="0" destOrd="0" presId="urn:microsoft.com/office/officeart/2005/8/layout/radial1"/>
    <dgm:cxn modelId="{E42FA3F3-5571-4556-B423-AA6287023E97}" type="presOf" srcId="{74555A96-5599-4671-89D5-226C08B2CE83}" destId="{3A361699-D006-4229-8E81-5A619B90C764}" srcOrd="0" destOrd="0" presId="urn:microsoft.com/office/officeart/2005/8/layout/radial1"/>
    <dgm:cxn modelId="{1D983F4F-B1AA-4D80-8CF7-58CEB46BDA88}" srcId="{18F441DE-1203-4EC1-8420-DB855DE11297}" destId="{84381FB6-1787-49D2-A190-DC29E1274594}" srcOrd="0" destOrd="0" parTransId="{4BB9404B-F39C-4A78-BC00-3262751D9B85}" sibTransId="{FFDF87DC-1283-47B7-BB30-BBC8425DF977}"/>
    <dgm:cxn modelId="{D7444BB8-9F4C-456F-B701-87E97034FEE1}" type="presOf" srcId="{20A30B52-11C6-4BCE-87D2-EDEFE2DCB5FD}" destId="{34AEB013-EE56-4BD0-B5D5-A2DBF130B80E}" srcOrd="0" destOrd="0" presId="urn:microsoft.com/office/officeart/2005/8/layout/radial1"/>
    <dgm:cxn modelId="{746CB574-2035-46C7-AC2A-B539D7D4746A}" type="presOf" srcId="{4BB9404B-F39C-4A78-BC00-3262751D9B85}" destId="{85F66897-91CC-4368-A9A8-75D02B912040}" srcOrd="1" destOrd="0" presId="urn:microsoft.com/office/officeart/2005/8/layout/radial1"/>
    <dgm:cxn modelId="{41FBC999-8F37-4682-8137-1741733FB499}" srcId="{18F441DE-1203-4EC1-8420-DB855DE11297}" destId="{0F0D0A40-502E-4F7C-BF7A-8FB0E32DD211}" srcOrd="5" destOrd="0" parTransId="{663CDD4A-9C08-4F21-B86F-25C819ECF245}" sibTransId="{154E08E8-06B5-4737-92DD-9A034E41192F}"/>
    <dgm:cxn modelId="{FB3CECDC-CD6B-4A91-9E90-E9AEAA81D0B1}" type="presOf" srcId="{18F441DE-1203-4EC1-8420-DB855DE11297}" destId="{F27ED0B4-4F7A-4A3B-B9F5-3391AC8ADCBA}" srcOrd="0" destOrd="0" presId="urn:microsoft.com/office/officeart/2005/8/layout/radial1"/>
    <dgm:cxn modelId="{9DCF2F51-E3F6-43F7-8D33-D5F09EC22EFF}" type="presOf" srcId="{1200389D-E859-456C-867B-A256FA122D96}" destId="{E1F4A180-4A1C-4CE0-B7C3-9CB8FBAC1B7C}" srcOrd="0" destOrd="0" presId="urn:microsoft.com/office/officeart/2005/8/layout/radial1"/>
    <dgm:cxn modelId="{241DF7F5-E8B7-4E28-9894-A1C33C300CC2}" type="presOf" srcId="{663CDD4A-9C08-4F21-B86F-25C819ECF245}" destId="{C2F14498-BE72-48CB-B304-278919BA540C}" srcOrd="0" destOrd="0" presId="urn:microsoft.com/office/officeart/2005/8/layout/radial1"/>
    <dgm:cxn modelId="{843EAE85-13CD-475A-B183-E7BE44040B39}" type="presOf" srcId="{62431D07-A508-407A-8C4A-17BEDF81C924}" destId="{015DE7BC-27B6-4D05-AE4C-23BF8EE8998E}" srcOrd="0" destOrd="0" presId="urn:microsoft.com/office/officeart/2005/8/layout/radial1"/>
    <dgm:cxn modelId="{603B2A60-911B-4879-802E-40CEA43DB0A1}" type="presOf" srcId="{663CDD4A-9C08-4F21-B86F-25C819ECF245}" destId="{53D6FA39-2F3C-4AFE-8633-17EB71D5010D}" srcOrd="1" destOrd="0" presId="urn:microsoft.com/office/officeart/2005/8/layout/radial1"/>
    <dgm:cxn modelId="{BEA5D411-146C-42A9-839B-82D2C8CCA6BF}" type="presOf" srcId="{83418A01-CE14-45DC-B63F-1EF5B4BF57EB}" destId="{444FE26B-E17F-4896-98C5-ED2AAF9BB139}" srcOrd="0" destOrd="0" presId="urn:microsoft.com/office/officeart/2005/8/layout/radial1"/>
    <dgm:cxn modelId="{672172A1-4BF7-44C7-8F64-C68C55FC9F0A}" type="presOf" srcId="{84381FB6-1787-49D2-A190-DC29E1274594}" destId="{4437D463-1B0E-44EA-89D6-694D3E46766F}" srcOrd="0" destOrd="0" presId="urn:microsoft.com/office/officeart/2005/8/layout/radial1"/>
    <dgm:cxn modelId="{E4922291-0A74-4AE9-A7B6-05BFF6B50F90}" type="presParOf" srcId="{2D5E9222-5EDC-4DDF-B3DD-1337E41FBAC5}" destId="{F27ED0B4-4F7A-4A3B-B9F5-3391AC8ADCBA}" srcOrd="0" destOrd="0" presId="urn:microsoft.com/office/officeart/2005/8/layout/radial1"/>
    <dgm:cxn modelId="{A02BAE00-6C47-4A94-A88F-890FDF5B047F}" type="presParOf" srcId="{2D5E9222-5EDC-4DDF-B3DD-1337E41FBAC5}" destId="{9FF49026-EB2E-4148-98C6-6DF3B27F0827}" srcOrd="1" destOrd="0" presId="urn:microsoft.com/office/officeart/2005/8/layout/radial1"/>
    <dgm:cxn modelId="{DBFB4F14-3C5E-414C-9BF5-578393FD3139}" type="presParOf" srcId="{9FF49026-EB2E-4148-98C6-6DF3B27F0827}" destId="{85F66897-91CC-4368-A9A8-75D02B912040}" srcOrd="0" destOrd="0" presId="urn:microsoft.com/office/officeart/2005/8/layout/radial1"/>
    <dgm:cxn modelId="{A5839E1B-9A1C-4E44-8F85-BC6F54589EC8}" type="presParOf" srcId="{2D5E9222-5EDC-4DDF-B3DD-1337E41FBAC5}" destId="{4437D463-1B0E-44EA-89D6-694D3E46766F}" srcOrd="2" destOrd="0" presId="urn:microsoft.com/office/officeart/2005/8/layout/radial1"/>
    <dgm:cxn modelId="{225151F7-999F-4DD1-8470-04825D02EEE5}" type="presParOf" srcId="{2D5E9222-5EDC-4DDF-B3DD-1337E41FBAC5}" destId="{9162F308-BC15-4B93-A10A-F4336E3BB880}" srcOrd="3" destOrd="0" presId="urn:microsoft.com/office/officeart/2005/8/layout/radial1"/>
    <dgm:cxn modelId="{A46FA404-CEA6-405E-B0A7-43B02BB500DD}" type="presParOf" srcId="{9162F308-BC15-4B93-A10A-F4336E3BB880}" destId="{195837C4-7BE4-4ED1-ADA5-A0A690AB92BF}" srcOrd="0" destOrd="0" presId="urn:microsoft.com/office/officeart/2005/8/layout/radial1"/>
    <dgm:cxn modelId="{54373C09-6A9F-495E-B902-13E4BDD00AE4}" type="presParOf" srcId="{2D5E9222-5EDC-4DDF-B3DD-1337E41FBAC5}" destId="{FCD89645-156A-4615-A71A-FBF7FDAFB9BD}" srcOrd="4" destOrd="0" presId="urn:microsoft.com/office/officeart/2005/8/layout/radial1"/>
    <dgm:cxn modelId="{2D96E6EA-52DA-4565-A2DE-E26FCB96E22E}" type="presParOf" srcId="{2D5E9222-5EDC-4DDF-B3DD-1337E41FBAC5}" destId="{E1F4A180-4A1C-4CE0-B7C3-9CB8FBAC1B7C}" srcOrd="5" destOrd="0" presId="urn:microsoft.com/office/officeart/2005/8/layout/radial1"/>
    <dgm:cxn modelId="{F60356A7-DD71-45F1-A894-8975F0EB82A6}" type="presParOf" srcId="{E1F4A180-4A1C-4CE0-B7C3-9CB8FBAC1B7C}" destId="{521FC711-E196-4BB8-9B50-ECA3986C50C1}" srcOrd="0" destOrd="0" presId="urn:microsoft.com/office/officeart/2005/8/layout/radial1"/>
    <dgm:cxn modelId="{059F139A-1737-45D4-8F06-7D735E64749B}" type="presParOf" srcId="{2D5E9222-5EDC-4DDF-B3DD-1337E41FBAC5}" destId="{444FE26B-E17F-4896-98C5-ED2AAF9BB139}" srcOrd="6" destOrd="0" presId="urn:microsoft.com/office/officeart/2005/8/layout/radial1"/>
    <dgm:cxn modelId="{2AC5E17C-58FE-44B7-94C6-04E19E0E22AA}" type="presParOf" srcId="{2D5E9222-5EDC-4DDF-B3DD-1337E41FBAC5}" destId="{A5142DBC-45B8-4C17-9D51-D7C1C78833D9}" srcOrd="7" destOrd="0" presId="urn:microsoft.com/office/officeart/2005/8/layout/radial1"/>
    <dgm:cxn modelId="{32E3AEC5-8F3E-4EEB-8FDE-0755334EEED3}" type="presParOf" srcId="{A5142DBC-45B8-4C17-9D51-D7C1C78833D9}" destId="{E0AA8103-0F99-45B3-8E34-980F69D1B79B}" srcOrd="0" destOrd="0" presId="urn:microsoft.com/office/officeart/2005/8/layout/radial1"/>
    <dgm:cxn modelId="{9DE30CA3-8F12-4B5F-82C1-B60F4B3B2511}" type="presParOf" srcId="{2D5E9222-5EDC-4DDF-B3DD-1337E41FBAC5}" destId="{015DE7BC-27B6-4D05-AE4C-23BF8EE8998E}" srcOrd="8" destOrd="0" presId="urn:microsoft.com/office/officeart/2005/8/layout/radial1"/>
    <dgm:cxn modelId="{487C40A8-8B44-439D-A0E7-B9EA64BEE6F4}" type="presParOf" srcId="{2D5E9222-5EDC-4DDF-B3DD-1337E41FBAC5}" destId="{3A361699-D006-4229-8E81-5A619B90C764}" srcOrd="9" destOrd="0" presId="urn:microsoft.com/office/officeart/2005/8/layout/radial1"/>
    <dgm:cxn modelId="{5C3A271E-BA7D-44E8-B66E-BBBC6FADBAC3}" type="presParOf" srcId="{3A361699-D006-4229-8E81-5A619B90C764}" destId="{5B853C8A-DD4B-40FD-9775-24E1D4FE4D1B}" srcOrd="0" destOrd="0" presId="urn:microsoft.com/office/officeart/2005/8/layout/radial1"/>
    <dgm:cxn modelId="{BAE29648-E80A-4095-8694-B58BA6FC0F1A}" type="presParOf" srcId="{2D5E9222-5EDC-4DDF-B3DD-1337E41FBAC5}" destId="{34AEB013-EE56-4BD0-B5D5-A2DBF130B80E}" srcOrd="10" destOrd="0" presId="urn:microsoft.com/office/officeart/2005/8/layout/radial1"/>
    <dgm:cxn modelId="{7B77BAA7-963B-4094-ABEC-462F8DD559C2}" type="presParOf" srcId="{2D5E9222-5EDC-4DDF-B3DD-1337E41FBAC5}" destId="{C2F14498-BE72-48CB-B304-278919BA540C}" srcOrd="11" destOrd="0" presId="urn:microsoft.com/office/officeart/2005/8/layout/radial1"/>
    <dgm:cxn modelId="{4880B9CA-52E2-45FB-938E-332E491BEF61}" type="presParOf" srcId="{C2F14498-BE72-48CB-B304-278919BA540C}" destId="{53D6FA39-2F3C-4AFE-8633-17EB71D5010D}" srcOrd="0" destOrd="0" presId="urn:microsoft.com/office/officeart/2005/8/layout/radial1"/>
    <dgm:cxn modelId="{379D6A74-A460-4D9A-8AF1-698195E4C11F}" type="presParOf" srcId="{2D5E9222-5EDC-4DDF-B3DD-1337E41FBAC5}" destId="{FE236A8D-C476-4C87-B324-C6A87BA9DF7D}" srcOrd="12" destOrd="0" presId="urn:microsoft.com/office/officeart/2005/8/layout/radial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F6A78A8-1E7E-4792-ABA0-D4DE9A8D76C2}" type="doc">
      <dgm:prSet loTypeId="urn:microsoft.com/office/officeart/2005/8/layout/radial1" loCatId="cycle" qsTypeId="urn:microsoft.com/office/officeart/2005/8/quickstyle/simple1" qsCatId="simple" csTypeId="urn:microsoft.com/office/officeart/2005/8/colors/accent0_1" csCatId="mainScheme" phldr="1"/>
      <dgm:spPr/>
      <dgm:t>
        <a:bodyPr/>
        <a:lstStyle/>
        <a:p>
          <a:endParaRPr lang="en-US"/>
        </a:p>
      </dgm:t>
    </dgm:pt>
    <dgm:pt modelId="{3535D791-5B5A-4929-BF63-03D5CD4984B9}">
      <dgm:prSet phldrT="[Texto]" custT="1"/>
      <dgm:spPr/>
      <dgm:t>
        <a:bodyPr/>
        <a:lstStyle/>
        <a:p>
          <a:r>
            <a:rPr lang="es-CL" sz="900" dirty="0" err="1" smtClean="0"/>
            <a:t>Funding</a:t>
          </a:r>
          <a:endParaRPr lang="en-US" sz="900" dirty="0"/>
        </a:p>
      </dgm:t>
    </dgm:pt>
    <dgm:pt modelId="{2D721F72-0705-4FFE-BC42-2ADEB0780318}" type="parTrans" cxnId="{63E4BF5B-9938-4C87-90C5-F96C76134132}">
      <dgm:prSet/>
      <dgm:spPr/>
      <dgm:t>
        <a:bodyPr/>
        <a:lstStyle/>
        <a:p>
          <a:endParaRPr lang="en-US"/>
        </a:p>
      </dgm:t>
    </dgm:pt>
    <dgm:pt modelId="{F33C670D-FEC5-4EFE-973C-FDE8AAD0DA06}" type="sibTrans" cxnId="{63E4BF5B-9938-4C87-90C5-F96C76134132}">
      <dgm:prSet/>
      <dgm:spPr/>
      <dgm:t>
        <a:bodyPr/>
        <a:lstStyle/>
        <a:p>
          <a:endParaRPr lang="en-US"/>
        </a:p>
      </dgm:t>
    </dgm:pt>
    <dgm:pt modelId="{048DE356-BDA9-4E1D-906B-8FDF696E7404}">
      <dgm:prSet phldrT="[Texto]" custT="1"/>
      <dgm:spPr/>
      <dgm:t>
        <a:bodyPr/>
        <a:lstStyle/>
        <a:p>
          <a:r>
            <a:rPr lang="es-CL" sz="900" dirty="0" smtClean="0"/>
            <a:t>Venture</a:t>
          </a:r>
          <a:endParaRPr lang="en-US" sz="900" dirty="0"/>
        </a:p>
      </dgm:t>
    </dgm:pt>
    <dgm:pt modelId="{3835603E-2D67-4713-B622-1F7F76D71074}" type="parTrans" cxnId="{C52CBDEF-EE66-4990-A683-78D3312D9023}">
      <dgm:prSet/>
      <dgm:spPr/>
      <dgm:t>
        <a:bodyPr/>
        <a:lstStyle/>
        <a:p>
          <a:endParaRPr lang="en-US"/>
        </a:p>
      </dgm:t>
    </dgm:pt>
    <dgm:pt modelId="{D6D324B1-06FD-465D-9E7D-E75891F0FAD7}" type="sibTrans" cxnId="{C52CBDEF-EE66-4990-A683-78D3312D9023}">
      <dgm:prSet/>
      <dgm:spPr/>
      <dgm:t>
        <a:bodyPr/>
        <a:lstStyle/>
        <a:p>
          <a:endParaRPr lang="en-US"/>
        </a:p>
      </dgm:t>
    </dgm:pt>
    <dgm:pt modelId="{BC359A5E-BC06-4538-9D80-C2AF8227E009}">
      <dgm:prSet phldrT="[Texto]" custT="1"/>
      <dgm:spPr/>
      <dgm:t>
        <a:bodyPr/>
        <a:lstStyle/>
        <a:p>
          <a:r>
            <a:rPr lang="es-CL" sz="900" dirty="0" smtClean="0"/>
            <a:t>Otros</a:t>
          </a:r>
          <a:endParaRPr lang="en-US" sz="900" dirty="0"/>
        </a:p>
      </dgm:t>
    </dgm:pt>
    <dgm:pt modelId="{F22000D0-9BA8-4DF5-90AE-1EF2D68AC4BE}" type="parTrans" cxnId="{F4DFC43D-64D5-46DC-A5AA-1652C4E04D83}">
      <dgm:prSet/>
      <dgm:spPr/>
      <dgm:t>
        <a:bodyPr/>
        <a:lstStyle/>
        <a:p>
          <a:endParaRPr lang="en-US"/>
        </a:p>
      </dgm:t>
    </dgm:pt>
    <dgm:pt modelId="{C608F2CA-188D-4E69-A419-E5FADA2FB106}" type="sibTrans" cxnId="{F4DFC43D-64D5-46DC-A5AA-1652C4E04D83}">
      <dgm:prSet/>
      <dgm:spPr/>
      <dgm:t>
        <a:bodyPr/>
        <a:lstStyle/>
        <a:p>
          <a:endParaRPr lang="en-US"/>
        </a:p>
      </dgm:t>
    </dgm:pt>
    <dgm:pt modelId="{A67E42AE-C515-4ACE-B6C7-69B388B8FB66}">
      <dgm:prSet phldrT="[Texto]" custT="1"/>
      <dgm:spPr/>
      <dgm:t>
        <a:bodyPr/>
        <a:lstStyle/>
        <a:p>
          <a:r>
            <a:rPr lang="es-CL" sz="800" dirty="0" err="1" smtClean="0"/>
            <a:t>Corfo</a:t>
          </a:r>
          <a:endParaRPr lang="en-US" sz="800" dirty="0"/>
        </a:p>
      </dgm:t>
    </dgm:pt>
    <dgm:pt modelId="{4C140DFB-AB62-469F-993A-42A68E6806DA}" type="parTrans" cxnId="{05556275-FB3C-4928-B328-2B2A56525C83}">
      <dgm:prSet/>
      <dgm:spPr/>
      <dgm:t>
        <a:bodyPr/>
        <a:lstStyle/>
        <a:p>
          <a:endParaRPr lang="en-US"/>
        </a:p>
      </dgm:t>
    </dgm:pt>
    <dgm:pt modelId="{101B0879-9EEF-461B-B326-BEAE35F55DC4}" type="sibTrans" cxnId="{05556275-FB3C-4928-B328-2B2A56525C83}">
      <dgm:prSet/>
      <dgm:spPr/>
      <dgm:t>
        <a:bodyPr/>
        <a:lstStyle/>
        <a:p>
          <a:endParaRPr lang="en-US"/>
        </a:p>
      </dgm:t>
    </dgm:pt>
    <dgm:pt modelId="{4B9AEE0A-C625-464D-A366-3B3ED809D04D}">
      <dgm:prSet phldrT="[Texto]" custT="1"/>
      <dgm:spPr/>
      <dgm:t>
        <a:bodyPr/>
        <a:lstStyle/>
        <a:p>
          <a:r>
            <a:rPr lang="es-CL" sz="900" dirty="0" smtClean="0"/>
            <a:t>NHI</a:t>
          </a:r>
          <a:endParaRPr lang="en-US" sz="900" dirty="0"/>
        </a:p>
      </dgm:t>
    </dgm:pt>
    <dgm:pt modelId="{45DFAD4B-6F61-4CEF-B322-CF2D1672D42D}" type="parTrans" cxnId="{B661BDA5-112E-409A-8FAD-B8D7072D7D11}">
      <dgm:prSet/>
      <dgm:spPr/>
      <dgm:t>
        <a:bodyPr/>
        <a:lstStyle/>
        <a:p>
          <a:endParaRPr lang="en-US"/>
        </a:p>
      </dgm:t>
    </dgm:pt>
    <dgm:pt modelId="{369E114C-13DF-4C7B-AAC7-50A65E1E35AC}" type="sibTrans" cxnId="{B661BDA5-112E-409A-8FAD-B8D7072D7D11}">
      <dgm:prSet/>
      <dgm:spPr/>
      <dgm:t>
        <a:bodyPr/>
        <a:lstStyle/>
        <a:p>
          <a:endParaRPr lang="en-US"/>
        </a:p>
      </dgm:t>
    </dgm:pt>
    <dgm:pt modelId="{31D721CA-D062-429F-9570-E33520B57D6C}" type="pres">
      <dgm:prSet presAssocID="{DF6A78A8-1E7E-4792-ABA0-D4DE9A8D76C2}" presName="cycle" presStyleCnt="0">
        <dgm:presLayoutVars>
          <dgm:chMax val="1"/>
          <dgm:dir/>
          <dgm:animLvl val="ctr"/>
          <dgm:resizeHandles val="exact"/>
        </dgm:presLayoutVars>
      </dgm:prSet>
      <dgm:spPr/>
      <dgm:t>
        <a:bodyPr/>
        <a:lstStyle/>
        <a:p>
          <a:endParaRPr lang="en-US"/>
        </a:p>
      </dgm:t>
    </dgm:pt>
    <dgm:pt modelId="{DEEF71D7-9DAF-401D-A378-B112CF87760E}" type="pres">
      <dgm:prSet presAssocID="{3535D791-5B5A-4929-BF63-03D5CD4984B9}" presName="centerShape" presStyleLbl="node0" presStyleIdx="0" presStyleCnt="1" custScaleX="121092"/>
      <dgm:spPr/>
      <dgm:t>
        <a:bodyPr/>
        <a:lstStyle/>
        <a:p>
          <a:endParaRPr lang="en-US"/>
        </a:p>
      </dgm:t>
    </dgm:pt>
    <dgm:pt modelId="{5F0AEACE-5000-4869-9351-DD499E44C68D}" type="pres">
      <dgm:prSet presAssocID="{3835603E-2D67-4713-B622-1F7F76D71074}" presName="Name9" presStyleLbl="parChTrans1D2" presStyleIdx="0" presStyleCnt="4"/>
      <dgm:spPr/>
      <dgm:t>
        <a:bodyPr/>
        <a:lstStyle/>
        <a:p>
          <a:endParaRPr lang="en-US"/>
        </a:p>
      </dgm:t>
    </dgm:pt>
    <dgm:pt modelId="{B88BE44A-B00A-42C4-ABA4-DA3EEB7EF8F7}" type="pres">
      <dgm:prSet presAssocID="{3835603E-2D67-4713-B622-1F7F76D71074}" presName="connTx" presStyleLbl="parChTrans1D2" presStyleIdx="0" presStyleCnt="4"/>
      <dgm:spPr/>
      <dgm:t>
        <a:bodyPr/>
        <a:lstStyle/>
        <a:p>
          <a:endParaRPr lang="en-US"/>
        </a:p>
      </dgm:t>
    </dgm:pt>
    <dgm:pt modelId="{FAA1468A-06EE-4BDE-A3AF-81AE09CC6CE7}" type="pres">
      <dgm:prSet presAssocID="{048DE356-BDA9-4E1D-906B-8FDF696E7404}" presName="node" presStyleLbl="node1" presStyleIdx="0" presStyleCnt="4">
        <dgm:presLayoutVars>
          <dgm:bulletEnabled val="1"/>
        </dgm:presLayoutVars>
      </dgm:prSet>
      <dgm:spPr/>
      <dgm:t>
        <a:bodyPr/>
        <a:lstStyle/>
        <a:p>
          <a:endParaRPr lang="en-US"/>
        </a:p>
      </dgm:t>
    </dgm:pt>
    <dgm:pt modelId="{02C5B734-BD13-4800-B0A8-BCAA3FBBBBDE}" type="pres">
      <dgm:prSet presAssocID="{4C140DFB-AB62-469F-993A-42A68E6806DA}" presName="Name9" presStyleLbl="parChTrans1D2" presStyleIdx="1" presStyleCnt="4"/>
      <dgm:spPr/>
      <dgm:t>
        <a:bodyPr/>
        <a:lstStyle/>
        <a:p>
          <a:endParaRPr lang="en-US"/>
        </a:p>
      </dgm:t>
    </dgm:pt>
    <dgm:pt modelId="{D78CF185-E928-4C1A-8CCE-665FC9A112E2}" type="pres">
      <dgm:prSet presAssocID="{4C140DFB-AB62-469F-993A-42A68E6806DA}" presName="connTx" presStyleLbl="parChTrans1D2" presStyleIdx="1" presStyleCnt="4"/>
      <dgm:spPr/>
      <dgm:t>
        <a:bodyPr/>
        <a:lstStyle/>
        <a:p>
          <a:endParaRPr lang="en-US"/>
        </a:p>
      </dgm:t>
    </dgm:pt>
    <dgm:pt modelId="{5150DBB5-6170-455B-A8EA-C07A30B67AE5}" type="pres">
      <dgm:prSet presAssocID="{A67E42AE-C515-4ACE-B6C7-69B388B8FB66}" presName="node" presStyleLbl="node1" presStyleIdx="1" presStyleCnt="4" custRadScaleRad="255614" custRadScaleInc="63448">
        <dgm:presLayoutVars>
          <dgm:bulletEnabled val="1"/>
        </dgm:presLayoutVars>
      </dgm:prSet>
      <dgm:spPr/>
      <dgm:t>
        <a:bodyPr/>
        <a:lstStyle/>
        <a:p>
          <a:endParaRPr lang="en-US"/>
        </a:p>
      </dgm:t>
    </dgm:pt>
    <dgm:pt modelId="{116DE364-4C41-4B8E-8BAD-A3C052E16199}" type="pres">
      <dgm:prSet presAssocID="{F22000D0-9BA8-4DF5-90AE-1EF2D68AC4BE}" presName="Name9" presStyleLbl="parChTrans1D2" presStyleIdx="2" presStyleCnt="4"/>
      <dgm:spPr/>
      <dgm:t>
        <a:bodyPr/>
        <a:lstStyle/>
        <a:p>
          <a:endParaRPr lang="en-US"/>
        </a:p>
      </dgm:t>
    </dgm:pt>
    <dgm:pt modelId="{0620703D-8641-494D-8CB3-4C92759A2FFF}" type="pres">
      <dgm:prSet presAssocID="{F22000D0-9BA8-4DF5-90AE-1EF2D68AC4BE}" presName="connTx" presStyleLbl="parChTrans1D2" presStyleIdx="2" presStyleCnt="4"/>
      <dgm:spPr/>
      <dgm:t>
        <a:bodyPr/>
        <a:lstStyle/>
        <a:p>
          <a:endParaRPr lang="en-US"/>
        </a:p>
      </dgm:t>
    </dgm:pt>
    <dgm:pt modelId="{69226388-90F8-4154-BDDA-7CBCF0D5A829}" type="pres">
      <dgm:prSet presAssocID="{BC359A5E-BC06-4538-9D80-C2AF8227E009}" presName="node" presStyleLbl="node1" presStyleIdx="2" presStyleCnt="4">
        <dgm:presLayoutVars>
          <dgm:bulletEnabled val="1"/>
        </dgm:presLayoutVars>
      </dgm:prSet>
      <dgm:spPr/>
      <dgm:t>
        <a:bodyPr/>
        <a:lstStyle/>
        <a:p>
          <a:endParaRPr lang="en-US"/>
        </a:p>
      </dgm:t>
    </dgm:pt>
    <dgm:pt modelId="{26C58797-B4C5-43A0-ADAB-8E5416791BE3}" type="pres">
      <dgm:prSet presAssocID="{45DFAD4B-6F61-4CEF-B322-CF2D1672D42D}" presName="Name9" presStyleLbl="parChTrans1D2" presStyleIdx="3" presStyleCnt="4"/>
      <dgm:spPr/>
      <dgm:t>
        <a:bodyPr/>
        <a:lstStyle/>
        <a:p>
          <a:endParaRPr lang="en-US"/>
        </a:p>
      </dgm:t>
    </dgm:pt>
    <dgm:pt modelId="{61D8F36E-BA33-402B-9501-B7FAAB3E98B6}" type="pres">
      <dgm:prSet presAssocID="{45DFAD4B-6F61-4CEF-B322-CF2D1672D42D}" presName="connTx" presStyleLbl="parChTrans1D2" presStyleIdx="3" presStyleCnt="4"/>
      <dgm:spPr/>
      <dgm:t>
        <a:bodyPr/>
        <a:lstStyle/>
        <a:p>
          <a:endParaRPr lang="en-US"/>
        </a:p>
      </dgm:t>
    </dgm:pt>
    <dgm:pt modelId="{908E53F6-F533-4194-BBB6-732938CC6E13}" type="pres">
      <dgm:prSet presAssocID="{4B9AEE0A-C625-464D-A366-3B3ED809D04D}" presName="node" presStyleLbl="node1" presStyleIdx="3" presStyleCnt="4">
        <dgm:presLayoutVars>
          <dgm:bulletEnabled val="1"/>
        </dgm:presLayoutVars>
      </dgm:prSet>
      <dgm:spPr/>
      <dgm:t>
        <a:bodyPr/>
        <a:lstStyle/>
        <a:p>
          <a:endParaRPr lang="en-US"/>
        </a:p>
      </dgm:t>
    </dgm:pt>
  </dgm:ptLst>
  <dgm:cxnLst>
    <dgm:cxn modelId="{63E4BF5B-9938-4C87-90C5-F96C76134132}" srcId="{DF6A78A8-1E7E-4792-ABA0-D4DE9A8D76C2}" destId="{3535D791-5B5A-4929-BF63-03D5CD4984B9}" srcOrd="0" destOrd="0" parTransId="{2D721F72-0705-4FFE-BC42-2ADEB0780318}" sibTransId="{F33C670D-FEC5-4EFE-973C-FDE8AAD0DA06}"/>
    <dgm:cxn modelId="{EBAB901B-D566-4CE2-8117-4DB80112DEF1}" type="presOf" srcId="{F22000D0-9BA8-4DF5-90AE-1EF2D68AC4BE}" destId="{0620703D-8641-494D-8CB3-4C92759A2FFF}" srcOrd="1" destOrd="0" presId="urn:microsoft.com/office/officeart/2005/8/layout/radial1"/>
    <dgm:cxn modelId="{05556275-FB3C-4928-B328-2B2A56525C83}" srcId="{3535D791-5B5A-4929-BF63-03D5CD4984B9}" destId="{A67E42AE-C515-4ACE-B6C7-69B388B8FB66}" srcOrd="1" destOrd="0" parTransId="{4C140DFB-AB62-469F-993A-42A68E6806DA}" sibTransId="{101B0879-9EEF-461B-B326-BEAE35F55DC4}"/>
    <dgm:cxn modelId="{9EB06378-122A-43DF-B56D-6C7B10F90BC7}" type="presOf" srcId="{3835603E-2D67-4713-B622-1F7F76D71074}" destId="{5F0AEACE-5000-4869-9351-DD499E44C68D}" srcOrd="0" destOrd="0" presId="urn:microsoft.com/office/officeart/2005/8/layout/radial1"/>
    <dgm:cxn modelId="{D985CDA0-63BF-4FCA-A6FA-A7189388733F}" type="presOf" srcId="{4C140DFB-AB62-469F-993A-42A68E6806DA}" destId="{D78CF185-E928-4C1A-8CCE-665FC9A112E2}" srcOrd="1" destOrd="0" presId="urn:microsoft.com/office/officeart/2005/8/layout/radial1"/>
    <dgm:cxn modelId="{B661BDA5-112E-409A-8FAD-B8D7072D7D11}" srcId="{3535D791-5B5A-4929-BF63-03D5CD4984B9}" destId="{4B9AEE0A-C625-464D-A366-3B3ED809D04D}" srcOrd="3" destOrd="0" parTransId="{45DFAD4B-6F61-4CEF-B322-CF2D1672D42D}" sibTransId="{369E114C-13DF-4C7B-AAC7-50A65E1E35AC}"/>
    <dgm:cxn modelId="{C52CBDEF-EE66-4990-A683-78D3312D9023}" srcId="{3535D791-5B5A-4929-BF63-03D5CD4984B9}" destId="{048DE356-BDA9-4E1D-906B-8FDF696E7404}" srcOrd="0" destOrd="0" parTransId="{3835603E-2D67-4713-B622-1F7F76D71074}" sibTransId="{D6D324B1-06FD-465D-9E7D-E75891F0FAD7}"/>
    <dgm:cxn modelId="{7B3A4830-8B0C-4055-80CF-11A44E6DD7C8}" type="presOf" srcId="{A67E42AE-C515-4ACE-B6C7-69B388B8FB66}" destId="{5150DBB5-6170-455B-A8EA-C07A30B67AE5}" srcOrd="0" destOrd="0" presId="urn:microsoft.com/office/officeart/2005/8/layout/radial1"/>
    <dgm:cxn modelId="{DE1A0E51-3E51-4B23-A91E-2F2E89B4D383}" type="presOf" srcId="{DF6A78A8-1E7E-4792-ABA0-D4DE9A8D76C2}" destId="{31D721CA-D062-429F-9570-E33520B57D6C}" srcOrd="0" destOrd="0" presId="urn:microsoft.com/office/officeart/2005/8/layout/radial1"/>
    <dgm:cxn modelId="{65A80701-D900-4223-8DCD-D2FA0AB8825F}" type="presOf" srcId="{45DFAD4B-6F61-4CEF-B322-CF2D1672D42D}" destId="{26C58797-B4C5-43A0-ADAB-8E5416791BE3}" srcOrd="0" destOrd="0" presId="urn:microsoft.com/office/officeart/2005/8/layout/radial1"/>
    <dgm:cxn modelId="{877F3897-49E7-4AD6-BB6F-0D912551DF69}" type="presOf" srcId="{048DE356-BDA9-4E1D-906B-8FDF696E7404}" destId="{FAA1468A-06EE-4BDE-A3AF-81AE09CC6CE7}" srcOrd="0" destOrd="0" presId="urn:microsoft.com/office/officeart/2005/8/layout/radial1"/>
    <dgm:cxn modelId="{DED4D9B9-2E34-4CE0-823F-6ACF3DD81B99}" type="presOf" srcId="{4C140DFB-AB62-469F-993A-42A68E6806DA}" destId="{02C5B734-BD13-4800-B0A8-BCAA3FBBBBDE}" srcOrd="0" destOrd="0" presId="urn:microsoft.com/office/officeart/2005/8/layout/radial1"/>
    <dgm:cxn modelId="{F4DFC43D-64D5-46DC-A5AA-1652C4E04D83}" srcId="{3535D791-5B5A-4929-BF63-03D5CD4984B9}" destId="{BC359A5E-BC06-4538-9D80-C2AF8227E009}" srcOrd="2" destOrd="0" parTransId="{F22000D0-9BA8-4DF5-90AE-1EF2D68AC4BE}" sibTransId="{C608F2CA-188D-4E69-A419-E5FADA2FB106}"/>
    <dgm:cxn modelId="{C4B3D3E7-9ABD-4818-844B-7C2DFC05B291}" type="presOf" srcId="{F22000D0-9BA8-4DF5-90AE-1EF2D68AC4BE}" destId="{116DE364-4C41-4B8E-8BAD-A3C052E16199}" srcOrd="0" destOrd="0" presId="urn:microsoft.com/office/officeart/2005/8/layout/radial1"/>
    <dgm:cxn modelId="{AB931527-292F-4EBD-A1CC-F352545FC0B6}" type="presOf" srcId="{3835603E-2D67-4713-B622-1F7F76D71074}" destId="{B88BE44A-B00A-42C4-ABA4-DA3EEB7EF8F7}" srcOrd="1" destOrd="0" presId="urn:microsoft.com/office/officeart/2005/8/layout/radial1"/>
    <dgm:cxn modelId="{693AF793-EE35-4DDC-8C16-BBF18E5E032F}" type="presOf" srcId="{45DFAD4B-6F61-4CEF-B322-CF2D1672D42D}" destId="{61D8F36E-BA33-402B-9501-B7FAAB3E98B6}" srcOrd="1" destOrd="0" presId="urn:microsoft.com/office/officeart/2005/8/layout/radial1"/>
    <dgm:cxn modelId="{430A11DD-2A30-41DE-87E0-103C3258BE16}" type="presOf" srcId="{BC359A5E-BC06-4538-9D80-C2AF8227E009}" destId="{69226388-90F8-4154-BDDA-7CBCF0D5A829}" srcOrd="0" destOrd="0" presId="urn:microsoft.com/office/officeart/2005/8/layout/radial1"/>
    <dgm:cxn modelId="{08D87E2F-4F7F-4B18-92E5-EE5E96CAB450}" type="presOf" srcId="{3535D791-5B5A-4929-BF63-03D5CD4984B9}" destId="{DEEF71D7-9DAF-401D-A378-B112CF87760E}" srcOrd="0" destOrd="0" presId="urn:microsoft.com/office/officeart/2005/8/layout/radial1"/>
    <dgm:cxn modelId="{AE15B4C7-ABFB-4A06-9195-A47FD7B58BD1}" type="presOf" srcId="{4B9AEE0A-C625-464D-A366-3B3ED809D04D}" destId="{908E53F6-F533-4194-BBB6-732938CC6E13}" srcOrd="0" destOrd="0" presId="urn:microsoft.com/office/officeart/2005/8/layout/radial1"/>
    <dgm:cxn modelId="{4F1CB959-081C-4794-914F-62186CEAF496}" type="presParOf" srcId="{31D721CA-D062-429F-9570-E33520B57D6C}" destId="{DEEF71D7-9DAF-401D-A378-B112CF87760E}" srcOrd="0" destOrd="0" presId="urn:microsoft.com/office/officeart/2005/8/layout/radial1"/>
    <dgm:cxn modelId="{352599F8-63AB-49CB-8C7F-C84EE3428106}" type="presParOf" srcId="{31D721CA-D062-429F-9570-E33520B57D6C}" destId="{5F0AEACE-5000-4869-9351-DD499E44C68D}" srcOrd="1" destOrd="0" presId="urn:microsoft.com/office/officeart/2005/8/layout/radial1"/>
    <dgm:cxn modelId="{DDE446B3-C742-4C6A-9031-0089161475D6}" type="presParOf" srcId="{5F0AEACE-5000-4869-9351-DD499E44C68D}" destId="{B88BE44A-B00A-42C4-ABA4-DA3EEB7EF8F7}" srcOrd="0" destOrd="0" presId="urn:microsoft.com/office/officeart/2005/8/layout/radial1"/>
    <dgm:cxn modelId="{F6126C5C-C549-494B-B9CE-5B9F62C0AB3B}" type="presParOf" srcId="{31D721CA-D062-429F-9570-E33520B57D6C}" destId="{FAA1468A-06EE-4BDE-A3AF-81AE09CC6CE7}" srcOrd="2" destOrd="0" presId="urn:microsoft.com/office/officeart/2005/8/layout/radial1"/>
    <dgm:cxn modelId="{749518C1-E9C1-482A-A58B-F51420D18410}" type="presParOf" srcId="{31D721CA-D062-429F-9570-E33520B57D6C}" destId="{02C5B734-BD13-4800-B0A8-BCAA3FBBBBDE}" srcOrd="3" destOrd="0" presId="urn:microsoft.com/office/officeart/2005/8/layout/radial1"/>
    <dgm:cxn modelId="{03E04CCA-8347-4399-8042-21A671A293A2}" type="presParOf" srcId="{02C5B734-BD13-4800-B0A8-BCAA3FBBBBDE}" destId="{D78CF185-E928-4C1A-8CCE-665FC9A112E2}" srcOrd="0" destOrd="0" presId="urn:microsoft.com/office/officeart/2005/8/layout/radial1"/>
    <dgm:cxn modelId="{55096FF0-01C3-4539-8D20-CD77A7B40D37}" type="presParOf" srcId="{31D721CA-D062-429F-9570-E33520B57D6C}" destId="{5150DBB5-6170-455B-A8EA-C07A30B67AE5}" srcOrd="4" destOrd="0" presId="urn:microsoft.com/office/officeart/2005/8/layout/radial1"/>
    <dgm:cxn modelId="{1F1D73A9-5A0E-4238-8E83-96A43DF1EB78}" type="presParOf" srcId="{31D721CA-D062-429F-9570-E33520B57D6C}" destId="{116DE364-4C41-4B8E-8BAD-A3C052E16199}" srcOrd="5" destOrd="0" presId="urn:microsoft.com/office/officeart/2005/8/layout/radial1"/>
    <dgm:cxn modelId="{263C783F-FEFF-4D09-9386-8A90D69D33CF}" type="presParOf" srcId="{116DE364-4C41-4B8E-8BAD-A3C052E16199}" destId="{0620703D-8641-494D-8CB3-4C92759A2FFF}" srcOrd="0" destOrd="0" presId="urn:microsoft.com/office/officeart/2005/8/layout/radial1"/>
    <dgm:cxn modelId="{E3CECE02-E9CA-42C3-A34E-ED7272C9252C}" type="presParOf" srcId="{31D721CA-D062-429F-9570-E33520B57D6C}" destId="{69226388-90F8-4154-BDDA-7CBCF0D5A829}" srcOrd="6" destOrd="0" presId="urn:microsoft.com/office/officeart/2005/8/layout/radial1"/>
    <dgm:cxn modelId="{538FE68A-5428-418C-B9EC-E0ED79B7B533}" type="presParOf" srcId="{31D721CA-D062-429F-9570-E33520B57D6C}" destId="{26C58797-B4C5-43A0-ADAB-8E5416791BE3}" srcOrd="7" destOrd="0" presId="urn:microsoft.com/office/officeart/2005/8/layout/radial1"/>
    <dgm:cxn modelId="{0178CF08-8ECC-4BA8-B919-1B820001A897}" type="presParOf" srcId="{26C58797-B4C5-43A0-ADAB-8E5416791BE3}" destId="{61D8F36E-BA33-402B-9501-B7FAAB3E98B6}" srcOrd="0" destOrd="0" presId="urn:microsoft.com/office/officeart/2005/8/layout/radial1"/>
    <dgm:cxn modelId="{08180066-CAD3-411E-8410-471065185EE8}" type="presParOf" srcId="{31D721CA-D062-429F-9570-E33520B57D6C}" destId="{908E53F6-F533-4194-BBB6-732938CC6E13}" srcOrd="8" destOrd="0" presId="urn:microsoft.com/office/officeart/2005/8/layout/radial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DA8A1F8-568F-4097-A771-026ED1D0EC1A}" type="doc">
      <dgm:prSet loTypeId="urn:microsoft.com/office/officeart/2005/8/layout/radial1" loCatId="relationship" qsTypeId="urn:microsoft.com/office/officeart/2005/8/quickstyle/simple1" qsCatId="simple" csTypeId="urn:microsoft.com/office/officeart/2005/8/colors/accent0_1" csCatId="mainScheme" phldr="1"/>
      <dgm:spPr/>
      <dgm:t>
        <a:bodyPr/>
        <a:lstStyle/>
        <a:p>
          <a:endParaRPr lang="en-US"/>
        </a:p>
      </dgm:t>
    </dgm:pt>
    <dgm:pt modelId="{AE574A78-8526-4FA9-B7D4-FD5089ED4B84}">
      <dgm:prSet phldrT="[Texto]" custT="1"/>
      <dgm:spPr/>
      <dgm:t>
        <a:bodyPr/>
        <a:lstStyle/>
        <a:p>
          <a:r>
            <a:rPr lang="en-US" sz="900" noProof="0" dirty="0" smtClean="0"/>
            <a:t>Technology Providers</a:t>
          </a:r>
          <a:endParaRPr lang="en-US" sz="900" noProof="0" dirty="0"/>
        </a:p>
      </dgm:t>
    </dgm:pt>
    <dgm:pt modelId="{E5850D20-65FD-4D47-932B-914F778FE863}" type="parTrans" cxnId="{C07F86A8-6661-4662-AF88-5F33C9D8FC29}">
      <dgm:prSet/>
      <dgm:spPr/>
      <dgm:t>
        <a:bodyPr/>
        <a:lstStyle/>
        <a:p>
          <a:endParaRPr lang="en-US" noProof="0" dirty="0"/>
        </a:p>
      </dgm:t>
    </dgm:pt>
    <dgm:pt modelId="{C076E03F-3A83-4264-91B5-E466BEFA7775}" type="sibTrans" cxnId="{C07F86A8-6661-4662-AF88-5F33C9D8FC29}">
      <dgm:prSet/>
      <dgm:spPr/>
      <dgm:t>
        <a:bodyPr/>
        <a:lstStyle/>
        <a:p>
          <a:endParaRPr lang="en-US" noProof="0" dirty="0"/>
        </a:p>
      </dgm:t>
    </dgm:pt>
    <dgm:pt modelId="{A7107162-4502-461A-A635-77C08BCFCCBD}">
      <dgm:prSet phldrT="[Texto]" custT="1"/>
      <dgm:spPr/>
      <dgm:t>
        <a:bodyPr/>
        <a:lstStyle/>
        <a:p>
          <a:r>
            <a:rPr lang="en-US" sz="900" noProof="0" dirty="0" smtClean="0"/>
            <a:t>Siemens</a:t>
          </a:r>
          <a:endParaRPr lang="en-US" sz="900" noProof="0" dirty="0"/>
        </a:p>
      </dgm:t>
    </dgm:pt>
    <dgm:pt modelId="{AD687AEF-7B03-4991-BB54-09F70A4B7085}" type="parTrans" cxnId="{BA4CAC86-3887-4242-8413-9CF42C42EFC7}">
      <dgm:prSet/>
      <dgm:spPr/>
      <dgm:t>
        <a:bodyPr/>
        <a:lstStyle/>
        <a:p>
          <a:endParaRPr lang="en-US" noProof="0" dirty="0"/>
        </a:p>
      </dgm:t>
    </dgm:pt>
    <dgm:pt modelId="{C5A689AF-998E-4D10-906A-EB72D26398F2}" type="sibTrans" cxnId="{BA4CAC86-3887-4242-8413-9CF42C42EFC7}">
      <dgm:prSet/>
      <dgm:spPr/>
      <dgm:t>
        <a:bodyPr/>
        <a:lstStyle/>
        <a:p>
          <a:endParaRPr lang="en-US" noProof="0" dirty="0"/>
        </a:p>
      </dgm:t>
    </dgm:pt>
    <dgm:pt modelId="{7AD58CAE-C3F2-48C1-BD8C-CD1E4D8D0F77}">
      <dgm:prSet phldrT="[Texto]" custT="1"/>
      <dgm:spPr/>
      <dgm:t>
        <a:bodyPr/>
        <a:lstStyle/>
        <a:p>
          <a:r>
            <a:rPr lang="es-CL" sz="900" noProof="0" dirty="0" err="1" smtClean="0"/>
            <a:t>Thermo</a:t>
          </a:r>
          <a:r>
            <a:rPr lang="es-CL" sz="900" noProof="0" dirty="0" smtClean="0"/>
            <a:t> Fisher</a:t>
          </a:r>
          <a:endParaRPr lang="en-US" sz="900" noProof="0" dirty="0"/>
        </a:p>
      </dgm:t>
    </dgm:pt>
    <dgm:pt modelId="{6391C416-4725-40ED-8265-423A664BCAC8}" type="parTrans" cxnId="{65EDC9DF-BD70-4E94-A1B2-F5FA46014C07}">
      <dgm:prSet/>
      <dgm:spPr/>
      <dgm:t>
        <a:bodyPr/>
        <a:lstStyle/>
        <a:p>
          <a:endParaRPr lang="en-US" noProof="0" dirty="0"/>
        </a:p>
      </dgm:t>
    </dgm:pt>
    <dgm:pt modelId="{7C30DA76-38F5-4A3B-9DD7-564B0F5E104A}" type="sibTrans" cxnId="{65EDC9DF-BD70-4E94-A1B2-F5FA46014C07}">
      <dgm:prSet/>
      <dgm:spPr/>
      <dgm:t>
        <a:bodyPr/>
        <a:lstStyle/>
        <a:p>
          <a:endParaRPr lang="en-US" noProof="0" dirty="0"/>
        </a:p>
      </dgm:t>
    </dgm:pt>
    <dgm:pt modelId="{D77EFAC6-413E-4F5E-BCE1-6DEF64A413AF}">
      <dgm:prSet phldrT="[Texto]" custT="1"/>
      <dgm:spPr/>
      <dgm:t>
        <a:bodyPr/>
        <a:lstStyle/>
        <a:p>
          <a:r>
            <a:rPr lang="es-CL" sz="900" noProof="0" dirty="0" smtClean="0"/>
            <a:t>IBM</a:t>
          </a:r>
          <a:endParaRPr lang="en-US" sz="900" noProof="0" dirty="0"/>
        </a:p>
      </dgm:t>
    </dgm:pt>
    <dgm:pt modelId="{F1560118-3DE3-4D49-BD3E-5E48AB0C0FF6}" type="parTrans" cxnId="{90A8D17F-8E27-4E6B-B791-ED86AA3AAE28}">
      <dgm:prSet/>
      <dgm:spPr/>
      <dgm:t>
        <a:bodyPr/>
        <a:lstStyle/>
        <a:p>
          <a:endParaRPr lang="en-US"/>
        </a:p>
      </dgm:t>
    </dgm:pt>
    <dgm:pt modelId="{3B9003A0-F0B2-453E-8374-2F35764E9839}" type="sibTrans" cxnId="{90A8D17F-8E27-4E6B-B791-ED86AA3AAE28}">
      <dgm:prSet/>
      <dgm:spPr/>
      <dgm:t>
        <a:bodyPr/>
        <a:lstStyle/>
        <a:p>
          <a:endParaRPr lang="en-US"/>
        </a:p>
      </dgm:t>
    </dgm:pt>
    <dgm:pt modelId="{CFA101BF-B37F-40CB-932A-5BFFD3A7E8A1}" type="pres">
      <dgm:prSet presAssocID="{7DA8A1F8-568F-4097-A771-026ED1D0EC1A}" presName="cycle" presStyleCnt="0">
        <dgm:presLayoutVars>
          <dgm:chMax val="1"/>
          <dgm:dir/>
          <dgm:animLvl val="ctr"/>
          <dgm:resizeHandles val="exact"/>
        </dgm:presLayoutVars>
      </dgm:prSet>
      <dgm:spPr/>
      <dgm:t>
        <a:bodyPr/>
        <a:lstStyle/>
        <a:p>
          <a:endParaRPr lang="en-US"/>
        </a:p>
      </dgm:t>
    </dgm:pt>
    <dgm:pt modelId="{7498E032-5D99-4915-8628-51A826962C7E}" type="pres">
      <dgm:prSet presAssocID="{AE574A78-8526-4FA9-B7D4-FD5089ED4B84}" presName="centerShape" presStyleLbl="node0" presStyleIdx="0" presStyleCnt="1" custScaleX="131048" custScaleY="86365" custLinFactNeighborX="-579" custLinFactNeighborY="20132"/>
      <dgm:spPr/>
      <dgm:t>
        <a:bodyPr/>
        <a:lstStyle/>
        <a:p>
          <a:endParaRPr lang="en-US"/>
        </a:p>
      </dgm:t>
    </dgm:pt>
    <dgm:pt modelId="{94BA089E-0C2B-4211-8161-C2DB996CB3DF}" type="pres">
      <dgm:prSet presAssocID="{AD687AEF-7B03-4991-BB54-09F70A4B7085}" presName="Name9" presStyleLbl="parChTrans1D2" presStyleIdx="0" presStyleCnt="3"/>
      <dgm:spPr/>
      <dgm:t>
        <a:bodyPr/>
        <a:lstStyle/>
        <a:p>
          <a:endParaRPr lang="en-US"/>
        </a:p>
      </dgm:t>
    </dgm:pt>
    <dgm:pt modelId="{CA4B2FC3-D242-4EF1-BD98-4BE32C9632F4}" type="pres">
      <dgm:prSet presAssocID="{AD687AEF-7B03-4991-BB54-09F70A4B7085}" presName="connTx" presStyleLbl="parChTrans1D2" presStyleIdx="0" presStyleCnt="3"/>
      <dgm:spPr/>
      <dgm:t>
        <a:bodyPr/>
        <a:lstStyle/>
        <a:p>
          <a:endParaRPr lang="en-US"/>
        </a:p>
      </dgm:t>
    </dgm:pt>
    <dgm:pt modelId="{5A8F6676-6D96-40DD-91D8-45B4B4467434}" type="pres">
      <dgm:prSet presAssocID="{A7107162-4502-461A-A635-77C08BCFCCBD}" presName="node" presStyleLbl="node1" presStyleIdx="0" presStyleCnt="3">
        <dgm:presLayoutVars>
          <dgm:bulletEnabled val="1"/>
        </dgm:presLayoutVars>
      </dgm:prSet>
      <dgm:spPr/>
      <dgm:t>
        <a:bodyPr/>
        <a:lstStyle/>
        <a:p>
          <a:endParaRPr lang="en-US"/>
        </a:p>
      </dgm:t>
    </dgm:pt>
    <dgm:pt modelId="{D2A8924D-1C3C-4DE6-803B-F990301B7591}" type="pres">
      <dgm:prSet presAssocID="{F1560118-3DE3-4D49-BD3E-5E48AB0C0FF6}" presName="Name9" presStyleLbl="parChTrans1D2" presStyleIdx="1" presStyleCnt="3"/>
      <dgm:spPr/>
      <dgm:t>
        <a:bodyPr/>
        <a:lstStyle/>
        <a:p>
          <a:endParaRPr lang="en-US"/>
        </a:p>
      </dgm:t>
    </dgm:pt>
    <dgm:pt modelId="{A25DB892-C3E4-4E2E-BC13-AC70327FB49C}" type="pres">
      <dgm:prSet presAssocID="{F1560118-3DE3-4D49-BD3E-5E48AB0C0FF6}" presName="connTx" presStyleLbl="parChTrans1D2" presStyleIdx="1" presStyleCnt="3"/>
      <dgm:spPr/>
      <dgm:t>
        <a:bodyPr/>
        <a:lstStyle/>
        <a:p>
          <a:endParaRPr lang="en-US"/>
        </a:p>
      </dgm:t>
    </dgm:pt>
    <dgm:pt modelId="{9917740E-D66F-43E9-BD20-BC4D95564672}" type="pres">
      <dgm:prSet presAssocID="{D77EFAC6-413E-4F5E-BCE1-6DEF64A413AF}" presName="node" presStyleLbl="node1" presStyleIdx="1" presStyleCnt="3" custRadScaleRad="82634" custRadScaleInc="-97684">
        <dgm:presLayoutVars>
          <dgm:bulletEnabled val="1"/>
        </dgm:presLayoutVars>
      </dgm:prSet>
      <dgm:spPr/>
      <dgm:t>
        <a:bodyPr/>
        <a:lstStyle/>
        <a:p>
          <a:endParaRPr lang="en-US"/>
        </a:p>
      </dgm:t>
    </dgm:pt>
    <dgm:pt modelId="{87EF8D8C-9B98-463F-938E-01CA7E729B5C}" type="pres">
      <dgm:prSet presAssocID="{6391C416-4725-40ED-8265-423A664BCAC8}" presName="Name9" presStyleLbl="parChTrans1D2" presStyleIdx="2" presStyleCnt="3"/>
      <dgm:spPr/>
      <dgm:t>
        <a:bodyPr/>
        <a:lstStyle/>
        <a:p>
          <a:endParaRPr lang="en-US"/>
        </a:p>
      </dgm:t>
    </dgm:pt>
    <dgm:pt modelId="{0F816F08-94A5-4D54-98DC-3AD58A5850C7}" type="pres">
      <dgm:prSet presAssocID="{6391C416-4725-40ED-8265-423A664BCAC8}" presName="connTx" presStyleLbl="parChTrans1D2" presStyleIdx="2" presStyleCnt="3"/>
      <dgm:spPr/>
      <dgm:t>
        <a:bodyPr/>
        <a:lstStyle/>
        <a:p>
          <a:endParaRPr lang="en-US"/>
        </a:p>
      </dgm:t>
    </dgm:pt>
    <dgm:pt modelId="{B193BD2C-1A13-4345-B7E9-AA5E225432B4}" type="pres">
      <dgm:prSet presAssocID="{7AD58CAE-C3F2-48C1-BD8C-CD1E4D8D0F77}" presName="node" presStyleLbl="node1" presStyleIdx="2" presStyleCnt="3" custRadScaleRad="85194" custRadScaleInc="86764">
        <dgm:presLayoutVars>
          <dgm:bulletEnabled val="1"/>
        </dgm:presLayoutVars>
      </dgm:prSet>
      <dgm:spPr/>
      <dgm:t>
        <a:bodyPr/>
        <a:lstStyle/>
        <a:p>
          <a:endParaRPr lang="en-US"/>
        </a:p>
      </dgm:t>
    </dgm:pt>
  </dgm:ptLst>
  <dgm:cxnLst>
    <dgm:cxn modelId="{141E259E-0B05-4514-9D5F-E612C7087B5D}" type="presOf" srcId="{7DA8A1F8-568F-4097-A771-026ED1D0EC1A}" destId="{CFA101BF-B37F-40CB-932A-5BFFD3A7E8A1}" srcOrd="0" destOrd="0" presId="urn:microsoft.com/office/officeart/2005/8/layout/radial1"/>
    <dgm:cxn modelId="{AC9BD974-270D-462E-8AA1-68C16F4AD959}" type="presOf" srcId="{F1560118-3DE3-4D49-BD3E-5E48AB0C0FF6}" destId="{D2A8924D-1C3C-4DE6-803B-F990301B7591}" srcOrd="0" destOrd="0" presId="urn:microsoft.com/office/officeart/2005/8/layout/radial1"/>
    <dgm:cxn modelId="{09CFCCAB-BF30-4398-96AA-8A498B04B7C3}" type="presOf" srcId="{AD687AEF-7B03-4991-BB54-09F70A4B7085}" destId="{94BA089E-0C2B-4211-8161-C2DB996CB3DF}" srcOrd="0" destOrd="0" presId="urn:microsoft.com/office/officeart/2005/8/layout/radial1"/>
    <dgm:cxn modelId="{90A8D17F-8E27-4E6B-B791-ED86AA3AAE28}" srcId="{AE574A78-8526-4FA9-B7D4-FD5089ED4B84}" destId="{D77EFAC6-413E-4F5E-BCE1-6DEF64A413AF}" srcOrd="1" destOrd="0" parTransId="{F1560118-3DE3-4D49-BD3E-5E48AB0C0FF6}" sibTransId="{3B9003A0-F0B2-453E-8374-2F35764E9839}"/>
    <dgm:cxn modelId="{65EDC9DF-BD70-4E94-A1B2-F5FA46014C07}" srcId="{AE574A78-8526-4FA9-B7D4-FD5089ED4B84}" destId="{7AD58CAE-C3F2-48C1-BD8C-CD1E4D8D0F77}" srcOrd="2" destOrd="0" parTransId="{6391C416-4725-40ED-8265-423A664BCAC8}" sibTransId="{7C30DA76-38F5-4A3B-9DD7-564B0F5E104A}"/>
    <dgm:cxn modelId="{7459E85E-1867-4063-8BFC-42481F017514}" type="presOf" srcId="{AE574A78-8526-4FA9-B7D4-FD5089ED4B84}" destId="{7498E032-5D99-4915-8628-51A826962C7E}" srcOrd="0" destOrd="0" presId="urn:microsoft.com/office/officeart/2005/8/layout/radial1"/>
    <dgm:cxn modelId="{BA4CAC86-3887-4242-8413-9CF42C42EFC7}" srcId="{AE574A78-8526-4FA9-B7D4-FD5089ED4B84}" destId="{A7107162-4502-461A-A635-77C08BCFCCBD}" srcOrd="0" destOrd="0" parTransId="{AD687AEF-7B03-4991-BB54-09F70A4B7085}" sibTransId="{C5A689AF-998E-4D10-906A-EB72D26398F2}"/>
    <dgm:cxn modelId="{8DF435F1-FFF0-4891-A38D-FB6FC5FCBD1C}" type="presOf" srcId="{7AD58CAE-C3F2-48C1-BD8C-CD1E4D8D0F77}" destId="{B193BD2C-1A13-4345-B7E9-AA5E225432B4}" srcOrd="0" destOrd="0" presId="urn:microsoft.com/office/officeart/2005/8/layout/radial1"/>
    <dgm:cxn modelId="{B8701C4B-FE6B-47A1-8BEF-BBF56B3A8B25}" type="presOf" srcId="{D77EFAC6-413E-4F5E-BCE1-6DEF64A413AF}" destId="{9917740E-D66F-43E9-BD20-BC4D95564672}" srcOrd="0" destOrd="0" presId="urn:microsoft.com/office/officeart/2005/8/layout/radial1"/>
    <dgm:cxn modelId="{B8B05264-4ADB-4EDB-A9F4-196466864C9D}" type="presOf" srcId="{6391C416-4725-40ED-8265-423A664BCAC8}" destId="{87EF8D8C-9B98-463F-938E-01CA7E729B5C}" srcOrd="0" destOrd="0" presId="urn:microsoft.com/office/officeart/2005/8/layout/radial1"/>
    <dgm:cxn modelId="{344447E7-E8A9-45D8-B8F4-754841C43BF6}" type="presOf" srcId="{F1560118-3DE3-4D49-BD3E-5E48AB0C0FF6}" destId="{A25DB892-C3E4-4E2E-BC13-AC70327FB49C}" srcOrd="1" destOrd="0" presId="urn:microsoft.com/office/officeart/2005/8/layout/radial1"/>
    <dgm:cxn modelId="{C07F86A8-6661-4662-AF88-5F33C9D8FC29}" srcId="{7DA8A1F8-568F-4097-A771-026ED1D0EC1A}" destId="{AE574A78-8526-4FA9-B7D4-FD5089ED4B84}" srcOrd="0" destOrd="0" parTransId="{E5850D20-65FD-4D47-932B-914F778FE863}" sibTransId="{C076E03F-3A83-4264-91B5-E466BEFA7775}"/>
    <dgm:cxn modelId="{58E0DEF4-B562-42BA-A848-78A30C0DA131}" type="presOf" srcId="{A7107162-4502-461A-A635-77C08BCFCCBD}" destId="{5A8F6676-6D96-40DD-91D8-45B4B4467434}" srcOrd="0" destOrd="0" presId="urn:microsoft.com/office/officeart/2005/8/layout/radial1"/>
    <dgm:cxn modelId="{D184B2CF-705B-49BF-BED3-0858A3DD15F4}" type="presOf" srcId="{AD687AEF-7B03-4991-BB54-09F70A4B7085}" destId="{CA4B2FC3-D242-4EF1-BD98-4BE32C9632F4}" srcOrd="1" destOrd="0" presId="urn:microsoft.com/office/officeart/2005/8/layout/radial1"/>
    <dgm:cxn modelId="{9FC4A47E-A1FB-4926-8EC9-9475C7019807}" type="presOf" srcId="{6391C416-4725-40ED-8265-423A664BCAC8}" destId="{0F816F08-94A5-4D54-98DC-3AD58A5850C7}" srcOrd="1" destOrd="0" presId="urn:microsoft.com/office/officeart/2005/8/layout/radial1"/>
    <dgm:cxn modelId="{620F6C4E-DD6D-4A81-9A44-932C0D3BE3A8}" type="presParOf" srcId="{CFA101BF-B37F-40CB-932A-5BFFD3A7E8A1}" destId="{7498E032-5D99-4915-8628-51A826962C7E}" srcOrd="0" destOrd="0" presId="urn:microsoft.com/office/officeart/2005/8/layout/radial1"/>
    <dgm:cxn modelId="{D09E6822-49E0-48A5-8C43-A553A5C42422}" type="presParOf" srcId="{CFA101BF-B37F-40CB-932A-5BFFD3A7E8A1}" destId="{94BA089E-0C2B-4211-8161-C2DB996CB3DF}" srcOrd="1" destOrd="0" presId="urn:microsoft.com/office/officeart/2005/8/layout/radial1"/>
    <dgm:cxn modelId="{8D0113F9-0434-4C36-94E7-A6C31A6D71AD}" type="presParOf" srcId="{94BA089E-0C2B-4211-8161-C2DB996CB3DF}" destId="{CA4B2FC3-D242-4EF1-BD98-4BE32C9632F4}" srcOrd="0" destOrd="0" presId="urn:microsoft.com/office/officeart/2005/8/layout/radial1"/>
    <dgm:cxn modelId="{8A9123BC-C334-4519-A9C6-2FB5ED03C979}" type="presParOf" srcId="{CFA101BF-B37F-40CB-932A-5BFFD3A7E8A1}" destId="{5A8F6676-6D96-40DD-91D8-45B4B4467434}" srcOrd="2" destOrd="0" presId="urn:microsoft.com/office/officeart/2005/8/layout/radial1"/>
    <dgm:cxn modelId="{AA1FB91A-4D44-4615-9169-682B7C5B5DA1}" type="presParOf" srcId="{CFA101BF-B37F-40CB-932A-5BFFD3A7E8A1}" destId="{D2A8924D-1C3C-4DE6-803B-F990301B7591}" srcOrd="3" destOrd="0" presId="urn:microsoft.com/office/officeart/2005/8/layout/radial1"/>
    <dgm:cxn modelId="{D533B1C4-A84C-4A43-B9E8-67EA96448A52}" type="presParOf" srcId="{D2A8924D-1C3C-4DE6-803B-F990301B7591}" destId="{A25DB892-C3E4-4E2E-BC13-AC70327FB49C}" srcOrd="0" destOrd="0" presId="urn:microsoft.com/office/officeart/2005/8/layout/radial1"/>
    <dgm:cxn modelId="{9D9EA56E-3891-4B82-9AD7-A5EE1EEF5130}" type="presParOf" srcId="{CFA101BF-B37F-40CB-932A-5BFFD3A7E8A1}" destId="{9917740E-D66F-43E9-BD20-BC4D95564672}" srcOrd="4" destOrd="0" presId="urn:microsoft.com/office/officeart/2005/8/layout/radial1"/>
    <dgm:cxn modelId="{8DB02C2E-F6D8-478E-A180-C577044860E7}" type="presParOf" srcId="{CFA101BF-B37F-40CB-932A-5BFFD3A7E8A1}" destId="{87EF8D8C-9B98-463F-938E-01CA7E729B5C}" srcOrd="5" destOrd="0" presId="urn:microsoft.com/office/officeart/2005/8/layout/radial1"/>
    <dgm:cxn modelId="{45436E7E-9E14-4875-9B24-470877C11011}" type="presParOf" srcId="{87EF8D8C-9B98-463F-938E-01CA7E729B5C}" destId="{0F816F08-94A5-4D54-98DC-3AD58A5850C7}" srcOrd="0" destOrd="0" presId="urn:microsoft.com/office/officeart/2005/8/layout/radial1"/>
    <dgm:cxn modelId="{A714BC6C-A8D2-453B-BF88-8CBA9D155DF7}" type="presParOf" srcId="{CFA101BF-B37F-40CB-932A-5BFFD3A7E8A1}" destId="{B193BD2C-1A13-4345-B7E9-AA5E225432B4}" srcOrd="6" destOrd="0" presId="urn:microsoft.com/office/officeart/2005/8/layout/radial1"/>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38B3478-5836-46B0-B89E-14DBFF2D7815}" type="doc">
      <dgm:prSet loTypeId="urn:microsoft.com/office/officeart/2005/8/layout/radial1" loCatId="cycle" qsTypeId="urn:microsoft.com/office/officeart/2005/8/quickstyle/simple1" qsCatId="simple" csTypeId="urn:microsoft.com/office/officeart/2005/8/colors/accent0_1" csCatId="mainScheme" phldr="1"/>
      <dgm:spPr/>
      <dgm:t>
        <a:bodyPr/>
        <a:lstStyle/>
        <a:p>
          <a:endParaRPr lang="en-US"/>
        </a:p>
      </dgm:t>
    </dgm:pt>
    <dgm:pt modelId="{78CE0340-CE29-4218-A486-CAB7533B724C}">
      <dgm:prSet phldrT="[Texto]" custT="1"/>
      <dgm:spPr/>
      <dgm:t>
        <a:bodyPr/>
        <a:lstStyle/>
        <a:p>
          <a:r>
            <a:rPr lang="es-CL" sz="1500" dirty="0" smtClean="0"/>
            <a:t>Pfizer</a:t>
          </a:r>
          <a:endParaRPr lang="en-US" sz="1500" dirty="0"/>
        </a:p>
      </dgm:t>
    </dgm:pt>
    <dgm:pt modelId="{F1359DC5-50E5-493E-A42B-ABE33D608349}" type="parTrans" cxnId="{0BEB9280-4B3B-4733-85EF-8A508830B8C4}">
      <dgm:prSet/>
      <dgm:spPr/>
      <dgm:t>
        <a:bodyPr/>
        <a:lstStyle/>
        <a:p>
          <a:endParaRPr lang="en-US"/>
        </a:p>
      </dgm:t>
    </dgm:pt>
    <dgm:pt modelId="{9DD814BD-8EA4-407B-BFF4-869726B54262}" type="sibTrans" cxnId="{0BEB9280-4B3B-4733-85EF-8A508830B8C4}">
      <dgm:prSet/>
      <dgm:spPr/>
      <dgm:t>
        <a:bodyPr/>
        <a:lstStyle/>
        <a:p>
          <a:endParaRPr lang="en-US"/>
        </a:p>
      </dgm:t>
    </dgm:pt>
    <dgm:pt modelId="{CA1B7152-6196-47AE-A073-710DE0EC2AE4}">
      <dgm:prSet phldrT="[Texto]" custT="1"/>
      <dgm:spPr/>
      <dgm:t>
        <a:bodyPr/>
        <a:lstStyle/>
        <a:p>
          <a:r>
            <a:rPr lang="es-CL" sz="1100" dirty="0" smtClean="0"/>
            <a:t>GIP</a:t>
          </a:r>
          <a:endParaRPr lang="en-US" sz="1100" dirty="0"/>
        </a:p>
      </dgm:t>
    </dgm:pt>
    <dgm:pt modelId="{459900F5-961E-4DE9-A8C6-3D365374F875}" type="parTrans" cxnId="{E69548D1-4C7C-49A6-97F6-4EF035E6EE49}">
      <dgm:prSet/>
      <dgm:spPr/>
      <dgm:t>
        <a:bodyPr/>
        <a:lstStyle/>
        <a:p>
          <a:endParaRPr lang="en-US"/>
        </a:p>
      </dgm:t>
    </dgm:pt>
    <dgm:pt modelId="{F8E6260E-B3C2-487B-9604-77966E3952EE}" type="sibTrans" cxnId="{E69548D1-4C7C-49A6-97F6-4EF035E6EE49}">
      <dgm:prSet/>
      <dgm:spPr/>
      <dgm:t>
        <a:bodyPr/>
        <a:lstStyle/>
        <a:p>
          <a:endParaRPr lang="en-US"/>
        </a:p>
      </dgm:t>
    </dgm:pt>
    <dgm:pt modelId="{C7C33AA1-E0D6-4B95-BB88-F32CFC89BB48}">
      <dgm:prSet phldrT="[Texto]" custT="1"/>
      <dgm:spPr/>
      <dgm:t>
        <a:bodyPr/>
        <a:lstStyle/>
        <a:p>
          <a:r>
            <a:rPr lang="es-CL" sz="1100" dirty="0" smtClean="0"/>
            <a:t>OBU</a:t>
          </a:r>
          <a:endParaRPr lang="en-US" sz="1100" dirty="0"/>
        </a:p>
      </dgm:t>
    </dgm:pt>
    <dgm:pt modelId="{52955179-BAE0-463B-8646-530F178B292D}" type="sibTrans" cxnId="{7AD621D2-FFFA-47D9-A731-069124A3F622}">
      <dgm:prSet/>
      <dgm:spPr/>
      <dgm:t>
        <a:bodyPr/>
        <a:lstStyle/>
        <a:p>
          <a:endParaRPr lang="en-US"/>
        </a:p>
      </dgm:t>
    </dgm:pt>
    <dgm:pt modelId="{9279DFD0-31E0-4F5B-B77B-85896B02CFBA}" type="parTrans" cxnId="{7AD621D2-FFFA-47D9-A731-069124A3F622}">
      <dgm:prSet/>
      <dgm:spPr/>
      <dgm:t>
        <a:bodyPr/>
        <a:lstStyle/>
        <a:p>
          <a:endParaRPr lang="en-US"/>
        </a:p>
      </dgm:t>
    </dgm:pt>
    <dgm:pt modelId="{3CFE12E5-AC62-4113-A25A-71E6170D3765}">
      <dgm:prSet phldrT="[Texto]" custT="1"/>
      <dgm:spPr/>
      <dgm:t>
        <a:bodyPr/>
        <a:lstStyle/>
        <a:p>
          <a:r>
            <a:rPr lang="es-CL" sz="1100" dirty="0" smtClean="0"/>
            <a:t>WRD</a:t>
          </a:r>
          <a:endParaRPr lang="en-US" sz="1100" dirty="0"/>
        </a:p>
      </dgm:t>
    </dgm:pt>
    <dgm:pt modelId="{3ECBAFBA-D91E-4C14-9CE5-066ECA32E219}" type="sibTrans" cxnId="{EAB34D41-2F5F-4705-873E-8B4BAF83C143}">
      <dgm:prSet/>
      <dgm:spPr/>
      <dgm:t>
        <a:bodyPr/>
        <a:lstStyle/>
        <a:p>
          <a:endParaRPr lang="en-US"/>
        </a:p>
      </dgm:t>
    </dgm:pt>
    <dgm:pt modelId="{075A40A1-ABB2-45E8-B933-CDEF2773905A}" type="parTrans" cxnId="{EAB34D41-2F5F-4705-873E-8B4BAF83C143}">
      <dgm:prSet/>
      <dgm:spPr/>
      <dgm:t>
        <a:bodyPr/>
        <a:lstStyle/>
        <a:p>
          <a:endParaRPr lang="en-US"/>
        </a:p>
      </dgm:t>
    </dgm:pt>
    <dgm:pt modelId="{5420530C-9157-41FA-B74E-A90BA2F25A45}">
      <dgm:prSet phldrT="[Texto]" custT="1"/>
      <dgm:spPr/>
      <dgm:t>
        <a:bodyPr/>
        <a:lstStyle/>
        <a:p>
          <a:r>
            <a:rPr lang="es-CL" sz="1100" dirty="0" smtClean="0"/>
            <a:t>ERDI</a:t>
          </a:r>
          <a:endParaRPr lang="en-US" sz="1100" dirty="0"/>
        </a:p>
      </dgm:t>
    </dgm:pt>
    <dgm:pt modelId="{04910DE3-F650-4ADD-A838-F0F6C6166BCC}" type="sibTrans" cxnId="{7ADB0A19-6384-498A-97D0-B1E4653CC4BA}">
      <dgm:prSet/>
      <dgm:spPr/>
      <dgm:t>
        <a:bodyPr/>
        <a:lstStyle/>
        <a:p>
          <a:endParaRPr lang="en-US"/>
        </a:p>
      </dgm:t>
    </dgm:pt>
    <dgm:pt modelId="{F4800D8C-98FD-4696-A8DD-79C3BAB2FA09}" type="parTrans" cxnId="{7ADB0A19-6384-498A-97D0-B1E4653CC4BA}">
      <dgm:prSet/>
      <dgm:spPr/>
      <dgm:t>
        <a:bodyPr/>
        <a:lstStyle/>
        <a:p>
          <a:endParaRPr lang="en-US"/>
        </a:p>
      </dgm:t>
    </dgm:pt>
    <dgm:pt modelId="{4C2BA6A9-BD70-49B1-A50F-C831E869A859}">
      <dgm:prSet phldrT="[Texto]" custT="1"/>
      <dgm:spPr/>
      <dgm:t>
        <a:bodyPr/>
        <a:lstStyle/>
        <a:p>
          <a:r>
            <a:rPr lang="es-CL" sz="1100" dirty="0" smtClean="0"/>
            <a:t>Medical</a:t>
          </a:r>
          <a:endParaRPr lang="en-US" sz="1100" dirty="0"/>
        </a:p>
      </dgm:t>
    </dgm:pt>
    <dgm:pt modelId="{3813BB98-A779-4D2A-B7F3-C334F03D56AB}" type="sibTrans" cxnId="{3424B58C-A07F-4059-A8A4-C66B31727460}">
      <dgm:prSet/>
      <dgm:spPr/>
      <dgm:t>
        <a:bodyPr/>
        <a:lstStyle/>
        <a:p>
          <a:endParaRPr lang="en-US"/>
        </a:p>
      </dgm:t>
    </dgm:pt>
    <dgm:pt modelId="{073C42FD-53ED-488A-BC13-E87DFE3C1952}" type="parTrans" cxnId="{3424B58C-A07F-4059-A8A4-C66B31727460}">
      <dgm:prSet/>
      <dgm:spPr/>
      <dgm:t>
        <a:bodyPr/>
        <a:lstStyle/>
        <a:p>
          <a:endParaRPr lang="en-US"/>
        </a:p>
      </dgm:t>
    </dgm:pt>
    <dgm:pt modelId="{04C2A795-8564-45EC-A4BD-B044EAFC85D2}">
      <dgm:prSet phldrT="[Texto]" custT="1"/>
      <dgm:spPr/>
      <dgm:t>
        <a:bodyPr/>
        <a:lstStyle/>
        <a:p>
          <a:r>
            <a:rPr lang="es-CL" sz="1100" dirty="0" smtClean="0"/>
            <a:t>Legal</a:t>
          </a:r>
          <a:endParaRPr lang="en-US" sz="1100" dirty="0"/>
        </a:p>
      </dgm:t>
    </dgm:pt>
    <dgm:pt modelId="{59EA19DB-7DFD-465A-91EB-C8F136402801}" type="parTrans" cxnId="{1D58E3C3-2A02-4709-9EA3-ED74668A4858}">
      <dgm:prSet/>
      <dgm:spPr/>
      <dgm:t>
        <a:bodyPr/>
        <a:lstStyle/>
        <a:p>
          <a:endParaRPr lang="en-US"/>
        </a:p>
      </dgm:t>
    </dgm:pt>
    <dgm:pt modelId="{0CC027B1-248E-46F5-90CB-942E52A88E32}" type="sibTrans" cxnId="{1D58E3C3-2A02-4709-9EA3-ED74668A4858}">
      <dgm:prSet/>
      <dgm:spPr/>
      <dgm:t>
        <a:bodyPr/>
        <a:lstStyle/>
        <a:p>
          <a:endParaRPr lang="en-US"/>
        </a:p>
      </dgm:t>
    </dgm:pt>
    <dgm:pt modelId="{13F59718-5277-43A7-8634-32BA6159F096}">
      <dgm:prSet phldrT="[Texto]" custT="1"/>
      <dgm:spPr/>
      <dgm:t>
        <a:bodyPr/>
        <a:lstStyle/>
        <a:p>
          <a:r>
            <a:rPr lang="es-CL" sz="1100" dirty="0" smtClean="0"/>
            <a:t>CTI</a:t>
          </a:r>
          <a:endParaRPr lang="en-US" sz="1100" dirty="0"/>
        </a:p>
      </dgm:t>
    </dgm:pt>
    <dgm:pt modelId="{AB461CEA-FDDE-4B1A-9EDC-0BC938A4926F}" type="parTrans" cxnId="{B4EACD61-6186-487B-A955-DA3CE8AE8645}">
      <dgm:prSet/>
      <dgm:spPr/>
      <dgm:t>
        <a:bodyPr/>
        <a:lstStyle/>
        <a:p>
          <a:endParaRPr lang="en-US"/>
        </a:p>
      </dgm:t>
    </dgm:pt>
    <dgm:pt modelId="{4B106F97-3EBD-40A3-B7DE-E813D50D48B9}" type="sibTrans" cxnId="{B4EACD61-6186-487B-A955-DA3CE8AE8645}">
      <dgm:prSet/>
      <dgm:spPr/>
      <dgm:t>
        <a:bodyPr/>
        <a:lstStyle/>
        <a:p>
          <a:endParaRPr lang="en-US"/>
        </a:p>
      </dgm:t>
    </dgm:pt>
    <dgm:pt modelId="{A8CA3534-B9DB-4E43-81D1-69B7F1643213}">
      <dgm:prSet phldrT="[Texto]" custT="1"/>
      <dgm:spPr/>
      <dgm:t>
        <a:bodyPr/>
        <a:lstStyle/>
        <a:p>
          <a:r>
            <a:rPr lang="es-CL" sz="1100" dirty="0" smtClean="0"/>
            <a:t>La </a:t>
          </a:r>
          <a:r>
            <a:rPr lang="es-CL" sz="1100" dirty="0" err="1" smtClean="0"/>
            <a:t>Jolla</a:t>
          </a:r>
          <a:endParaRPr lang="en-US" sz="1100" dirty="0"/>
        </a:p>
      </dgm:t>
    </dgm:pt>
    <dgm:pt modelId="{E2B96533-9182-442B-8E7F-087E767905CB}" type="parTrans" cxnId="{3B7CBB7C-1CC2-4C36-AFD1-43AD528DDAE1}">
      <dgm:prSet/>
      <dgm:spPr/>
      <dgm:t>
        <a:bodyPr/>
        <a:lstStyle/>
        <a:p>
          <a:endParaRPr lang="en-US"/>
        </a:p>
      </dgm:t>
    </dgm:pt>
    <dgm:pt modelId="{23EC3C14-42FF-4FF4-91E0-EDB9E7B1A329}" type="sibTrans" cxnId="{3B7CBB7C-1CC2-4C36-AFD1-43AD528DDAE1}">
      <dgm:prSet/>
      <dgm:spPr/>
      <dgm:t>
        <a:bodyPr/>
        <a:lstStyle/>
        <a:p>
          <a:endParaRPr lang="en-US"/>
        </a:p>
      </dgm:t>
    </dgm:pt>
    <dgm:pt modelId="{347050D0-1BF2-4E39-B448-96D2819AE79E}" type="pres">
      <dgm:prSet presAssocID="{F38B3478-5836-46B0-B89E-14DBFF2D7815}" presName="cycle" presStyleCnt="0">
        <dgm:presLayoutVars>
          <dgm:chMax val="1"/>
          <dgm:dir/>
          <dgm:animLvl val="ctr"/>
          <dgm:resizeHandles val="exact"/>
        </dgm:presLayoutVars>
      </dgm:prSet>
      <dgm:spPr/>
      <dgm:t>
        <a:bodyPr/>
        <a:lstStyle/>
        <a:p>
          <a:endParaRPr lang="en-US"/>
        </a:p>
      </dgm:t>
    </dgm:pt>
    <dgm:pt modelId="{3725A578-7AE6-41BC-A0A6-95F3E2B99AC8}" type="pres">
      <dgm:prSet presAssocID="{78CE0340-CE29-4218-A486-CAB7533B724C}" presName="centerShape" presStyleLbl="node0" presStyleIdx="0" presStyleCnt="1" custScaleX="123669" custScaleY="129138"/>
      <dgm:spPr/>
      <dgm:t>
        <a:bodyPr/>
        <a:lstStyle/>
        <a:p>
          <a:endParaRPr lang="en-US"/>
        </a:p>
      </dgm:t>
    </dgm:pt>
    <dgm:pt modelId="{F486AED9-B2F2-4915-B7F3-0E1F981D4237}" type="pres">
      <dgm:prSet presAssocID="{9279DFD0-31E0-4F5B-B77B-85896B02CFBA}" presName="Name9" presStyleLbl="parChTrans1D2" presStyleIdx="0" presStyleCnt="8"/>
      <dgm:spPr/>
      <dgm:t>
        <a:bodyPr/>
        <a:lstStyle/>
        <a:p>
          <a:endParaRPr lang="en-US"/>
        </a:p>
      </dgm:t>
    </dgm:pt>
    <dgm:pt modelId="{44B73360-648A-4899-9E24-5B98E11E100C}" type="pres">
      <dgm:prSet presAssocID="{9279DFD0-31E0-4F5B-B77B-85896B02CFBA}" presName="connTx" presStyleLbl="parChTrans1D2" presStyleIdx="0" presStyleCnt="8"/>
      <dgm:spPr/>
      <dgm:t>
        <a:bodyPr/>
        <a:lstStyle/>
        <a:p>
          <a:endParaRPr lang="en-US"/>
        </a:p>
      </dgm:t>
    </dgm:pt>
    <dgm:pt modelId="{11379A67-CE5D-42EF-8842-D3ECA71E0E8B}" type="pres">
      <dgm:prSet presAssocID="{C7C33AA1-E0D6-4B95-BB88-F32CFC89BB48}" presName="node" presStyleLbl="node1" presStyleIdx="0" presStyleCnt="8" custScaleX="93233" custScaleY="93377">
        <dgm:presLayoutVars>
          <dgm:bulletEnabled val="1"/>
        </dgm:presLayoutVars>
      </dgm:prSet>
      <dgm:spPr/>
      <dgm:t>
        <a:bodyPr/>
        <a:lstStyle/>
        <a:p>
          <a:endParaRPr lang="en-US"/>
        </a:p>
      </dgm:t>
    </dgm:pt>
    <dgm:pt modelId="{B18433C8-CA47-4E94-8741-2D268752745D}" type="pres">
      <dgm:prSet presAssocID="{459900F5-961E-4DE9-A8C6-3D365374F875}" presName="Name9" presStyleLbl="parChTrans1D2" presStyleIdx="1" presStyleCnt="8"/>
      <dgm:spPr/>
      <dgm:t>
        <a:bodyPr/>
        <a:lstStyle/>
        <a:p>
          <a:endParaRPr lang="en-US"/>
        </a:p>
      </dgm:t>
    </dgm:pt>
    <dgm:pt modelId="{1E44FF6C-5727-4D41-BDAA-70950621DDF2}" type="pres">
      <dgm:prSet presAssocID="{459900F5-961E-4DE9-A8C6-3D365374F875}" presName="connTx" presStyleLbl="parChTrans1D2" presStyleIdx="1" presStyleCnt="8"/>
      <dgm:spPr/>
      <dgm:t>
        <a:bodyPr/>
        <a:lstStyle/>
        <a:p>
          <a:endParaRPr lang="en-US"/>
        </a:p>
      </dgm:t>
    </dgm:pt>
    <dgm:pt modelId="{74F671FB-399C-4255-B37C-38AC4EAFCA6F}" type="pres">
      <dgm:prSet presAssocID="{CA1B7152-6196-47AE-A073-710DE0EC2AE4}" presName="node" presStyleLbl="node1" presStyleIdx="1" presStyleCnt="8">
        <dgm:presLayoutVars>
          <dgm:bulletEnabled val="1"/>
        </dgm:presLayoutVars>
      </dgm:prSet>
      <dgm:spPr/>
      <dgm:t>
        <a:bodyPr/>
        <a:lstStyle/>
        <a:p>
          <a:endParaRPr lang="en-US"/>
        </a:p>
      </dgm:t>
    </dgm:pt>
    <dgm:pt modelId="{19CCB3D3-D579-4F5F-9E6E-936E1E1A146E}" type="pres">
      <dgm:prSet presAssocID="{073C42FD-53ED-488A-BC13-E87DFE3C1952}" presName="Name9" presStyleLbl="parChTrans1D2" presStyleIdx="2" presStyleCnt="8"/>
      <dgm:spPr/>
      <dgm:t>
        <a:bodyPr/>
        <a:lstStyle/>
        <a:p>
          <a:endParaRPr lang="en-US"/>
        </a:p>
      </dgm:t>
    </dgm:pt>
    <dgm:pt modelId="{E97335D1-FDAC-461F-9966-493E51B31D33}" type="pres">
      <dgm:prSet presAssocID="{073C42FD-53ED-488A-BC13-E87DFE3C1952}" presName="connTx" presStyleLbl="parChTrans1D2" presStyleIdx="2" presStyleCnt="8"/>
      <dgm:spPr/>
      <dgm:t>
        <a:bodyPr/>
        <a:lstStyle/>
        <a:p>
          <a:endParaRPr lang="en-US"/>
        </a:p>
      </dgm:t>
    </dgm:pt>
    <dgm:pt modelId="{BA6025C9-9BB7-4933-9BCD-F376828219D5}" type="pres">
      <dgm:prSet presAssocID="{4C2BA6A9-BD70-49B1-A50F-C831E869A859}" presName="node" presStyleLbl="node1" presStyleIdx="2" presStyleCnt="8" custScaleX="121707" custScaleY="105404">
        <dgm:presLayoutVars>
          <dgm:bulletEnabled val="1"/>
        </dgm:presLayoutVars>
      </dgm:prSet>
      <dgm:spPr/>
      <dgm:t>
        <a:bodyPr/>
        <a:lstStyle/>
        <a:p>
          <a:endParaRPr lang="en-US"/>
        </a:p>
      </dgm:t>
    </dgm:pt>
    <dgm:pt modelId="{D903FAC9-5413-4444-920A-04C23B184CDA}" type="pres">
      <dgm:prSet presAssocID="{F4800D8C-98FD-4696-A8DD-79C3BAB2FA09}" presName="Name9" presStyleLbl="parChTrans1D2" presStyleIdx="3" presStyleCnt="8"/>
      <dgm:spPr/>
      <dgm:t>
        <a:bodyPr/>
        <a:lstStyle/>
        <a:p>
          <a:endParaRPr lang="en-US"/>
        </a:p>
      </dgm:t>
    </dgm:pt>
    <dgm:pt modelId="{50B20535-8A25-42BB-9D7E-C4C82188F223}" type="pres">
      <dgm:prSet presAssocID="{F4800D8C-98FD-4696-A8DD-79C3BAB2FA09}" presName="connTx" presStyleLbl="parChTrans1D2" presStyleIdx="3" presStyleCnt="8"/>
      <dgm:spPr/>
      <dgm:t>
        <a:bodyPr/>
        <a:lstStyle/>
        <a:p>
          <a:endParaRPr lang="en-US"/>
        </a:p>
      </dgm:t>
    </dgm:pt>
    <dgm:pt modelId="{F733DCEF-961F-480B-A0F8-3ABC5D0AAA69}" type="pres">
      <dgm:prSet presAssocID="{5420530C-9157-41FA-B74E-A90BA2F25A45}" presName="node" presStyleLbl="node1" presStyleIdx="3" presStyleCnt="8">
        <dgm:presLayoutVars>
          <dgm:bulletEnabled val="1"/>
        </dgm:presLayoutVars>
      </dgm:prSet>
      <dgm:spPr/>
      <dgm:t>
        <a:bodyPr/>
        <a:lstStyle/>
        <a:p>
          <a:endParaRPr lang="en-US"/>
        </a:p>
      </dgm:t>
    </dgm:pt>
    <dgm:pt modelId="{DB5D0E34-B73B-4048-9161-D6C614392646}" type="pres">
      <dgm:prSet presAssocID="{075A40A1-ABB2-45E8-B933-CDEF2773905A}" presName="Name9" presStyleLbl="parChTrans1D2" presStyleIdx="4" presStyleCnt="8"/>
      <dgm:spPr/>
      <dgm:t>
        <a:bodyPr/>
        <a:lstStyle/>
        <a:p>
          <a:endParaRPr lang="en-US"/>
        </a:p>
      </dgm:t>
    </dgm:pt>
    <dgm:pt modelId="{9EBD724F-01C6-480F-8E79-56F989BA469F}" type="pres">
      <dgm:prSet presAssocID="{075A40A1-ABB2-45E8-B933-CDEF2773905A}" presName="connTx" presStyleLbl="parChTrans1D2" presStyleIdx="4" presStyleCnt="8"/>
      <dgm:spPr/>
      <dgm:t>
        <a:bodyPr/>
        <a:lstStyle/>
        <a:p>
          <a:endParaRPr lang="en-US"/>
        </a:p>
      </dgm:t>
    </dgm:pt>
    <dgm:pt modelId="{146B0EA6-49D1-4569-9D06-69996E0BA5F8}" type="pres">
      <dgm:prSet presAssocID="{3CFE12E5-AC62-4113-A25A-71E6170D3765}" presName="node" presStyleLbl="node1" presStyleIdx="4" presStyleCnt="8">
        <dgm:presLayoutVars>
          <dgm:bulletEnabled val="1"/>
        </dgm:presLayoutVars>
      </dgm:prSet>
      <dgm:spPr/>
      <dgm:t>
        <a:bodyPr/>
        <a:lstStyle/>
        <a:p>
          <a:endParaRPr lang="en-US"/>
        </a:p>
      </dgm:t>
    </dgm:pt>
    <dgm:pt modelId="{19A7CF56-9485-4A7B-AD94-034014CE14D5}" type="pres">
      <dgm:prSet presAssocID="{59EA19DB-7DFD-465A-91EB-C8F136402801}" presName="Name9" presStyleLbl="parChTrans1D2" presStyleIdx="5" presStyleCnt="8"/>
      <dgm:spPr/>
      <dgm:t>
        <a:bodyPr/>
        <a:lstStyle/>
        <a:p>
          <a:endParaRPr lang="en-US"/>
        </a:p>
      </dgm:t>
    </dgm:pt>
    <dgm:pt modelId="{CF9661B3-5F02-484B-8422-795FCA0E6761}" type="pres">
      <dgm:prSet presAssocID="{59EA19DB-7DFD-465A-91EB-C8F136402801}" presName="connTx" presStyleLbl="parChTrans1D2" presStyleIdx="5" presStyleCnt="8"/>
      <dgm:spPr/>
      <dgm:t>
        <a:bodyPr/>
        <a:lstStyle/>
        <a:p>
          <a:endParaRPr lang="en-US"/>
        </a:p>
      </dgm:t>
    </dgm:pt>
    <dgm:pt modelId="{0A39F011-1F15-41A2-9A3B-16D9E1A50E7F}" type="pres">
      <dgm:prSet presAssocID="{04C2A795-8564-45EC-A4BD-B044EAFC85D2}" presName="node" presStyleLbl="node1" presStyleIdx="5" presStyleCnt="8">
        <dgm:presLayoutVars>
          <dgm:bulletEnabled val="1"/>
        </dgm:presLayoutVars>
      </dgm:prSet>
      <dgm:spPr/>
      <dgm:t>
        <a:bodyPr/>
        <a:lstStyle/>
        <a:p>
          <a:endParaRPr lang="en-US"/>
        </a:p>
      </dgm:t>
    </dgm:pt>
    <dgm:pt modelId="{5D71E2F7-7796-4CA8-ACAC-046D4E223A5C}" type="pres">
      <dgm:prSet presAssocID="{AB461CEA-FDDE-4B1A-9EDC-0BC938A4926F}" presName="Name9" presStyleLbl="parChTrans1D2" presStyleIdx="6" presStyleCnt="8"/>
      <dgm:spPr/>
      <dgm:t>
        <a:bodyPr/>
        <a:lstStyle/>
        <a:p>
          <a:endParaRPr lang="en-US"/>
        </a:p>
      </dgm:t>
    </dgm:pt>
    <dgm:pt modelId="{E5C4CA5B-E833-4CD4-A418-05130CB4BF91}" type="pres">
      <dgm:prSet presAssocID="{AB461CEA-FDDE-4B1A-9EDC-0BC938A4926F}" presName="connTx" presStyleLbl="parChTrans1D2" presStyleIdx="6" presStyleCnt="8"/>
      <dgm:spPr/>
      <dgm:t>
        <a:bodyPr/>
        <a:lstStyle/>
        <a:p>
          <a:endParaRPr lang="en-US"/>
        </a:p>
      </dgm:t>
    </dgm:pt>
    <dgm:pt modelId="{A2DA2D3B-0580-45F3-B333-8830EF565749}" type="pres">
      <dgm:prSet presAssocID="{13F59718-5277-43A7-8634-32BA6159F096}" presName="node" presStyleLbl="node1" presStyleIdx="6" presStyleCnt="8">
        <dgm:presLayoutVars>
          <dgm:bulletEnabled val="1"/>
        </dgm:presLayoutVars>
      </dgm:prSet>
      <dgm:spPr/>
      <dgm:t>
        <a:bodyPr/>
        <a:lstStyle/>
        <a:p>
          <a:endParaRPr lang="en-US"/>
        </a:p>
      </dgm:t>
    </dgm:pt>
    <dgm:pt modelId="{A3F44A36-6BA2-41B1-81B7-28F5DAD7D587}" type="pres">
      <dgm:prSet presAssocID="{E2B96533-9182-442B-8E7F-087E767905CB}" presName="Name9" presStyleLbl="parChTrans1D2" presStyleIdx="7" presStyleCnt="8"/>
      <dgm:spPr/>
      <dgm:t>
        <a:bodyPr/>
        <a:lstStyle/>
        <a:p>
          <a:endParaRPr lang="en-US"/>
        </a:p>
      </dgm:t>
    </dgm:pt>
    <dgm:pt modelId="{4D8BE9C7-1F99-4AB0-B1D1-935FBDAECFBE}" type="pres">
      <dgm:prSet presAssocID="{E2B96533-9182-442B-8E7F-087E767905CB}" presName="connTx" presStyleLbl="parChTrans1D2" presStyleIdx="7" presStyleCnt="8"/>
      <dgm:spPr/>
      <dgm:t>
        <a:bodyPr/>
        <a:lstStyle/>
        <a:p>
          <a:endParaRPr lang="en-US"/>
        </a:p>
      </dgm:t>
    </dgm:pt>
    <dgm:pt modelId="{C8DE22C3-5C6E-43D3-83CE-DA87EF8E6FB8}" type="pres">
      <dgm:prSet presAssocID="{A8CA3534-B9DB-4E43-81D1-69B7F1643213}" presName="node" presStyleLbl="node1" presStyleIdx="7" presStyleCnt="8">
        <dgm:presLayoutVars>
          <dgm:bulletEnabled val="1"/>
        </dgm:presLayoutVars>
      </dgm:prSet>
      <dgm:spPr/>
      <dgm:t>
        <a:bodyPr/>
        <a:lstStyle/>
        <a:p>
          <a:endParaRPr lang="en-US"/>
        </a:p>
      </dgm:t>
    </dgm:pt>
  </dgm:ptLst>
  <dgm:cxnLst>
    <dgm:cxn modelId="{25020078-D859-48B9-8B99-21C496D472BC}" type="presOf" srcId="{459900F5-961E-4DE9-A8C6-3D365374F875}" destId="{B18433C8-CA47-4E94-8741-2D268752745D}" srcOrd="0" destOrd="0" presId="urn:microsoft.com/office/officeart/2005/8/layout/radial1"/>
    <dgm:cxn modelId="{1E480B81-C85B-44DA-AFC1-EBE3B8F82C2B}" type="presOf" srcId="{9279DFD0-31E0-4F5B-B77B-85896B02CFBA}" destId="{F486AED9-B2F2-4915-B7F3-0E1F981D4237}" srcOrd="0" destOrd="0" presId="urn:microsoft.com/office/officeart/2005/8/layout/radial1"/>
    <dgm:cxn modelId="{BECC85BF-F860-4083-8F35-33A216BAFCD7}" type="presOf" srcId="{59EA19DB-7DFD-465A-91EB-C8F136402801}" destId="{CF9661B3-5F02-484B-8422-795FCA0E6761}" srcOrd="1" destOrd="0" presId="urn:microsoft.com/office/officeart/2005/8/layout/radial1"/>
    <dgm:cxn modelId="{D803B806-E49D-4DCA-88A7-31D0FBBB79CD}" type="presOf" srcId="{CA1B7152-6196-47AE-A073-710DE0EC2AE4}" destId="{74F671FB-399C-4255-B37C-38AC4EAFCA6F}" srcOrd="0" destOrd="0" presId="urn:microsoft.com/office/officeart/2005/8/layout/radial1"/>
    <dgm:cxn modelId="{0BEB9280-4B3B-4733-85EF-8A508830B8C4}" srcId="{F38B3478-5836-46B0-B89E-14DBFF2D7815}" destId="{78CE0340-CE29-4218-A486-CAB7533B724C}" srcOrd="0" destOrd="0" parTransId="{F1359DC5-50E5-493E-A42B-ABE33D608349}" sibTransId="{9DD814BD-8EA4-407B-BFF4-869726B54262}"/>
    <dgm:cxn modelId="{70BB8937-B9A1-4BF1-89E8-937B4B422FEA}" type="presOf" srcId="{A8CA3534-B9DB-4E43-81D1-69B7F1643213}" destId="{C8DE22C3-5C6E-43D3-83CE-DA87EF8E6FB8}" srcOrd="0" destOrd="0" presId="urn:microsoft.com/office/officeart/2005/8/layout/radial1"/>
    <dgm:cxn modelId="{EA51873A-A6E0-456E-9F22-7198D5ED2143}" type="presOf" srcId="{073C42FD-53ED-488A-BC13-E87DFE3C1952}" destId="{E97335D1-FDAC-461F-9966-493E51B31D33}" srcOrd="1" destOrd="0" presId="urn:microsoft.com/office/officeart/2005/8/layout/radial1"/>
    <dgm:cxn modelId="{B2062BF9-AC63-4094-AB89-CC7048D43E92}" type="presOf" srcId="{073C42FD-53ED-488A-BC13-E87DFE3C1952}" destId="{19CCB3D3-D579-4F5F-9E6E-936E1E1A146E}" srcOrd="0" destOrd="0" presId="urn:microsoft.com/office/officeart/2005/8/layout/radial1"/>
    <dgm:cxn modelId="{299831BD-8DCD-4BBC-B89C-6A70EA1BEDBB}" type="presOf" srcId="{04C2A795-8564-45EC-A4BD-B044EAFC85D2}" destId="{0A39F011-1F15-41A2-9A3B-16D9E1A50E7F}" srcOrd="0" destOrd="0" presId="urn:microsoft.com/office/officeart/2005/8/layout/radial1"/>
    <dgm:cxn modelId="{EAB34D41-2F5F-4705-873E-8B4BAF83C143}" srcId="{78CE0340-CE29-4218-A486-CAB7533B724C}" destId="{3CFE12E5-AC62-4113-A25A-71E6170D3765}" srcOrd="4" destOrd="0" parTransId="{075A40A1-ABB2-45E8-B933-CDEF2773905A}" sibTransId="{3ECBAFBA-D91E-4C14-9CE5-066ECA32E219}"/>
    <dgm:cxn modelId="{427A0E33-69D2-4A1C-8080-0C4A61E5D452}" type="presOf" srcId="{4C2BA6A9-BD70-49B1-A50F-C831E869A859}" destId="{BA6025C9-9BB7-4933-9BCD-F376828219D5}" srcOrd="0" destOrd="0" presId="urn:microsoft.com/office/officeart/2005/8/layout/radial1"/>
    <dgm:cxn modelId="{8951A1F5-A3C3-49B5-B0FF-9801F093172B}" type="presOf" srcId="{C7C33AA1-E0D6-4B95-BB88-F32CFC89BB48}" destId="{11379A67-CE5D-42EF-8842-D3ECA71E0E8B}" srcOrd="0" destOrd="0" presId="urn:microsoft.com/office/officeart/2005/8/layout/radial1"/>
    <dgm:cxn modelId="{86B8AADE-6C35-4825-8B48-06776A344B42}" type="presOf" srcId="{459900F5-961E-4DE9-A8C6-3D365374F875}" destId="{1E44FF6C-5727-4D41-BDAA-70950621DDF2}" srcOrd="1" destOrd="0" presId="urn:microsoft.com/office/officeart/2005/8/layout/radial1"/>
    <dgm:cxn modelId="{7ADB0A19-6384-498A-97D0-B1E4653CC4BA}" srcId="{78CE0340-CE29-4218-A486-CAB7533B724C}" destId="{5420530C-9157-41FA-B74E-A90BA2F25A45}" srcOrd="3" destOrd="0" parTransId="{F4800D8C-98FD-4696-A8DD-79C3BAB2FA09}" sibTransId="{04910DE3-F650-4ADD-A838-F0F6C6166BCC}"/>
    <dgm:cxn modelId="{A73FC9B3-B068-4E9A-95E6-5C5AD2BDBF6C}" type="presOf" srcId="{13F59718-5277-43A7-8634-32BA6159F096}" destId="{A2DA2D3B-0580-45F3-B333-8830EF565749}" srcOrd="0" destOrd="0" presId="urn:microsoft.com/office/officeart/2005/8/layout/radial1"/>
    <dgm:cxn modelId="{0F0211C1-E036-4750-A813-6DC996B139C4}" type="presOf" srcId="{E2B96533-9182-442B-8E7F-087E767905CB}" destId="{4D8BE9C7-1F99-4AB0-B1D1-935FBDAECFBE}" srcOrd="1" destOrd="0" presId="urn:microsoft.com/office/officeart/2005/8/layout/radial1"/>
    <dgm:cxn modelId="{74C6F085-43D9-4295-AF13-76C69446E628}" type="presOf" srcId="{AB461CEA-FDDE-4B1A-9EDC-0BC938A4926F}" destId="{E5C4CA5B-E833-4CD4-A418-05130CB4BF91}" srcOrd="1" destOrd="0" presId="urn:microsoft.com/office/officeart/2005/8/layout/radial1"/>
    <dgm:cxn modelId="{D4E1A536-99C6-4A3A-9472-6636E3A05EA8}" type="presOf" srcId="{5420530C-9157-41FA-B74E-A90BA2F25A45}" destId="{F733DCEF-961F-480B-A0F8-3ABC5D0AAA69}" srcOrd="0" destOrd="0" presId="urn:microsoft.com/office/officeart/2005/8/layout/radial1"/>
    <dgm:cxn modelId="{278B5363-BCFF-411A-B463-E35FECBF0872}" type="presOf" srcId="{9279DFD0-31E0-4F5B-B77B-85896B02CFBA}" destId="{44B73360-648A-4899-9E24-5B98E11E100C}" srcOrd="1" destOrd="0" presId="urn:microsoft.com/office/officeart/2005/8/layout/radial1"/>
    <dgm:cxn modelId="{E8E42303-AF25-4711-B5B7-BDADBFAA390B}" type="presOf" srcId="{075A40A1-ABB2-45E8-B933-CDEF2773905A}" destId="{9EBD724F-01C6-480F-8E79-56F989BA469F}" srcOrd="1" destOrd="0" presId="urn:microsoft.com/office/officeart/2005/8/layout/radial1"/>
    <dgm:cxn modelId="{3B7CBB7C-1CC2-4C36-AFD1-43AD528DDAE1}" srcId="{78CE0340-CE29-4218-A486-CAB7533B724C}" destId="{A8CA3534-B9DB-4E43-81D1-69B7F1643213}" srcOrd="7" destOrd="0" parTransId="{E2B96533-9182-442B-8E7F-087E767905CB}" sibTransId="{23EC3C14-42FF-4FF4-91E0-EDB9E7B1A329}"/>
    <dgm:cxn modelId="{B4EACD61-6186-487B-A955-DA3CE8AE8645}" srcId="{78CE0340-CE29-4218-A486-CAB7533B724C}" destId="{13F59718-5277-43A7-8634-32BA6159F096}" srcOrd="6" destOrd="0" parTransId="{AB461CEA-FDDE-4B1A-9EDC-0BC938A4926F}" sibTransId="{4B106F97-3EBD-40A3-B7DE-E813D50D48B9}"/>
    <dgm:cxn modelId="{1157E12C-002B-4CDD-B1AF-2C7BB7873429}" type="presOf" srcId="{F38B3478-5836-46B0-B89E-14DBFF2D7815}" destId="{347050D0-1BF2-4E39-B448-96D2819AE79E}" srcOrd="0" destOrd="0" presId="urn:microsoft.com/office/officeart/2005/8/layout/radial1"/>
    <dgm:cxn modelId="{D32CAAE9-3706-431B-A0C5-9F3601595FE6}" type="presOf" srcId="{AB461CEA-FDDE-4B1A-9EDC-0BC938A4926F}" destId="{5D71E2F7-7796-4CA8-ACAC-046D4E223A5C}" srcOrd="0" destOrd="0" presId="urn:microsoft.com/office/officeart/2005/8/layout/radial1"/>
    <dgm:cxn modelId="{F0D560A5-5BA8-495F-9039-83E44A3C89DC}" type="presOf" srcId="{F4800D8C-98FD-4696-A8DD-79C3BAB2FA09}" destId="{50B20535-8A25-42BB-9D7E-C4C82188F223}" srcOrd="1" destOrd="0" presId="urn:microsoft.com/office/officeart/2005/8/layout/radial1"/>
    <dgm:cxn modelId="{3424B58C-A07F-4059-A8A4-C66B31727460}" srcId="{78CE0340-CE29-4218-A486-CAB7533B724C}" destId="{4C2BA6A9-BD70-49B1-A50F-C831E869A859}" srcOrd="2" destOrd="0" parTransId="{073C42FD-53ED-488A-BC13-E87DFE3C1952}" sibTransId="{3813BB98-A779-4D2A-B7F3-C334F03D56AB}"/>
    <dgm:cxn modelId="{1D58E3C3-2A02-4709-9EA3-ED74668A4858}" srcId="{78CE0340-CE29-4218-A486-CAB7533B724C}" destId="{04C2A795-8564-45EC-A4BD-B044EAFC85D2}" srcOrd="5" destOrd="0" parTransId="{59EA19DB-7DFD-465A-91EB-C8F136402801}" sibTransId="{0CC027B1-248E-46F5-90CB-942E52A88E32}"/>
    <dgm:cxn modelId="{7AD621D2-FFFA-47D9-A731-069124A3F622}" srcId="{78CE0340-CE29-4218-A486-CAB7533B724C}" destId="{C7C33AA1-E0D6-4B95-BB88-F32CFC89BB48}" srcOrd="0" destOrd="0" parTransId="{9279DFD0-31E0-4F5B-B77B-85896B02CFBA}" sibTransId="{52955179-BAE0-463B-8646-530F178B292D}"/>
    <dgm:cxn modelId="{B92225C3-CF9F-4759-8CAD-0DFD8232B34E}" type="presOf" srcId="{3CFE12E5-AC62-4113-A25A-71E6170D3765}" destId="{146B0EA6-49D1-4569-9D06-69996E0BA5F8}" srcOrd="0" destOrd="0" presId="urn:microsoft.com/office/officeart/2005/8/layout/radial1"/>
    <dgm:cxn modelId="{B72923A3-D88F-42EB-9FF2-7EAAB0D2A87F}" type="presOf" srcId="{E2B96533-9182-442B-8E7F-087E767905CB}" destId="{A3F44A36-6BA2-41B1-81B7-28F5DAD7D587}" srcOrd="0" destOrd="0" presId="urn:microsoft.com/office/officeart/2005/8/layout/radial1"/>
    <dgm:cxn modelId="{8AE000FB-4503-4360-8394-9746E01D6BBF}" type="presOf" srcId="{075A40A1-ABB2-45E8-B933-CDEF2773905A}" destId="{DB5D0E34-B73B-4048-9161-D6C614392646}" srcOrd="0" destOrd="0" presId="urn:microsoft.com/office/officeart/2005/8/layout/radial1"/>
    <dgm:cxn modelId="{DF1908BD-4CC6-4013-BC80-D8E93C200267}" type="presOf" srcId="{78CE0340-CE29-4218-A486-CAB7533B724C}" destId="{3725A578-7AE6-41BC-A0A6-95F3E2B99AC8}" srcOrd="0" destOrd="0" presId="urn:microsoft.com/office/officeart/2005/8/layout/radial1"/>
    <dgm:cxn modelId="{E69548D1-4C7C-49A6-97F6-4EF035E6EE49}" srcId="{78CE0340-CE29-4218-A486-CAB7533B724C}" destId="{CA1B7152-6196-47AE-A073-710DE0EC2AE4}" srcOrd="1" destOrd="0" parTransId="{459900F5-961E-4DE9-A8C6-3D365374F875}" sibTransId="{F8E6260E-B3C2-487B-9604-77966E3952EE}"/>
    <dgm:cxn modelId="{267D2864-36D8-4878-AB9D-1827166C7DA2}" type="presOf" srcId="{F4800D8C-98FD-4696-A8DD-79C3BAB2FA09}" destId="{D903FAC9-5413-4444-920A-04C23B184CDA}" srcOrd="0" destOrd="0" presId="urn:microsoft.com/office/officeart/2005/8/layout/radial1"/>
    <dgm:cxn modelId="{C7BDC3A6-5B04-4F53-BFE8-DE5F3856208A}" type="presOf" srcId="{59EA19DB-7DFD-465A-91EB-C8F136402801}" destId="{19A7CF56-9485-4A7B-AD94-034014CE14D5}" srcOrd="0" destOrd="0" presId="urn:microsoft.com/office/officeart/2005/8/layout/radial1"/>
    <dgm:cxn modelId="{98D4CB03-9CAB-4BA7-9F7E-F15AABABF536}" type="presParOf" srcId="{347050D0-1BF2-4E39-B448-96D2819AE79E}" destId="{3725A578-7AE6-41BC-A0A6-95F3E2B99AC8}" srcOrd="0" destOrd="0" presId="urn:microsoft.com/office/officeart/2005/8/layout/radial1"/>
    <dgm:cxn modelId="{2FE4F2A1-351D-4DA6-8C3C-8F2934F7F743}" type="presParOf" srcId="{347050D0-1BF2-4E39-B448-96D2819AE79E}" destId="{F486AED9-B2F2-4915-B7F3-0E1F981D4237}" srcOrd="1" destOrd="0" presId="urn:microsoft.com/office/officeart/2005/8/layout/radial1"/>
    <dgm:cxn modelId="{A02ABE7D-ED76-486C-BD82-43AA4D5AE84E}" type="presParOf" srcId="{F486AED9-B2F2-4915-B7F3-0E1F981D4237}" destId="{44B73360-648A-4899-9E24-5B98E11E100C}" srcOrd="0" destOrd="0" presId="urn:microsoft.com/office/officeart/2005/8/layout/radial1"/>
    <dgm:cxn modelId="{53F0F4CB-76B5-4DDA-9D67-FA523FF665B0}" type="presParOf" srcId="{347050D0-1BF2-4E39-B448-96D2819AE79E}" destId="{11379A67-CE5D-42EF-8842-D3ECA71E0E8B}" srcOrd="2" destOrd="0" presId="urn:microsoft.com/office/officeart/2005/8/layout/radial1"/>
    <dgm:cxn modelId="{59E823D4-BD16-4000-9F76-25F449B23ADF}" type="presParOf" srcId="{347050D0-1BF2-4E39-B448-96D2819AE79E}" destId="{B18433C8-CA47-4E94-8741-2D268752745D}" srcOrd="3" destOrd="0" presId="urn:microsoft.com/office/officeart/2005/8/layout/radial1"/>
    <dgm:cxn modelId="{5D171E52-7EB3-4D99-BD74-F61118C67C86}" type="presParOf" srcId="{B18433C8-CA47-4E94-8741-2D268752745D}" destId="{1E44FF6C-5727-4D41-BDAA-70950621DDF2}" srcOrd="0" destOrd="0" presId="urn:microsoft.com/office/officeart/2005/8/layout/radial1"/>
    <dgm:cxn modelId="{47D7A79A-9922-483A-A00D-EDAAA31EFC1D}" type="presParOf" srcId="{347050D0-1BF2-4E39-B448-96D2819AE79E}" destId="{74F671FB-399C-4255-B37C-38AC4EAFCA6F}" srcOrd="4" destOrd="0" presId="urn:microsoft.com/office/officeart/2005/8/layout/radial1"/>
    <dgm:cxn modelId="{4D0F91E2-6FF6-4CBD-81DB-287AA6D1312F}" type="presParOf" srcId="{347050D0-1BF2-4E39-B448-96D2819AE79E}" destId="{19CCB3D3-D579-4F5F-9E6E-936E1E1A146E}" srcOrd="5" destOrd="0" presId="urn:microsoft.com/office/officeart/2005/8/layout/radial1"/>
    <dgm:cxn modelId="{5D5EDC57-9742-4FF5-B95E-A0A0E1605272}" type="presParOf" srcId="{19CCB3D3-D579-4F5F-9E6E-936E1E1A146E}" destId="{E97335D1-FDAC-461F-9966-493E51B31D33}" srcOrd="0" destOrd="0" presId="urn:microsoft.com/office/officeart/2005/8/layout/radial1"/>
    <dgm:cxn modelId="{D23628B4-5745-401C-B119-9F45AF4F1CC0}" type="presParOf" srcId="{347050D0-1BF2-4E39-B448-96D2819AE79E}" destId="{BA6025C9-9BB7-4933-9BCD-F376828219D5}" srcOrd="6" destOrd="0" presId="urn:microsoft.com/office/officeart/2005/8/layout/radial1"/>
    <dgm:cxn modelId="{11D1EBC2-0BE0-4277-8459-1B298EAFCE07}" type="presParOf" srcId="{347050D0-1BF2-4E39-B448-96D2819AE79E}" destId="{D903FAC9-5413-4444-920A-04C23B184CDA}" srcOrd="7" destOrd="0" presId="urn:microsoft.com/office/officeart/2005/8/layout/radial1"/>
    <dgm:cxn modelId="{74886171-7FDF-4EAC-B757-CF86597FCB72}" type="presParOf" srcId="{D903FAC9-5413-4444-920A-04C23B184CDA}" destId="{50B20535-8A25-42BB-9D7E-C4C82188F223}" srcOrd="0" destOrd="0" presId="urn:microsoft.com/office/officeart/2005/8/layout/radial1"/>
    <dgm:cxn modelId="{471E148A-CBB6-475F-9A62-77950A646FD8}" type="presParOf" srcId="{347050D0-1BF2-4E39-B448-96D2819AE79E}" destId="{F733DCEF-961F-480B-A0F8-3ABC5D0AAA69}" srcOrd="8" destOrd="0" presId="urn:microsoft.com/office/officeart/2005/8/layout/radial1"/>
    <dgm:cxn modelId="{81E0A8AC-5AC9-476E-A978-C503BCB0CEB5}" type="presParOf" srcId="{347050D0-1BF2-4E39-B448-96D2819AE79E}" destId="{DB5D0E34-B73B-4048-9161-D6C614392646}" srcOrd="9" destOrd="0" presId="urn:microsoft.com/office/officeart/2005/8/layout/radial1"/>
    <dgm:cxn modelId="{780317B4-A3D0-4118-9652-E98D4EC0A936}" type="presParOf" srcId="{DB5D0E34-B73B-4048-9161-D6C614392646}" destId="{9EBD724F-01C6-480F-8E79-56F989BA469F}" srcOrd="0" destOrd="0" presId="urn:microsoft.com/office/officeart/2005/8/layout/radial1"/>
    <dgm:cxn modelId="{54C09CAC-4C53-441C-B070-DB4C0D31BE87}" type="presParOf" srcId="{347050D0-1BF2-4E39-B448-96D2819AE79E}" destId="{146B0EA6-49D1-4569-9D06-69996E0BA5F8}" srcOrd="10" destOrd="0" presId="urn:microsoft.com/office/officeart/2005/8/layout/radial1"/>
    <dgm:cxn modelId="{F0E29396-31D6-481A-8980-3BDFFC267822}" type="presParOf" srcId="{347050D0-1BF2-4E39-B448-96D2819AE79E}" destId="{19A7CF56-9485-4A7B-AD94-034014CE14D5}" srcOrd="11" destOrd="0" presId="urn:microsoft.com/office/officeart/2005/8/layout/radial1"/>
    <dgm:cxn modelId="{3D470DA4-AFFB-422B-BAEE-37EFA6F166A3}" type="presParOf" srcId="{19A7CF56-9485-4A7B-AD94-034014CE14D5}" destId="{CF9661B3-5F02-484B-8422-795FCA0E6761}" srcOrd="0" destOrd="0" presId="urn:microsoft.com/office/officeart/2005/8/layout/radial1"/>
    <dgm:cxn modelId="{F3DE43E5-329E-49D2-81A7-8615F55C7282}" type="presParOf" srcId="{347050D0-1BF2-4E39-B448-96D2819AE79E}" destId="{0A39F011-1F15-41A2-9A3B-16D9E1A50E7F}" srcOrd="12" destOrd="0" presId="urn:microsoft.com/office/officeart/2005/8/layout/radial1"/>
    <dgm:cxn modelId="{47E452E7-CFFA-488A-8988-4EA90F812224}" type="presParOf" srcId="{347050D0-1BF2-4E39-B448-96D2819AE79E}" destId="{5D71E2F7-7796-4CA8-ACAC-046D4E223A5C}" srcOrd="13" destOrd="0" presId="urn:microsoft.com/office/officeart/2005/8/layout/radial1"/>
    <dgm:cxn modelId="{211A85C4-38E3-4FF9-8BFD-4D641DD76966}" type="presParOf" srcId="{5D71E2F7-7796-4CA8-ACAC-046D4E223A5C}" destId="{E5C4CA5B-E833-4CD4-A418-05130CB4BF91}" srcOrd="0" destOrd="0" presId="urn:microsoft.com/office/officeart/2005/8/layout/radial1"/>
    <dgm:cxn modelId="{AE6F5484-938C-44F3-B1BB-7B3D13424BD4}" type="presParOf" srcId="{347050D0-1BF2-4E39-B448-96D2819AE79E}" destId="{A2DA2D3B-0580-45F3-B333-8830EF565749}" srcOrd="14" destOrd="0" presId="urn:microsoft.com/office/officeart/2005/8/layout/radial1"/>
    <dgm:cxn modelId="{10076A32-A3F2-47AF-AC88-00AA474E0004}" type="presParOf" srcId="{347050D0-1BF2-4E39-B448-96D2819AE79E}" destId="{A3F44A36-6BA2-41B1-81B7-28F5DAD7D587}" srcOrd="15" destOrd="0" presId="urn:microsoft.com/office/officeart/2005/8/layout/radial1"/>
    <dgm:cxn modelId="{3383BDE8-5CC7-4F98-8C56-A65086FDB0A9}" type="presParOf" srcId="{A3F44A36-6BA2-41B1-81B7-28F5DAD7D587}" destId="{4D8BE9C7-1F99-4AB0-B1D1-935FBDAECFBE}" srcOrd="0" destOrd="0" presId="urn:microsoft.com/office/officeart/2005/8/layout/radial1"/>
    <dgm:cxn modelId="{A06EBB04-0F51-4A83-A378-F124800F6855}" type="presParOf" srcId="{347050D0-1BF2-4E39-B448-96D2819AE79E}" destId="{C8DE22C3-5C6E-43D3-83CE-DA87EF8E6FB8}" srcOrd="16" destOrd="0" presId="urn:microsoft.com/office/officeart/2005/8/layout/radial1"/>
  </dgm:cxnLst>
  <dgm:bg/>
  <dgm:whole/>
  <dgm:extLst>
    <a:ext uri="http://schemas.microsoft.com/office/drawing/2008/diagram">
      <dsp:dataModelExt xmlns:dsp="http://schemas.microsoft.com/office/drawing/2008/diagram" relId="rId3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5B156DC-CD61-42E7-A8F8-8F6DA234B528}" type="doc">
      <dgm:prSet loTypeId="urn:microsoft.com/office/officeart/2009/3/layout/CircleRelationship" loCatId="relationship" qsTypeId="urn:microsoft.com/office/officeart/2005/8/quickstyle/simple1" qsCatId="simple" csTypeId="urn:microsoft.com/office/officeart/2005/8/colors/accent0_1" csCatId="mainScheme" phldr="1"/>
      <dgm:spPr/>
      <dgm:t>
        <a:bodyPr/>
        <a:lstStyle/>
        <a:p>
          <a:endParaRPr lang="en-US"/>
        </a:p>
      </dgm:t>
    </dgm:pt>
    <dgm:pt modelId="{001BC250-823E-4B9E-85C9-9E17C079A234}">
      <dgm:prSet phldrT="[Texto]" custT="1"/>
      <dgm:spPr/>
      <dgm:t>
        <a:bodyPr/>
        <a:lstStyle/>
        <a:p>
          <a:r>
            <a:rPr lang="es-CL" sz="1050" dirty="0" smtClean="0"/>
            <a:t>Inst. Internacionales</a:t>
          </a:r>
          <a:endParaRPr lang="en-US" sz="1050" dirty="0"/>
        </a:p>
      </dgm:t>
    </dgm:pt>
    <dgm:pt modelId="{17230983-9A3B-44CA-982D-027F2E29CA53}" type="parTrans" cxnId="{177B0BB3-55E4-4C3E-8882-6BECAA3CE439}">
      <dgm:prSet/>
      <dgm:spPr/>
      <dgm:t>
        <a:bodyPr/>
        <a:lstStyle/>
        <a:p>
          <a:endParaRPr lang="en-US"/>
        </a:p>
      </dgm:t>
    </dgm:pt>
    <dgm:pt modelId="{76F9BE52-0918-4538-B6B8-1E46AC0850BC}" type="sibTrans" cxnId="{177B0BB3-55E4-4C3E-8882-6BECAA3CE439}">
      <dgm:prSet/>
      <dgm:spPr/>
      <dgm:t>
        <a:bodyPr/>
        <a:lstStyle/>
        <a:p>
          <a:endParaRPr lang="en-US"/>
        </a:p>
      </dgm:t>
    </dgm:pt>
    <dgm:pt modelId="{285DB28D-DE97-4350-8ACF-2ABDDB52D25C}" type="pres">
      <dgm:prSet presAssocID="{D5B156DC-CD61-42E7-A8F8-8F6DA234B528}" presName="Name0" presStyleCnt="0">
        <dgm:presLayoutVars>
          <dgm:chMax val="1"/>
          <dgm:chPref val="1"/>
        </dgm:presLayoutVars>
      </dgm:prSet>
      <dgm:spPr/>
      <dgm:t>
        <a:bodyPr/>
        <a:lstStyle/>
        <a:p>
          <a:endParaRPr lang="en-US"/>
        </a:p>
      </dgm:t>
    </dgm:pt>
    <dgm:pt modelId="{D2A10953-0CF6-468A-8923-EFF9CF5071BA}" type="pres">
      <dgm:prSet presAssocID="{001BC250-823E-4B9E-85C9-9E17C079A234}" presName="Parent" presStyleLbl="node0" presStyleIdx="0" presStyleCnt="1" custScaleX="62047" custScaleY="60202">
        <dgm:presLayoutVars>
          <dgm:chMax val="5"/>
          <dgm:chPref val="5"/>
        </dgm:presLayoutVars>
      </dgm:prSet>
      <dgm:spPr/>
      <dgm:t>
        <a:bodyPr/>
        <a:lstStyle/>
        <a:p>
          <a:endParaRPr lang="en-US"/>
        </a:p>
      </dgm:t>
    </dgm:pt>
    <dgm:pt modelId="{2A4D50D1-381F-4465-9486-05BC9453972D}" type="pres">
      <dgm:prSet presAssocID="{001BC250-823E-4B9E-85C9-9E17C079A234}" presName="Accent1" presStyleLbl="node1" presStyleIdx="0" presStyleCnt="6"/>
      <dgm:spPr/>
      <dgm:t>
        <a:bodyPr/>
        <a:lstStyle/>
        <a:p>
          <a:endParaRPr lang="en-US"/>
        </a:p>
      </dgm:t>
    </dgm:pt>
    <dgm:pt modelId="{69C5BBA5-1CEC-4F6D-BE65-DA02DDC956AA}" type="pres">
      <dgm:prSet presAssocID="{001BC250-823E-4B9E-85C9-9E17C079A234}" presName="Accent2" presStyleLbl="node1" presStyleIdx="1" presStyleCnt="6" custLinFactX="-244958" custLinFactY="198065" custLinFactNeighborX="-300000" custLinFactNeighborY="200000"/>
      <dgm:spPr/>
      <dgm:t>
        <a:bodyPr/>
        <a:lstStyle/>
        <a:p>
          <a:endParaRPr lang="en-US"/>
        </a:p>
      </dgm:t>
    </dgm:pt>
    <dgm:pt modelId="{0DE1AF94-B230-43CD-8829-0A22DAE5B953}" type="pres">
      <dgm:prSet presAssocID="{001BC250-823E-4B9E-85C9-9E17C079A234}" presName="Accent3" presStyleLbl="node1" presStyleIdx="2" presStyleCnt="6"/>
      <dgm:spPr/>
      <dgm:t>
        <a:bodyPr/>
        <a:lstStyle/>
        <a:p>
          <a:endParaRPr lang="en-US"/>
        </a:p>
      </dgm:t>
    </dgm:pt>
    <dgm:pt modelId="{A7D277BA-D680-4D99-9303-D81BC4A3792A}" type="pres">
      <dgm:prSet presAssocID="{001BC250-823E-4B9E-85C9-9E17C079A234}" presName="Accent4" presStyleLbl="node1" presStyleIdx="3" presStyleCnt="6" custLinFactX="-100000" custLinFactNeighborX="-108240" custLinFactNeighborY="-28966"/>
      <dgm:spPr/>
      <dgm:t>
        <a:bodyPr/>
        <a:lstStyle/>
        <a:p>
          <a:endParaRPr lang="en-US"/>
        </a:p>
      </dgm:t>
    </dgm:pt>
    <dgm:pt modelId="{5ACB329F-B140-45C8-9F73-185512944E47}" type="pres">
      <dgm:prSet presAssocID="{001BC250-823E-4B9E-85C9-9E17C079A234}" presName="Accent5" presStyleLbl="node1" presStyleIdx="4" presStyleCnt="6"/>
      <dgm:spPr/>
      <dgm:t>
        <a:bodyPr/>
        <a:lstStyle/>
        <a:p>
          <a:endParaRPr lang="en-US"/>
        </a:p>
      </dgm:t>
    </dgm:pt>
    <dgm:pt modelId="{01FE9CC8-4A7A-4A06-8239-EA88B54B1838}" type="pres">
      <dgm:prSet presAssocID="{001BC250-823E-4B9E-85C9-9E17C079A234}" presName="Accent6" presStyleLbl="node1" presStyleIdx="5" presStyleCnt="6" custLinFactY="100000" custLinFactNeighborX="-37182" custLinFactNeighborY="182121"/>
      <dgm:spPr/>
      <dgm:t>
        <a:bodyPr/>
        <a:lstStyle/>
        <a:p>
          <a:endParaRPr lang="en-US"/>
        </a:p>
      </dgm:t>
    </dgm:pt>
  </dgm:ptLst>
  <dgm:cxnLst>
    <dgm:cxn modelId="{88D4E54E-42AA-492E-8BD5-701890E7C57F}" type="presOf" srcId="{001BC250-823E-4B9E-85C9-9E17C079A234}" destId="{D2A10953-0CF6-468A-8923-EFF9CF5071BA}" srcOrd="0" destOrd="0" presId="urn:microsoft.com/office/officeart/2009/3/layout/CircleRelationship"/>
    <dgm:cxn modelId="{177B0BB3-55E4-4C3E-8882-6BECAA3CE439}" srcId="{D5B156DC-CD61-42E7-A8F8-8F6DA234B528}" destId="{001BC250-823E-4B9E-85C9-9E17C079A234}" srcOrd="0" destOrd="0" parTransId="{17230983-9A3B-44CA-982D-027F2E29CA53}" sibTransId="{76F9BE52-0918-4538-B6B8-1E46AC0850BC}"/>
    <dgm:cxn modelId="{AC88CCC1-3604-423F-B3ED-5007374975AF}" type="presOf" srcId="{D5B156DC-CD61-42E7-A8F8-8F6DA234B528}" destId="{285DB28D-DE97-4350-8ACF-2ABDDB52D25C}" srcOrd="0" destOrd="0" presId="urn:microsoft.com/office/officeart/2009/3/layout/CircleRelationship"/>
    <dgm:cxn modelId="{82FEA1C7-4520-4045-B8A6-AB662CADC7B0}" type="presParOf" srcId="{285DB28D-DE97-4350-8ACF-2ABDDB52D25C}" destId="{D2A10953-0CF6-468A-8923-EFF9CF5071BA}" srcOrd="0" destOrd="0" presId="urn:microsoft.com/office/officeart/2009/3/layout/CircleRelationship"/>
    <dgm:cxn modelId="{8A202DC1-AA61-4835-AC61-D6B4F2F0A908}" type="presParOf" srcId="{285DB28D-DE97-4350-8ACF-2ABDDB52D25C}" destId="{2A4D50D1-381F-4465-9486-05BC9453972D}" srcOrd="1" destOrd="0" presId="urn:microsoft.com/office/officeart/2009/3/layout/CircleRelationship"/>
    <dgm:cxn modelId="{09592EC9-594F-4FDE-AA2C-F1F69A57719F}" type="presParOf" srcId="{285DB28D-DE97-4350-8ACF-2ABDDB52D25C}" destId="{69C5BBA5-1CEC-4F6D-BE65-DA02DDC956AA}" srcOrd="2" destOrd="0" presId="urn:microsoft.com/office/officeart/2009/3/layout/CircleRelationship"/>
    <dgm:cxn modelId="{0D4C70C3-1F94-461D-BDB4-7F0C9D8A3642}" type="presParOf" srcId="{285DB28D-DE97-4350-8ACF-2ABDDB52D25C}" destId="{0DE1AF94-B230-43CD-8829-0A22DAE5B953}" srcOrd="3" destOrd="0" presId="urn:microsoft.com/office/officeart/2009/3/layout/CircleRelationship"/>
    <dgm:cxn modelId="{4C56302D-E776-484B-8992-8D62C4E3EA5E}" type="presParOf" srcId="{285DB28D-DE97-4350-8ACF-2ABDDB52D25C}" destId="{A7D277BA-D680-4D99-9303-D81BC4A3792A}" srcOrd="4" destOrd="0" presId="urn:microsoft.com/office/officeart/2009/3/layout/CircleRelationship"/>
    <dgm:cxn modelId="{19C1FDB1-8254-49B2-9AA7-453E2D2C56C0}" type="presParOf" srcId="{285DB28D-DE97-4350-8ACF-2ABDDB52D25C}" destId="{5ACB329F-B140-45C8-9F73-185512944E47}" srcOrd="5" destOrd="0" presId="urn:microsoft.com/office/officeart/2009/3/layout/CircleRelationship"/>
    <dgm:cxn modelId="{FBD4C3E7-5E14-4D17-A5A9-FADF374A9DD0}" type="presParOf" srcId="{285DB28D-DE97-4350-8ACF-2ABDDB52D25C}" destId="{01FE9CC8-4A7A-4A06-8239-EA88B54B1838}" srcOrd="6" destOrd="0" presId="urn:microsoft.com/office/officeart/2009/3/layout/CircleRelationship"/>
  </dgm:cxnLst>
  <dgm:bg/>
  <dgm:whole/>
  <dgm:extLst>
    <a:ext uri="http://schemas.microsoft.com/office/drawing/2008/diagram">
      <dsp:dataModelExt xmlns:dsp="http://schemas.microsoft.com/office/drawing/2008/diagram" relId="rId3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5B156DC-CD61-42E7-A8F8-8F6DA234B528}" type="doc">
      <dgm:prSet loTypeId="urn:microsoft.com/office/officeart/2009/3/layout/CircleRelationship" loCatId="relationship" qsTypeId="urn:microsoft.com/office/officeart/2005/8/quickstyle/simple1" qsCatId="simple" csTypeId="urn:microsoft.com/office/officeart/2005/8/colors/accent0_1" csCatId="mainScheme" phldr="1"/>
      <dgm:spPr/>
      <dgm:t>
        <a:bodyPr/>
        <a:lstStyle/>
        <a:p>
          <a:endParaRPr lang="en-US"/>
        </a:p>
      </dgm:t>
    </dgm:pt>
    <dgm:pt modelId="{001BC250-823E-4B9E-85C9-9E17C079A234}">
      <dgm:prSet phldrT="[Texto]" custT="1"/>
      <dgm:spPr/>
      <dgm:t>
        <a:bodyPr/>
        <a:lstStyle/>
        <a:p>
          <a:r>
            <a:rPr lang="en-US" sz="900" noProof="0" dirty="0" smtClean="0"/>
            <a:t>Media</a:t>
          </a:r>
          <a:endParaRPr lang="en-US" sz="900" noProof="0" dirty="0"/>
        </a:p>
      </dgm:t>
    </dgm:pt>
    <dgm:pt modelId="{17230983-9A3B-44CA-982D-027F2E29CA53}" type="parTrans" cxnId="{177B0BB3-55E4-4C3E-8882-6BECAA3CE439}">
      <dgm:prSet/>
      <dgm:spPr/>
      <dgm:t>
        <a:bodyPr/>
        <a:lstStyle/>
        <a:p>
          <a:endParaRPr lang="en-US" noProof="0" dirty="0"/>
        </a:p>
      </dgm:t>
    </dgm:pt>
    <dgm:pt modelId="{76F9BE52-0918-4538-B6B8-1E46AC0850BC}" type="sibTrans" cxnId="{177B0BB3-55E4-4C3E-8882-6BECAA3CE439}">
      <dgm:prSet/>
      <dgm:spPr/>
      <dgm:t>
        <a:bodyPr/>
        <a:lstStyle/>
        <a:p>
          <a:endParaRPr lang="en-US" noProof="0" dirty="0"/>
        </a:p>
      </dgm:t>
    </dgm:pt>
    <dgm:pt modelId="{A7E068F0-8E9A-46F1-8FC5-FA08E45EAFA8}">
      <dgm:prSet phldrT="[Texto]" custT="1"/>
      <dgm:spPr/>
      <dgm:t>
        <a:bodyPr/>
        <a:lstStyle/>
        <a:p>
          <a:r>
            <a:rPr lang="en-US" sz="900" noProof="0" dirty="0" smtClean="0"/>
            <a:t>News papers</a:t>
          </a:r>
          <a:endParaRPr lang="en-US" sz="900" noProof="0" dirty="0"/>
        </a:p>
      </dgm:t>
    </dgm:pt>
    <dgm:pt modelId="{784606D2-1AB8-46E5-843B-2942D20D6B13}" type="parTrans" cxnId="{3A57ABA7-7F04-47D2-A5BC-07C27FF09F57}">
      <dgm:prSet/>
      <dgm:spPr/>
      <dgm:t>
        <a:bodyPr/>
        <a:lstStyle/>
        <a:p>
          <a:endParaRPr lang="en-US" noProof="0" dirty="0"/>
        </a:p>
      </dgm:t>
    </dgm:pt>
    <dgm:pt modelId="{D6D2682A-F8B8-49C5-996C-A481530E9203}" type="sibTrans" cxnId="{3A57ABA7-7F04-47D2-A5BC-07C27FF09F57}">
      <dgm:prSet/>
      <dgm:spPr/>
      <dgm:t>
        <a:bodyPr/>
        <a:lstStyle/>
        <a:p>
          <a:endParaRPr lang="en-US" noProof="0" dirty="0"/>
        </a:p>
      </dgm:t>
    </dgm:pt>
    <dgm:pt modelId="{7EA55014-67EF-4D86-BE77-B7BAD6A42F4D}">
      <dgm:prSet phldrT="[Texto]" custT="1"/>
      <dgm:spPr/>
      <dgm:t>
        <a:bodyPr/>
        <a:lstStyle/>
        <a:p>
          <a:r>
            <a:rPr lang="en-US" sz="900" noProof="0" dirty="0" smtClean="0"/>
            <a:t>Scientific publications</a:t>
          </a:r>
          <a:endParaRPr lang="en-US" sz="900" noProof="0" dirty="0"/>
        </a:p>
      </dgm:t>
    </dgm:pt>
    <dgm:pt modelId="{0B340821-7DB2-4A5F-A479-1857E65FB45C}" type="parTrans" cxnId="{13A6CAD4-9EE6-43AD-BAF9-21AA5E0F422B}">
      <dgm:prSet/>
      <dgm:spPr/>
      <dgm:t>
        <a:bodyPr/>
        <a:lstStyle/>
        <a:p>
          <a:endParaRPr lang="en-US" noProof="0" dirty="0"/>
        </a:p>
      </dgm:t>
    </dgm:pt>
    <dgm:pt modelId="{CC0EBDB5-76A5-4023-A14C-D36BD4B02E82}" type="sibTrans" cxnId="{13A6CAD4-9EE6-43AD-BAF9-21AA5E0F422B}">
      <dgm:prSet/>
      <dgm:spPr/>
      <dgm:t>
        <a:bodyPr/>
        <a:lstStyle/>
        <a:p>
          <a:endParaRPr lang="en-US" noProof="0" dirty="0"/>
        </a:p>
      </dgm:t>
    </dgm:pt>
    <dgm:pt modelId="{51DED532-CB0F-4621-A76A-23D10358FD5F}">
      <dgm:prSet phldrT="[Texto]" custT="1"/>
      <dgm:spPr/>
      <dgm:t>
        <a:bodyPr/>
        <a:lstStyle/>
        <a:p>
          <a:r>
            <a:rPr lang="en-US" sz="900" noProof="0" dirty="0" smtClean="0"/>
            <a:t>Target Audiences</a:t>
          </a:r>
          <a:endParaRPr lang="en-US" sz="900" noProof="0" dirty="0"/>
        </a:p>
      </dgm:t>
    </dgm:pt>
    <dgm:pt modelId="{59F95AD0-E231-48D9-B83E-84BA0747DEE9}" type="parTrans" cxnId="{DC457B16-AAFD-40E2-90C5-9B5C4CA565EC}">
      <dgm:prSet/>
      <dgm:spPr/>
      <dgm:t>
        <a:bodyPr/>
        <a:lstStyle/>
        <a:p>
          <a:endParaRPr lang="en-US" noProof="0" dirty="0"/>
        </a:p>
      </dgm:t>
    </dgm:pt>
    <dgm:pt modelId="{088DE347-6511-42E1-9F8B-B4C778E97F2D}" type="sibTrans" cxnId="{DC457B16-AAFD-40E2-90C5-9B5C4CA565EC}">
      <dgm:prSet/>
      <dgm:spPr/>
      <dgm:t>
        <a:bodyPr/>
        <a:lstStyle/>
        <a:p>
          <a:endParaRPr lang="en-US" noProof="0" dirty="0"/>
        </a:p>
      </dgm:t>
    </dgm:pt>
    <dgm:pt modelId="{191273DC-6AB2-4EE8-911B-29CF36E048B7}">
      <dgm:prSet phldrT="[Texto]" custT="1"/>
      <dgm:spPr/>
      <dgm:t>
        <a:bodyPr/>
        <a:lstStyle/>
        <a:p>
          <a:r>
            <a:rPr lang="en-US" sz="900" noProof="0" dirty="0" smtClean="0"/>
            <a:t>Social</a:t>
          </a:r>
          <a:endParaRPr lang="en-US" sz="900" noProof="0" dirty="0"/>
        </a:p>
      </dgm:t>
    </dgm:pt>
    <dgm:pt modelId="{37E92EA2-9EFC-493C-8068-5666430AE93F}" type="parTrans" cxnId="{0DF988FF-DCF3-4AC7-A28A-1DD776474708}">
      <dgm:prSet/>
      <dgm:spPr/>
      <dgm:t>
        <a:bodyPr/>
        <a:lstStyle/>
        <a:p>
          <a:endParaRPr lang="en-US" noProof="0" dirty="0"/>
        </a:p>
      </dgm:t>
    </dgm:pt>
    <dgm:pt modelId="{E828D4D1-8F8B-49AB-8FF4-906D4EB585EF}" type="sibTrans" cxnId="{0DF988FF-DCF3-4AC7-A28A-1DD776474708}">
      <dgm:prSet/>
      <dgm:spPr/>
      <dgm:t>
        <a:bodyPr/>
        <a:lstStyle/>
        <a:p>
          <a:endParaRPr lang="en-US" noProof="0" dirty="0"/>
        </a:p>
      </dgm:t>
    </dgm:pt>
    <dgm:pt modelId="{285DB28D-DE97-4350-8ACF-2ABDDB52D25C}" type="pres">
      <dgm:prSet presAssocID="{D5B156DC-CD61-42E7-A8F8-8F6DA234B528}" presName="Name0" presStyleCnt="0">
        <dgm:presLayoutVars>
          <dgm:chMax val="1"/>
          <dgm:chPref val="1"/>
        </dgm:presLayoutVars>
      </dgm:prSet>
      <dgm:spPr/>
      <dgm:t>
        <a:bodyPr/>
        <a:lstStyle/>
        <a:p>
          <a:endParaRPr lang="en-US"/>
        </a:p>
      </dgm:t>
    </dgm:pt>
    <dgm:pt modelId="{D2A10953-0CF6-468A-8923-EFF9CF5071BA}" type="pres">
      <dgm:prSet presAssocID="{001BC250-823E-4B9E-85C9-9E17C079A234}" presName="Parent" presStyleLbl="node0" presStyleIdx="0" presStyleCnt="1" custScaleX="62047" custScaleY="60202" custLinFactNeighborX="2199" custLinFactNeighborY="-292">
        <dgm:presLayoutVars>
          <dgm:chMax val="5"/>
          <dgm:chPref val="5"/>
        </dgm:presLayoutVars>
      </dgm:prSet>
      <dgm:spPr/>
      <dgm:t>
        <a:bodyPr/>
        <a:lstStyle/>
        <a:p>
          <a:endParaRPr lang="en-US"/>
        </a:p>
      </dgm:t>
    </dgm:pt>
    <dgm:pt modelId="{2A4D50D1-381F-4465-9486-05BC9453972D}" type="pres">
      <dgm:prSet presAssocID="{001BC250-823E-4B9E-85C9-9E17C079A234}" presName="Accent1" presStyleLbl="node1" presStyleIdx="0" presStyleCnt="17"/>
      <dgm:spPr/>
      <dgm:t>
        <a:bodyPr/>
        <a:lstStyle/>
        <a:p>
          <a:endParaRPr lang="en-US"/>
        </a:p>
      </dgm:t>
    </dgm:pt>
    <dgm:pt modelId="{69C5BBA5-1CEC-4F6D-BE65-DA02DDC956AA}" type="pres">
      <dgm:prSet presAssocID="{001BC250-823E-4B9E-85C9-9E17C079A234}" presName="Accent2" presStyleLbl="node1" presStyleIdx="1" presStyleCnt="17"/>
      <dgm:spPr/>
      <dgm:t>
        <a:bodyPr/>
        <a:lstStyle/>
        <a:p>
          <a:endParaRPr lang="en-US"/>
        </a:p>
      </dgm:t>
    </dgm:pt>
    <dgm:pt modelId="{0DE1AF94-B230-43CD-8829-0A22DAE5B953}" type="pres">
      <dgm:prSet presAssocID="{001BC250-823E-4B9E-85C9-9E17C079A234}" presName="Accent3" presStyleLbl="node1" presStyleIdx="2" presStyleCnt="17"/>
      <dgm:spPr/>
      <dgm:t>
        <a:bodyPr/>
        <a:lstStyle/>
        <a:p>
          <a:endParaRPr lang="en-US"/>
        </a:p>
      </dgm:t>
    </dgm:pt>
    <dgm:pt modelId="{A7D277BA-D680-4D99-9303-D81BC4A3792A}" type="pres">
      <dgm:prSet presAssocID="{001BC250-823E-4B9E-85C9-9E17C079A234}" presName="Accent4" presStyleLbl="node1" presStyleIdx="3" presStyleCnt="17"/>
      <dgm:spPr/>
      <dgm:t>
        <a:bodyPr/>
        <a:lstStyle/>
        <a:p>
          <a:endParaRPr lang="en-US"/>
        </a:p>
      </dgm:t>
    </dgm:pt>
    <dgm:pt modelId="{5ACB329F-B140-45C8-9F73-185512944E47}" type="pres">
      <dgm:prSet presAssocID="{001BC250-823E-4B9E-85C9-9E17C079A234}" presName="Accent5" presStyleLbl="node1" presStyleIdx="4" presStyleCnt="17"/>
      <dgm:spPr/>
      <dgm:t>
        <a:bodyPr/>
        <a:lstStyle/>
        <a:p>
          <a:endParaRPr lang="en-US"/>
        </a:p>
      </dgm:t>
    </dgm:pt>
    <dgm:pt modelId="{01FE9CC8-4A7A-4A06-8239-EA88B54B1838}" type="pres">
      <dgm:prSet presAssocID="{001BC250-823E-4B9E-85C9-9E17C079A234}" presName="Accent6" presStyleLbl="node1" presStyleIdx="5" presStyleCnt="17"/>
      <dgm:spPr/>
      <dgm:t>
        <a:bodyPr/>
        <a:lstStyle/>
        <a:p>
          <a:endParaRPr lang="en-US"/>
        </a:p>
      </dgm:t>
    </dgm:pt>
    <dgm:pt modelId="{AD71D7EF-E009-44C0-ADF2-467E29C88BB5}" type="pres">
      <dgm:prSet presAssocID="{A7E068F0-8E9A-46F1-8FC5-FA08E45EAFA8}" presName="Child1" presStyleLbl="node1" presStyleIdx="6" presStyleCnt="17" custScaleX="130211" custScaleY="121666">
        <dgm:presLayoutVars>
          <dgm:chMax val="0"/>
          <dgm:chPref val="0"/>
        </dgm:presLayoutVars>
      </dgm:prSet>
      <dgm:spPr/>
      <dgm:t>
        <a:bodyPr/>
        <a:lstStyle/>
        <a:p>
          <a:endParaRPr lang="en-US"/>
        </a:p>
      </dgm:t>
    </dgm:pt>
    <dgm:pt modelId="{DC4A0DB5-0755-48E6-A33E-2F7C39E7F1C9}" type="pres">
      <dgm:prSet presAssocID="{A7E068F0-8E9A-46F1-8FC5-FA08E45EAFA8}" presName="Accent7" presStyleCnt="0"/>
      <dgm:spPr/>
      <dgm:t>
        <a:bodyPr/>
        <a:lstStyle/>
        <a:p>
          <a:endParaRPr lang="en-US"/>
        </a:p>
      </dgm:t>
    </dgm:pt>
    <dgm:pt modelId="{EDF5915B-1853-441D-B22A-D2B92603B51A}" type="pres">
      <dgm:prSet presAssocID="{A7E068F0-8E9A-46F1-8FC5-FA08E45EAFA8}" presName="AccentHold1" presStyleLbl="node1" presStyleIdx="7" presStyleCnt="17"/>
      <dgm:spPr/>
      <dgm:t>
        <a:bodyPr/>
        <a:lstStyle/>
        <a:p>
          <a:endParaRPr lang="en-US"/>
        </a:p>
      </dgm:t>
    </dgm:pt>
    <dgm:pt modelId="{5C10CF9F-8771-4491-84C0-F28E0FA48A1B}" type="pres">
      <dgm:prSet presAssocID="{A7E068F0-8E9A-46F1-8FC5-FA08E45EAFA8}" presName="Accent8" presStyleCnt="0"/>
      <dgm:spPr/>
      <dgm:t>
        <a:bodyPr/>
        <a:lstStyle/>
        <a:p>
          <a:endParaRPr lang="en-US"/>
        </a:p>
      </dgm:t>
    </dgm:pt>
    <dgm:pt modelId="{CA3C5072-6B22-4D23-8A18-DA89408DA734}" type="pres">
      <dgm:prSet presAssocID="{A7E068F0-8E9A-46F1-8FC5-FA08E45EAFA8}" presName="AccentHold2" presStyleLbl="node1" presStyleIdx="8" presStyleCnt="17"/>
      <dgm:spPr/>
      <dgm:t>
        <a:bodyPr/>
        <a:lstStyle/>
        <a:p>
          <a:endParaRPr lang="en-US"/>
        </a:p>
      </dgm:t>
    </dgm:pt>
    <dgm:pt modelId="{4F74DBC4-BDD7-492E-BBC3-B02E17015A15}" type="pres">
      <dgm:prSet presAssocID="{7EA55014-67EF-4D86-BE77-B7BAD6A42F4D}" presName="Child2" presStyleLbl="node1" presStyleIdx="9" presStyleCnt="17" custScaleX="181149">
        <dgm:presLayoutVars>
          <dgm:chMax val="0"/>
          <dgm:chPref val="0"/>
        </dgm:presLayoutVars>
      </dgm:prSet>
      <dgm:spPr/>
      <dgm:t>
        <a:bodyPr/>
        <a:lstStyle/>
        <a:p>
          <a:endParaRPr lang="en-US"/>
        </a:p>
      </dgm:t>
    </dgm:pt>
    <dgm:pt modelId="{F2FE57F9-6972-4F4A-8BE9-CE12F8139431}" type="pres">
      <dgm:prSet presAssocID="{7EA55014-67EF-4D86-BE77-B7BAD6A42F4D}" presName="Accent9" presStyleCnt="0"/>
      <dgm:spPr/>
      <dgm:t>
        <a:bodyPr/>
        <a:lstStyle/>
        <a:p>
          <a:endParaRPr lang="en-US"/>
        </a:p>
      </dgm:t>
    </dgm:pt>
    <dgm:pt modelId="{56967702-3B1A-4AC6-969F-ABF079B86961}" type="pres">
      <dgm:prSet presAssocID="{7EA55014-67EF-4D86-BE77-B7BAD6A42F4D}" presName="AccentHold1" presStyleLbl="node1" presStyleIdx="10" presStyleCnt="17"/>
      <dgm:spPr/>
      <dgm:t>
        <a:bodyPr/>
        <a:lstStyle/>
        <a:p>
          <a:endParaRPr lang="en-US"/>
        </a:p>
      </dgm:t>
    </dgm:pt>
    <dgm:pt modelId="{C8C4F763-B3F0-485A-9AFD-C0B08B02DB34}" type="pres">
      <dgm:prSet presAssocID="{7EA55014-67EF-4D86-BE77-B7BAD6A42F4D}" presName="Accent10" presStyleCnt="0"/>
      <dgm:spPr/>
      <dgm:t>
        <a:bodyPr/>
        <a:lstStyle/>
        <a:p>
          <a:endParaRPr lang="en-US"/>
        </a:p>
      </dgm:t>
    </dgm:pt>
    <dgm:pt modelId="{431A2DC7-42AC-426F-93FE-21DC1808394B}" type="pres">
      <dgm:prSet presAssocID="{7EA55014-67EF-4D86-BE77-B7BAD6A42F4D}" presName="AccentHold2" presStyleLbl="node1" presStyleIdx="11" presStyleCnt="17"/>
      <dgm:spPr/>
      <dgm:t>
        <a:bodyPr/>
        <a:lstStyle/>
        <a:p>
          <a:endParaRPr lang="en-US"/>
        </a:p>
      </dgm:t>
    </dgm:pt>
    <dgm:pt modelId="{CC2E8E07-A2FD-4D58-ADE8-5683575A18AC}" type="pres">
      <dgm:prSet presAssocID="{7EA55014-67EF-4D86-BE77-B7BAD6A42F4D}" presName="Accent11" presStyleCnt="0"/>
      <dgm:spPr/>
      <dgm:t>
        <a:bodyPr/>
        <a:lstStyle/>
        <a:p>
          <a:endParaRPr lang="en-US"/>
        </a:p>
      </dgm:t>
    </dgm:pt>
    <dgm:pt modelId="{81949C9F-4D6D-46CE-A3BB-3D439BE66781}" type="pres">
      <dgm:prSet presAssocID="{7EA55014-67EF-4D86-BE77-B7BAD6A42F4D}" presName="AccentHold3" presStyleLbl="node1" presStyleIdx="12" presStyleCnt="17"/>
      <dgm:spPr/>
      <dgm:t>
        <a:bodyPr/>
        <a:lstStyle/>
        <a:p>
          <a:endParaRPr lang="en-US"/>
        </a:p>
      </dgm:t>
    </dgm:pt>
    <dgm:pt modelId="{7C6A9444-B259-4446-9314-61302E2CC870}" type="pres">
      <dgm:prSet presAssocID="{51DED532-CB0F-4621-A76A-23D10358FD5F}" presName="Child3" presStyleLbl="node1" presStyleIdx="13" presStyleCnt="17" custScaleX="169210">
        <dgm:presLayoutVars>
          <dgm:chMax val="0"/>
          <dgm:chPref val="0"/>
        </dgm:presLayoutVars>
      </dgm:prSet>
      <dgm:spPr/>
      <dgm:t>
        <a:bodyPr/>
        <a:lstStyle/>
        <a:p>
          <a:endParaRPr lang="en-US"/>
        </a:p>
      </dgm:t>
    </dgm:pt>
    <dgm:pt modelId="{DF944765-15FF-4899-A8CD-34FBD0750064}" type="pres">
      <dgm:prSet presAssocID="{51DED532-CB0F-4621-A76A-23D10358FD5F}" presName="Accent12" presStyleCnt="0"/>
      <dgm:spPr/>
      <dgm:t>
        <a:bodyPr/>
        <a:lstStyle/>
        <a:p>
          <a:endParaRPr lang="en-US"/>
        </a:p>
      </dgm:t>
    </dgm:pt>
    <dgm:pt modelId="{A6EB2F7A-F965-4823-BF06-3C610EBC3AB1}" type="pres">
      <dgm:prSet presAssocID="{51DED532-CB0F-4621-A76A-23D10358FD5F}" presName="AccentHold1" presStyleLbl="node1" presStyleIdx="14" presStyleCnt="17"/>
      <dgm:spPr/>
      <dgm:t>
        <a:bodyPr/>
        <a:lstStyle/>
        <a:p>
          <a:endParaRPr lang="en-US"/>
        </a:p>
      </dgm:t>
    </dgm:pt>
    <dgm:pt modelId="{96ECBBC2-2C6E-4E3B-88E5-DC6351293F29}" type="pres">
      <dgm:prSet presAssocID="{191273DC-6AB2-4EE8-911B-29CF36E048B7}" presName="Child4" presStyleLbl="node1" presStyleIdx="15" presStyleCnt="17">
        <dgm:presLayoutVars>
          <dgm:chMax val="0"/>
          <dgm:chPref val="0"/>
        </dgm:presLayoutVars>
      </dgm:prSet>
      <dgm:spPr/>
      <dgm:t>
        <a:bodyPr/>
        <a:lstStyle/>
        <a:p>
          <a:endParaRPr lang="en-US"/>
        </a:p>
      </dgm:t>
    </dgm:pt>
    <dgm:pt modelId="{CD515F25-9ECD-4416-944C-314EB08D83D0}" type="pres">
      <dgm:prSet presAssocID="{191273DC-6AB2-4EE8-911B-29CF36E048B7}" presName="Accent13" presStyleCnt="0"/>
      <dgm:spPr/>
      <dgm:t>
        <a:bodyPr/>
        <a:lstStyle/>
        <a:p>
          <a:endParaRPr lang="en-US"/>
        </a:p>
      </dgm:t>
    </dgm:pt>
    <dgm:pt modelId="{8E7124B1-8005-4267-86B2-E118C3D60ABB}" type="pres">
      <dgm:prSet presAssocID="{191273DC-6AB2-4EE8-911B-29CF36E048B7}" presName="AccentHold1" presStyleLbl="node1" presStyleIdx="16" presStyleCnt="17"/>
      <dgm:spPr/>
      <dgm:t>
        <a:bodyPr/>
        <a:lstStyle/>
        <a:p>
          <a:endParaRPr lang="en-US"/>
        </a:p>
      </dgm:t>
    </dgm:pt>
  </dgm:ptLst>
  <dgm:cxnLst>
    <dgm:cxn modelId="{75341554-5ED4-4F47-B41F-FBE94C051495}" type="presOf" srcId="{7EA55014-67EF-4D86-BE77-B7BAD6A42F4D}" destId="{4F74DBC4-BDD7-492E-BBC3-B02E17015A15}" srcOrd="0" destOrd="0" presId="urn:microsoft.com/office/officeart/2009/3/layout/CircleRelationship"/>
    <dgm:cxn modelId="{3A57ABA7-7F04-47D2-A5BC-07C27FF09F57}" srcId="{001BC250-823E-4B9E-85C9-9E17C079A234}" destId="{A7E068F0-8E9A-46F1-8FC5-FA08E45EAFA8}" srcOrd="0" destOrd="0" parTransId="{784606D2-1AB8-46E5-843B-2942D20D6B13}" sibTransId="{D6D2682A-F8B8-49C5-996C-A481530E9203}"/>
    <dgm:cxn modelId="{DC457B16-AAFD-40E2-90C5-9B5C4CA565EC}" srcId="{001BC250-823E-4B9E-85C9-9E17C079A234}" destId="{51DED532-CB0F-4621-A76A-23D10358FD5F}" srcOrd="2" destOrd="0" parTransId="{59F95AD0-E231-48D9-B83E-84BA0747DEE9}" sibTransId="{088DE347-6511-42E1-9F8B-B4C778E97F2D}"/>
    <dgm:cxn modelId="{6372005C-0405-442C-81D5-9D01848D58F1}" type="presOf" srcId="{51DED532-CB0F-4621-A76A-23D10358FD5F}" destId="{7C6A9444-B259-4446-9314-61302E2CC870}" srcOrd="0" destOrd="0" presId="urn:microsoft.com/office/officeart/2009/3/layout/CircleRelationship"/>
    <dgm:cxn modelId="{0DF988FF-DCF3-4AC7-A28A-1DD776474708}" srcId="{001BC250-823E-4B9E-85C9-9E17C079A234}" destId="{191273DC-6AB2-4EE8-911B-29CF36E048B7}" srcOrd="3" destOrd="0" parTransId="{37E92EA2-9EFC-493C-8068-5666430AE93F}" sibTransId="{E828D4D1-8F8B-49AB-8FF4-906D4EB585EF}"/>
    <dgm:cxn modelId="{F5D5FC50-A56E-4134-B342-6ADA7756F5F1}" type="presOf" srcId="{191273DC-6AB2-4EE8-911B-29CF36E048B7}" destId="{96ECBBC2-2C6E-4E3B-88E5-DC6351293F29}" srcOrd="0" destOrd="0" presId="urn:microsoft.com/office/officeart/2009/3/layout/CircleRelationship"/>
    <dgm:cxn modelId="{13A6CAD4-9EE6-43AD-BAF9-21AA5E0F422B}" srcId="{001BC250-823E-4B9E-85C9-9E17C079A234}" destId="{7EA55014-67EF-4D86-BE77-B7BAD6A42F4D}" srcOrd="1" destOrd="0" parTransId="{0B340821-7DB2-4A5F-A479-1857E65FB45C}" sibTransId="{CC0EBDB5-76A5-4023-A14C-D36BD4B02E82}"/>
    <dgm:cxn modelId="{64951BEF-517B-468D-9B1D-FDEBDF53B740}" type="presOf" srcId="{D5B156DC-CD61-42E7-A8F8-8F6DA234B528}" destId="{285DB28D-DE97-4350-8ACF-2ABDDB52D25C}" srcOrd="0" destOrd="0" presId="urn:microsoft.com/office/officeart/2009/3/layout/CircleRelationship"/>
    <dgm:cxn modelId="{6CE8E047-177A-4CE6-ABD7-10DD337F7D49}" type="presOf" srcId="{001BC250-823E-4B9E-85C9-9E17C079A234}" destId="{D2A10953-0CF6-468A-8923-EFF9CF5071BA}" srcOrd="0" destOrd="0" presId="urn:microsoft.com/office/officeart/2009/3/layout/CircleRelationship"/>
    <dgm:cxn modelId="{BC58DBF6-B8DA-4C99-854C-52A5605E2B98}" type="presOf" srcId="{A7E068F0-8E9A-46F1-8FC5-FA08E45EAFA8}" destId="{AD71D7EF-E009-44C0-ADF2-467E29C88BB5}" srcOrd="0" destOrd="0" presId="urn:microsoft.com/office/officeart/2009/3/layout/CircleRelationship"/>
    <dgm:cxn modelId="{177B0BB3-55E4-4C3E-8882-6BECAA3CE439}" srcId="{D5B156DC-CD61-42E7-A8F8-8F6DA234B528}" destId="{001BC250-823E-4B9E-85C9-9E17C079A234}" srcOrd="0" destOrd="0" parTransId="{17230983-9A3B-44CA-982D-027F2E29CA53}" sibTransId="{76F9BE52-0918-4538-B6B8-1E46AC0850BC}"/>
    <dgm:cxn modelId="{71E0E262-9D37-4D1D-BB98-4AE28FF42853}" type="presParOf" srcId="{285DB28D-DE97-4350-8ACF-2ABDDB52D25C}" destId="{D2A10953-0CF6-468A-8923-EFF9CF5071BA}" srcOrd="0" destOrd="0" presId="urn:microsoft.com/office/officeart/2009/3/layout/CircleRelationship"/>
    <dgm:cxn modelId="{91C75F18-5701-4226-A23D-1301AD006DE8}" type="presParOf" srcId="{285DB28D-DE97-4350-8ACF-2ABDDB52D25C}" destId="{2A4D50D1-381F-4465-9486-05BC9453972D}" srcOrd="1" destOrd="0" presId="urn:microsoft.com/office/officeart/2009/3/layout/CircleRelationship"/>
    <dgm:cxn modelId="{59BEA5F7-0350-431F-AF4D-004B626205B1}" type="presParOf" srcId="{285DB28D-DE97-4350-8ACF-2ABDDB52D25C}" destId="{69C5BBA5-1CEC-4F6D-BE65-DA02DDC956AA}" srcOrd="2" destOrd="0" presId="urn:microsoft.com/office/officeart/2009/3/layout/CircleRelationship"/>
    <dgm:cxn modelId="{097A37CB-D72F-4C8F-A2B4-58E77DF04078}" type="presParOf" srcId="{285DB28D-DE97-4350-8ACF-2ABDDB52D25C}" destId="{0DE1AF94-B230-43CD-8829-0A22DAE5B953}" srcOrd="3" destOrd="0" presId="urn:microsoft.com/office/officeart/2009/3/layout/CircleRelationship"/>
    <dgm:cxn modelId="{8FB49B74-E46A-4C2E-B8DE-BAE2081B1F6D}" type="presParOf" srcId="{285DB28D-DE97-4350-8ACF-2ABDDB52D25C}" destId="{A7D277BA-D680-4D99-9303-D81BC4A3792A}" srcOrd="4" destOrd="0" presId="urn:microsoft.com/office/officeart/2009/3/layout/CircleRelationship"/>
    <dgm:cxn modelId="{02A9DC2E-7932-4006-BECC-F4779EC96F08}" type="presParOf" srcId="{285DB28D-DE97-4350-8ACF-2ABDDB52D25C}" destId="{5ACB329F-B140-45C8-9F73-185512944E47}" srcOrd="5" destOrd="0" presId="urn:microsoft.com/office/officeart/2009/3/layout/CircleRelationship"/>
    <dgm:cxn modelId="{C8D253E5-09B0-463D-8991-4E551C4BFE7F}" type="presParOf" srcId="{285DB28D-DE97-4350-8ACF-2ABDDB52D25C}" destId="{01FE9CC8-4A7A-4A06-8239-EA88B54B1838}" srcOrd="6" destOrd="0" presId="urn:microsoft.com/office/officeart/2009/3/layout/CircleRelationship"/>
    <dgm:cxn modelId="{FABC91EB-BA6E-4B5F-B586-2919FC340850}" type="presParOf" srcId="{285DB28D-DE97-4350-8ACF-2ABDDB52D25C}" destId="{AD71D7EF-E009-44C0-ADF2-467E29C88BB5}" srcOrd="7" destOrd="0" presId="urn:microsoft.com/office/officeart/2009/3/layout/CircleRelationship"/>
    <dgm:cxn modelId="{7A242C13-9CCF-4E0D-AB63-CEC4C453F4AF}" type="presParOf" srcId="{285DB28D-DE97-4350-8ACF-2ABDDB52D25C}" destId="{DC4A0DB5-0755-48E6-A33E-2F7C39E7F1C9}" srcOrd="8" destOrd="0" presId="urn:microsoft.com/office/officeart/2009/3/layout/CircleRelationship"/>
    <dgm:cxn modelId="{58D94EA0-9983-427B-B8FC-91856C6298C9}" type="presParOf" srcId="{DC4A0DB5-0755-48E6-A33E-2F7C39E7F1C9}" destId="{EDF5915B-1853-441D-B22A-D2B92603B51A}" srcOrd="0" destOrd="0" presId="urn:microsoft.com/office/officeart/2009/3/layout/CircleRelationship"/>
    <dgm:cxn modelId="{16F70668-7DB7-4A9B-8269-59F5ECE61D6E}" type="presParOf" srcId="{285DB28D-DE97-4350-8ACF-2ABDDB52D25C}" destId="{5C10CF9F-8771-4491-84C0-F28E0FA48A1B}" srcOrd="9" destOrd="0" presId="urn:microsoft.com/office/officeart/2009/3/layout/CircleRelationship"/>
    <dgm:cxn modelId="{5154C2FC-4F77-4F53-91F1-7FBCE7A0BE8C}" type="presParOf" srcId="{5C10CF9F-8771-4491-84C0-F28E0FA48A1B}" destId="{CA3C5072-6B22-4D23-8A18-DA89408DA734}" srcOrd="0" destOrd="0" presId="urn:microsoft.com/office/officeart/2009/3/layout/CircleRelationship"/>
    <dgm:cxn modelId="{C1AB12C3-CD99-4C6C-95D8-719A6D4815A6}" type="presParOf" srcId="{285DB28D-DE97-4350-8ACF-2ABDDB52D25C}" destId="{4F74DBC4-BDD7-492E-BBC3-B02E17015A15}" srcOrd="10" destOrd="0" presId="urn:microsoft.com/office/officeart/2009/3/layout/CircleRelationship"/>
    <dgm:cxn modelId="{962FBD99-C4C6-4296-BBCB-9681239C279B}" type="presParOf" srcId="{285DB28D-DE97-4350-8ACF-2ABDDB52D25C}" destId="{F2FE57F9-6972-4F4A-8BE9-CE12F8139431}" srcOrd="11" destOrd="0" presId="urn:microsoft.com/office/officeart/2009/3/layout/CircleRelationship"/>
    <dgm:cxn modelId="{41FE2A27-E3B8-4F49-B60F-C892E83C4F26}" type="presParOf" srcId="{F2FE57F9-6972-4F4A-8BE9-CE12F8139431}" destId="{56967702-3B1A-4AC6-969F-ABF079B86961}" srcOrd="0" destOrd="0" presId="urn:microsoft.com/office/officeart/2009/3/layout/CircleRelationship"/>
    <dgm:cxn modelId="{62C57D11-2A11-4AE9-A48E-2ED5A5241D93}" type="presParOf" srcId="{285DB28D-DE97-4350-8ACF-2ABDDB52D25C}" destId="{C8C4F763-B3F0-485A-9AFD-C0B08B02DB34}" srcOrd="12" destOrd="0" presId="urn:microsoft.com/office/officeart/2009/3/layout/CircleRelationship"/>
    <dgm:cxn modelId="{7D8F54E4-6507-421C-AFD4-CA0E070F4501}" type="presParOf" srcId="{C8C4F763-B3F0-485A-9AFD-C0B08B02DB34}" destId="{431A2DC7-42AC-426F-93FE-21DC1808394B}" srcOrd="0" destOrd="0" presId="urn:microsoft.com/office/officeart/2009/3/layout/CircleRelationship"/>
    <dgm:cxn modelId="{EF389F30-0018-4EE0-8DDB-42C2158244F4}" type="presParOf" srcId="{285DB28D-DE97-4350-8ACF-2ABDDB52D25C}" destId="{CC2E8E07-A2FD-4D58-ADE8-5683575A18AC}" srcOrd="13" destOrd="0" presId="urn:microsoft.com/office/officeart/2009/3/layout/CircleRelationship"/>
    <dgm:cxn modelId="{A52AA5BD-3848-4912-8C57-ECF136326629}" type="presParOf" srcId="{CC2E8E07-A2FD-4D58-ADE8-5683575A18AC}" destId="{81949C9F-4D6D-46CE-A3BB-3D439BE66781}" srcOrd="0" destOrd="0" presId="urn:microsoft.com/office/officeart/2009/3/layout/CircleRelationship"/>
    <dgm:cxn modelId="{4CBD73B1-A84E-4282-96FD-497D5C078BB0}" type="presParOf" srcId="{285DB28D-DE97-4350-8ACF-2ABDDB52D25C}" destId="{7C6A9444-B259-4446-9314-61302E2CC870}" srcOrd="14" destOrd="0" presId="urn:microsoft.com/office/officeart/2009/3/layout/CircleRelationship"/>
    <dgm:cxn modelId="{C197E45D-002E-4AC4-867D-BF7CD3CB6FF1}" type="presParOf" srcId="{285DB28D-DE97-4350-8ACF-2ABDDB52D25C}" destId="{DF944765-15FF-4899-A8CD-34FBD0750064}" srcOrd="15" destOrd="0" presId="urn:microsoft.com/office/officeart/2009/3/layout/CircleRelationship"/>
    <dgm:cxn modelId="{D1289468-0D57-4CA8-B4DF-61E42A99B6AA}" type="presParOf" srcId="{DF944765-15FF-4899-A8CD-34FBD0750064}" destId="{A6EB2F7A-F965-4823-BF06-3C610EBC3AB1}" srcOrd="0" destOrd="0" presId="urn:microsoft.com/office/officeart/2009/3/layout/CircleRelationship"/>
    <dgm:cxn modelId="{3FDB3538-2F8E-4601-A0B3-88115200245A}" type="presParOf" srcId="{285DB28D-DE97-4350-8ACF-2ABDDB52D25C}" destId="{96ECBBC2-2C6E-4E3B-88E5-DC6351293F29}" srcOrd="16" destOrd="0" presId="urn:microsoft.com/office/officeart/2009/3/layout/CircleRelationship"/>
    <dgm:cxn modelId="{3B239AC3-BE37-4CAD-A2AA-2837F6802B8B}" type="presParOf" srcId="{285DB28D-DE97-4350-8ACF-2ABDDB52D25C}" destId="{CD515F25-9ECD-4416-944C-314EB08D83D0}" srcOrd="17" destOrd="0" presId="urn:microsoft.com/office/officeart/2009/3/layout/CircleRelationship"/>
    <dgm:cxn modelId="{F78CCFD8-ED8D-4D6B-9970-AE931837D095}" type="presParOf" srcId="{CD515F25-9ECD-4416-944C-314EB08D83D0}" destId="{8E7124B1-8005-4267-86B2-E118C3D60ABB}" srcOrd="0" destOrd="0" presId="urn:microsoft.com/office/officeart/2009/3/layout/CircleRelationship"/>
  </dgm:cxnLst>
  <dgm:bg/>
  <dgm:whole/>
  <dgm:extLst>
    <a:ext uri="http://schemas.microsoft.com/office/drawing/2008/diagram">
      <dsp:dataModelExt xmlns:dsp="http://schemas.microsoft.com/office/drawing/2008/diagram" relId="rId4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5B156DC-CD61-42E7-A8F8-8F6DA234B528}" type="doc">
      <dgm:prSet loTypeId="urn:microsoft.com/office/officeart/2009/3/layout/CircleRelationship" loCatId="relationship" qsTypeId="urn:microsoft.com/office/officeart/2005/8/quickstyle/simple1" qsCatId="simple" csTypeId="urn:microsoft.com/office/officeart/2005/8/colors/accent0_1" csCatId="mainScheme" phldr="1"/>
      <dgm:spPr/>
      <dgm:t>
        <a:bodyPr/>
        <a:lstStyle/>
        <a:p>
          <a:endParaRPr lang="en-US"/>
        </a:p>
      </dgm:t>
    </dgm:pt>
    <dgm:pt modelId="{001BC250-823E-4B9E-85C9-9E17C079A234}">
      <dgm:prSet phldrT="[Texto]"/>
      <dgm:spPr/>
      <dgm:t>
        <a:bodyPr/>
        <a:lstStyle/>
        <a:p>
          <a:r>
            <a:rPr lang="es-CL" dirty="0" err="1" smtClean="0"/>
            <a:t>Biotech</a:t>
          </a:r>
          <a:r>
            <a:rPr lang="es-CL" dirty="0" smtClean="0"/>
            <a:t> </a:t>
          </a:r>
          <a:r>
            <a:rPr lang="es-CL" dirty="0" err="1" smtClean="0"/>
            <a:t>Association</a:t>
          </a:r>
          <a:endParaRPr lang="en-US" dirty="0"/>
        </a:p>
      </dgm:t>
    </dgm:pt>
    <dgm:pt modelId="{17230983-9A3B-44CA-982D-027F2E29CA53}" type="parTrans" cxnId="{177B0BB3-55E4-4C3E-8882-6BECAA3CE439}">
      <dgm:prSet/>
      <dgm:spPr/>
      <dgm:t>
        <a:bodyPr/>
        <a:lstStyle/>
        <a:p>
          <a:endParaRPr lang="en-US"/>
        </a:p>
      </dgm:t>
    </dgm:pt>
    <dgm:pt modelId="{76F9BE52-0918-4538-B6B8-1E46AC0850BC}" type="sibTrans" cxnId="{177B0BB3-55E4-4C3E-8882-6BECAA3CE439}">
      <dgm:prSet/>
      <dgm:spPr/>
      <dgm:t>
        <a:bodyPr/>
        <a:lstStyle/>
        <a:p>
          <a:endParaRPr lang="en-US"/>
        </a:p>
      </dgm:t>
    </dgm:pt>
    <dgm:pt modelId="{285DB28D-DE97-4350-8ACF-2ABDDB52D25C}" type="pres">
      <dgm:prSet presAssocID="{D5B156DC-CD61-42E7-A8F8-8F6DA234B528}" presName="Name0" presStyleCnt="0">
        <dgm:presLayoutVars>
          <dgm:chMax val="1"/>
          <dgm:chPref val="1"/>
        </dgm:presLayoutVars>
      </dgm:prSet>
      <dgm:spPr/>
      <dgm:t>
        <a:bodyPr/>
        <a:lstStyle/>
        <a:p>
          <a:endParaRPr lang="en-US"/>
        </a:p>
      </dgm:t>
    </dgm:pt>
    <dgm:pt modelId="{D2A10953-0CF6-468A-8923-EFF9CF5071BA}" type="pres">
      <dgm:prSet presAssocID="{001BC250-823E-4B9E-85C9-9E17C079A234}" presName="Parent" presStyleLbl="node0" presStyleIdx="0" presStyleCnt="1" custScaleX="62047" custScaleY="60202">
        <dgm:presLayoutVars>
          <dgm:chMax val="5"/>
          <dgm:chPref val="5"/>
        </dgm:presLayoutVars>
      </dgm:prSet>
      <dgm:spPr/>
      <dgm:t>
        <a:bodyPr/>
        <a:lstStyle/>
        <a:p>
          <a:endParaRPr lang="en-US"/>
        </a:p>
      </dgm:t>
    </dgm:pt>
    <dgm:pt modelId="{2A4D50D1-381F-4465-9486-05BC9453972D}" type="pres">
      <dgm:prSet presAssocID="{001BC250-823E-4B9E-85C9-9E17C079A234}" presName="Accent1" presStyleLbl="node1" presStyleIdx="0" presStyleCnt="6"/>
      <dgm:spPr/>
      <dgm:t>
        <a:bodyPr/>
        <a:lstStyle/>
        <a:p>
          <a:endParaRPr lang="en-US"/>
        </a:p>
      </dgm:t>
    </dgm:pt>
    <dgm:pt modelId="{69C5BBA5-1CEC-4F6D-BE65-DA02DDC956AA}" type="pres">
      <dgm:prSet presAssocID="{001BC250-823E-4B9E-85C9-9E17C079A234}" presName="Accent2" presStyleLbl="node1" presStyleIdx="1" presStyleCnt="6"/>
      <dgm:spPr/>
      <dgm:t>
        <a:bodyPr/>
        <a:lstStyle/>
        <a:p>
          <a:endParaRPr lang="en-US"/>
        </a:p>
      </dgm:t>
    </dgm:pt>
    <dgm:pt modelId="{0DE1AF94-B230-43CD-8829-0A22DAE5B953}" type="pres">
      <dgm:prSet presAssocID="{001BC250-823E-4B9E-85C9-9E17C079A234}" presName="Accent3" presStyleLbl="node1" presStyleIdx="2" presStyleCnt="6"/>
      <dgm:spPr/>
      <dgm:t>
        <a:bodyPr/>
        <a:lstStyle/>
        <a:p>
          <a:endParaRPr lang="en-US"/>
        </a:p>
      </dgm:t>
    </dgm:pt>
    <dgm:pt modelId="{A7D277BA-D680-4D99-9303-D81BC4A3792A}" type="pres">
      <dgm:prSet presAssocID="{001BC250-823E-4B9E-85C9-9E17C079A234}" presName="Accent4" presStyleLbl="node1" presStyleIdx="3" presStyleCnt="6"/>
      <dgm:spPr/>
      <dgm:t>
        <a:bodyPr/>
        <a:lstStyle/>
        <a:p>
          <a:endParaRPr lang="en-US"/>
        </a:p>
      </dgm:t>
    </dgm:pt>
    <dgm:pt modelId="{5ACB329F-B140-45C8-9F73-185512944E47}" type="pres">
      <dgm:prSet presAssocID="{001BC250-823E-4B9E-85C9-9E17C079A234}" presName="Accent5" presStyleLbl="node1" presStyleIdx="4" presStyleCnt="6"/>
      <dgm:spPr/>
      <dgm:t>
        <a:bodyPr/>
        <a:lstStyle/>
        <a:p>
          <a:endParaRPr lang="en-US"/>
        </a:p>
      </dgm:t>
    </dgm:pt>
    <dgm:pt modelId="{01FE9CC8-4A7A-4A06-8239-EA88B54B1838}" type="pres">
      <dgm:prSet presAssocID="{001BC250-823E-4B9E-85C9-9E17C079A234}" presName="Accent6" presStyleLbl="node1" presStyleIdx="5" presStyleCnt="6"/>
      <dgm:spPr/>
      <dgm:t>
        <a:bodyPr/>
        <a:lstStyle/>
        <a:p>
          <a:endParaRPr lang="en-US"/>
        </a:p>
      </dgm:t>
    </dgm:pt>
  </dgm:ptLst>
  <dgm:cxnLst>
    <dgm:cxn modelId="{177B0BB3-55E4-4C3E-8882-6BECAA3CE439}" srcId="{D5B156DC-CD61-42E7-A8F8-8F6DA234B528}" destId="{001BC250-823E-4B9E-85C9-9E17C079A234}" srcOrd="0" destOrd="0" parTransId="{17230983-9A3B-44CA-982D-027F2E29CA53}" sibTransId="{76F9BE52-0918-4538-B6B8-1E46AC0850BC}"/>
    <dgm:cxn modelId="{BF58E1F7-4BBF-4DC9-ADC8-FA736647BAA6}" type="presOf" srcId="{001BC250-823E-4B9E-85C9-9E17C079A234}" destId="{D2A10953-0CF6-468A-8923-EFF9CF5071BA}" srcOrd="0" destOrd="0" presId="urn:microsoft.com/office/officeart/2009/3/layout/CircleRelationship"/>
    <dgm:cxn modelId="{F4BF88B2-1033-4A2A-800B-9A3C74469529}" type="presOf" srcId="{D5B156DC-CD61-42E7-A8F8-8F6DA234B528}" destId="{285DB28D-DE97-4350-8ACF-2ABDDB52D25C}" srcOrd="0" destOrd="0" presId="urn:microsoft.com/office/officeart/2009/3/layout/CircleRelationship"/>
    <dgm:cxn modelId="{D6C37B50-0F53-455B-88E6-5EAB07C7B8E4}" type="presParOf" srcId="{285DB28D-DE97-4350-8ACF-2ABDDB52D25C}" destId="{D2A10953-0CF6-468A-8923-EFF9CF5071BA}" srcOrd="0" destOrd="0" presId="urn:microsoft.com/office/officeart/2009/3/layout/CircleRelationship"/>
    <dgm:cxn modelId="{3A3891A0-1844-452A-A8FC-81FF7F964734}" type="presParOf" srcId="{285DB28D-DE97-4350-8ACF-2ABDDB52D25C}" destId="{2A4D50D1-381F-4465-9486-05BC9453972D}" srcOrd="1" destOrd="0" presId="urn:microsoft.com/office/officeart/2009/3/layout/CircleRelationship"/>
    <dgm:cxn modelId="{8988FBB9-3475-4EB4-8188-CDB764EFC41E}" type="presParOf" srcId="{285DB28D-DE97-4350-8ACF-2ABDDB52D25C}" destId="{69C5BBA5-1CEC-4F6D-BE65-DA02DDC956AA}" srcOrd="2" destOrd="0" presId="urn:microsoft.com/office/officeart/2009/3/layout/CircleRelationship"/>
    <dgm:cxn modelId="{DBBD72D7-A5D9-49BC-B3D4-185F09D8ADA0}" type="presParOf" srcId="{285DB28D-DE97-4350-8ACF-2ABDDB52D25C}" destId="{0DE1AF94-B230-43CD-8829-0A22DAE5B953}" srcOrd="3" destOrd="0" presId="urn:microsoft.com/office/officeart/2009/3/layout/CircleRelationship"/>
    <dgm:cxn modelId="{5D8F0F09-B427-4F24-A0E0-C64CBFB89C43}" type="presParOf" srcId="{285DB28D-DE97-4350-8ACF-2ABDDB52D25C}" destId="{A7D277BA-D680-4D99-9303-D81BC4A3792A}" srcOrd="4" destOrd="0" presId="urn:microsoft.com/office/officeart/2009/3/layout/CircleRelationship"/>
    <dgm:cxn modelId="{B191C508-870D-481C-9FEF-2081578BCB61}" type="presParOf" srcId="{285DB28D-DE97-4350-8ACF-2ABDDB52D25C}" destId="{5ACB329F-B140-45C8-9F73-185512944E47}" srcOrd="5" destOrd="0" presId="urn:microsoft.com/office/officeart/2009/3/layout/CircleRelationship"/>
    <dgm:cxn modelId="{E417E2CD-3473-43E8-9837-231A183771AB}" type="presParOf" srcId="{285DB28D-DE97-4350-8ACF-2ABDDB52D25C}" destId="{01FE9CC8-4A7A-4A06-8239-EA88B54B1838}" srcOrd="6" destOrd="0" presId="urn:microsoft.com/office/officeart/2009/3/layout/CircleRelationship"/>
  </dgm:cxnLst>
  <dgm:bg/>
  <dgm:whole/>
  <dgm:extLst>
    <a:ext uri="http://schemas.microsoft.com/office/drawing/2008/diagram">
      <dsp:dataModelExt xmlns:dsp="http://schemas.microsoft.com/office/drawing/2008/diagram" relId="rId4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8500E8-5D22-49DF-A219-0A13E583EBF5}">
      <dsp:nvSpPr>
        <dsp:cNvPr id="0" name=""/>
        <dsp:cNvSpPr/>
      </dsp:nvSpPr>
      <dsp:spPr>
        <a:xfrm>
          <a:off x="1125682" y="1021208"/>
          <a:ext cx="989726" cy="798276"/>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US" sz="1050" kern="1200" noProof="0" dirty="0" smtClean="0"/>
            <a:t>Academia</a:t>
          </a:r>
          <a:endParaRPr lang="en-US" sz="1050" kern="1200" noProof="0" dirty="0"/>
        </a:p>
      </dsp:txBody>
      <dsp:txXfrm>
        <a:off x="1270624" y="1138113"/>
        <a:ext cx="699842" cy="564466"/>
      </dsp:txXfrm>
    </dsp:sp>
    <dsp:sp modelId="{AA3FBAD9-289C-493E-A0D4-D55F6CF47F2F}">
      <dsp:nvSpPr>
        <dsp:cNvPr id="0" name=""/>
        <dsp:cNvSpPr/>
      </dsp:nvSpPr>
      <dsp:spPr>
        <a:xfrm rot="16200000">
          <a:off x="1463591" y="841051"/>
          <a:ext cx="313908" cy="46406"/>
        </a:xfrm>
        <a:custGeom>
          <a:avLst/>
          <a:gdLst/>
          <a:ahLst/>
          <a:cxnLst/>
          <a:rect l="0" t="0" r="0" b="0"/>
          <a:pathLst>
            <a:path>
              <a:moveTo>
                <a:pt x="0" y="23203"/>
              </a:moveTo>
              <a:lnTo>
                <a:pt x="313908" y="23203"/>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noProof="0" dirty="0"/>
        </a:p>
      </dsp:txBody>
      <dsp:txXfrm>
        <a:off x="1612697" y="856406"/>
        <a:ext cx="15695" cy="15695"/>
      </dsp:txXfrm>
    </dsp:sp>
    <dsp:sp modelId="{C5E15262-C4BD-4FFE-8E01-596D70BA91BC}">
      <dsp:nvSpPr>
        <dsp:cNvPr id="0" name=""/>
        <dsp:cNvSpPr/>
      </dsp:nvSpPr>
      <dsp:spPr>
        <a:xfrm>
          <a:off x="1172736" y="56074"/>
          <a:ext cx="895617" cy="651225"/>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US" sz="1050" kern="1200" noProof="0" dirty="0" smtClean="0"/>
            <a:t>Med / </a:t>
          </a:r>
          <a:r>
            <a:rPr lang="en-US" sz="1050" kern="1200" noProof="0" dirty="0" err="1" smtClean="0"/>
            <a:t>Ing</a:t>
          </a:r>
          <a:r>
            <a:rPr lang="en-US" sz="1050" kern="1200" noProof="0" dirty="0" smtClean="0"/>
            <a:t> Faculties</a:t>
          </a:r>
          <a:endParaRPr lang="en-US" sz="1050" kern="1200" noProof="0" dirty="0"/>
        </a:p>
      </dsp:txBody>
      <dsp:txXfrm>
        <a:off x="1303896" y="151444"/>
        <a:ext cx="633297" cy="460485"/>
      </dsp:txXfrm>
    </dsp:sp>
    <dsp:sp modelId="{7904F5FB-A4BE-41A0-9A1C-C1E2DD8302E6}">
      <dsp:nvSpPr>
        <dsp:cNvPr id="0" name=""/>
        <dsp:cNvSpPr/>
      </dsp:nvSpPr>
      <dsp:spPr>
        <a:xfrm>
          <a:off x="2115409" y="1397143"/>
          <a:ext cx="164060" cy="46406"/>
        </a:xfrm>
        <a:custGeom>
          <a:avLst/>
          <a:gdLst/>
          <a:ahLst/>
          <a:cxnLst/>
          <a:rect l="0" t="0" r="0" b="0"/>
          <a:pathLst>
            <a:path>
              <a:moveTo>
                <a:pt x="0" y="23203"/>
              </a:moveTo>
              <a:lnTo>
                <a:pt x="164060" y="23203"/>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noProof="0" dirty="0"/>
        </a:p>
      </dsp:txBody>
      <dsp:txXfrm>
        <a:off x="2193337" y="1416245"/>
        <a:ext cx="8203" cy="8203"/>
      </dsp:txXfrm>
    </dsp:sp>
    <dsp:sp modelId="{EF254C89-10AF-4C55-A359-54252E587020}">
      <dsp:nvSpPr>
        <dsp:cNvPr id="0" name=""/>
        <dsp:cNvSpPr/>
      </dsp:nvSpPr>
      <dsp:spPr>
        <a:xfrm>
          <a:off x="2279469" y="1023543"/>
          <a:ext cx="759471" cy="793606"/>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US" sz="1050" kern="1200" noProof="0" dirty="0" smtClean="0"/>
            <a:t>Ad. Board </a:t>
          </a:r>
          <a:r>
            <a:rPr lang="en-US" sz="1050" kern="1200" noProof="0" dirty="0" err="1" smtClean="0"/>
            <a:t>MoH</a:t>
          </a:r>
          <a:endParaRPr lang="en-US" sz="1050" kern="1200" noProof="0" dirty="0"/>
        </a:p>
      </dsp:txBody>
      <dsp:txXfrm>
        <a:off x="2390691" y="1139764"/>
        <a:ext cx="537027" cy="561164"/>
      </dsp:txXfrm>
    </dsp:sp>
    <dsp:sp modelId="{491E0E00-D07E-4F99-B3EC-8FE113B8F42E}">
      <dsp:nvSpPr>
        <dsp:cNvPr id="0" name=""/>
        <dsp:cNvSpPr/>
      </dsp:nvSpPr>
      <dsp:spPr>
        <a:xfrm rot="5400000">
          <a:off x="1483404" y="1933422"/>
          <a:ext cx="274282" cy="46406"/>
        </a:xfrm>
        <a:custGeom>
          <a:avLst/>
          <a:gdLst/>
          <a:ahLst/>
          <a:cxnLst/>
          <a:rect l="0" t="0" r="0" b="0"/>
          <a:pathLst>
            <a:path>
              <a:moveTo>
                <a:pt x="0" y="23203"/>
              </a:moveTo>
              <a:lnTo>
                <a:pt x="274282" y="23203"/>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noProof="0" dirty="0"/>
        </a:p>
      </dsp:txBody>
      <dsp:txXfrm>
        <a:off x="1613688" y="1949768"/>
        <a:ext cx="13714" cy="13714"/>
      </dsp:txXfrm>
    </dsp:sp>
    <dsp:sp modelId="{39974301-2281-44A2-9F42-3A45B499F1B3}">
      <dsp:nvSpPr>
        <dsp:cNvPr id="0" name=""/>
        <dsp:cNvSpPr/>
      </dsp:nvSpPr>
      <dsp:spPr>
        <a:xfrm>
          <a:off x="1162195" y="2093767"/>
          <a:ext cx="916700" cy="730478"/>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s-CL" sz="1050" kern="1200" noProof="0" dirty="0" smtClean="0"/>
            <a:t>Hospitales</a:t>
          </a:r>
          <a:endParaRPr lang="en-US" sz="1050" kern="1200" noProof="0" dirty="0"/>
        </a:p>
      </dsp:txBody>
      <dsp:txXfrm>
        <a:off x="1296443" y="2200743"/>
        <a:ext cx="648204" cy="516526"/>
      </dsp:txXfrm>
    </dsp:sp>
    <dsp:sp modelId="{2BB32115-886F-4A46-A053-E76E40530C55}">
      <dsp:nvSpPr>
        <dsp:cNvPr id="0" name=""/>
        <dsp:cNvSpPr/>
      </dsp:nvSpPr>
      <dsp:spPr>
        <a:xfrm rot="12167307">
          <a:off x="1013323" y="1178830"/>
          <a:ext cx="175166" cy="46406"/>
        </a:xfrm>
        <a:custGeom>
          <a:avLst/>
          <a:gdLst/>
          <a:ahLst/>
          <a:cxnLst/>
          <a:rect l="0" t="0" r="0" b="0"/>
          <a:pathLst>
            <a:path>
              <a:moveTo>
                <a:pt x="0" y="23203"/>
              </a:moveTo>
              <a:lnTo>
                <a:pt x="175166" y="23203"/>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rot="10800000">
        <a:off x="1096527" y="1197654"/>
        <a:ext cx="8758" cy="8758"/>
      </dsp:txXfrm>
    </dsp:sp>
    <dsp:sp modelId="{06B7C48B-836C-4DBD-A81C-D2EBAE5FFFA8}">
      <dsp:nvSpPr>
        <dsp:cNvPr id="0" name=""/>
        <dsp:cNvSpPr/>
      </dsp:nvSpPr>
      <dsp:spPr>
        <a:xfrm>
          <a:off x="36515" y="576067"/>
          <a:ext cx="1048966" cy="798276"/>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s-CL" sz="1050" kern="1200" noProof="0" dirty="0" err="1" smtClean="0"/>
            <a:t>Universities</a:t>
          </a:r>
          <a:endParaRPr lang="en-US" sz="1050" kern="1200" noProof="0" dirty="0"/>
        </a:p>
      </dsp:txBody>
      <dsp:txXfrm>
        <a:off x="190133" y="692972"/>
        <a:ext cx="741730" cy="5644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A44D97-B2B0-416B-A3A0-E18142E884A8}">
      <dsp:nvSpPr>
        <dsp:cNvPr id="0" name=""/>
        <dsp:cNvSpPr/>
      </dsp:nvSpPr>
      <dsp:spPr>
        <a:xfrm>
          <a:off x="1318798" y="909275"/>
          <a:ext cx="684015" cy="684015"/>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en-US" sz="900" kern="1200" noProof="0" dirty="0" smtClean="0"/>
            <a:t>Pro. Bodies</a:t>
          </a:r>
          <a:endParaRPr lang="en-US" sz="900" kern="1200" noProof="0" dirty="0"/>
        </a:p>
      </dsp:txBody>
      <dsp:txXfrm>
        <a:off x="1418970" y="1009447"/>
        <a:ext cx="483671" cy="483671"/>
      </dsp:txXfrm>
    </dsp:sp>
    <dsp:sp modelId="{C1173578-73AA-46D3-B6BC-3FBB701A3F1C}">
      <dsp:nvSpPr>
        <dsp:cNvPr id="0" name=""/>
        <dsp:cNvSpPr/>
      </dsp:nvSpPr>
      <dsp:spPr>
        <a:xfrm rot="13627848">
          <a:off x="1033284" y="809610"/>
          <a:ext cx="469962" cy="37584"/>
        </a:xfrm>
        <a:custGeom>
          <a:avLst/>
          <a:gdLst/>
          <a:ahLst/>
          <a:cxnLst/>
          <a:rect l="0" t="0" r="0" b="0"/>
          <a:pathLst>
            <a:path>
              <a:moveTo>
                <a:pt x="0" y="18792"/>
              </a:moveTo>
              <a:lnTo>
                <a:pt x="469962" y="18792"/>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noProof="0" dirty="0"/>
        </a:p>
      </dsp:txBody>
      <dsp:txXfrm rot="10800000">
        <a:off x="1256516" y="816653"/>
        <a:ext cx="23498" cy="23498"/>
      </dsp:txXfrm>
    </dsp:sp>
    <dsp:sp modelId="{30B5D53E-F026-4302-B975-6DA2B7B07CF6}">
      <dsp:nvSpPr>
        <dsp:cNvPr id="0" name=""/>
        <dsp:cNvSpPr/>
      </dsp:nvSpPr>
      <dsp:spPr>
        <a:xfrm>
          <a:off x="347413" y="0"/>
          <a:ext cx="971609" cy="719461"/>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en-US" sz="900" kern="1200" noProof="0" dirty="0" smtClean="0"/>
            <a:t>Scientific Associations</a:t>
          </a:r>
          <a:endParaRPr lang="en-US" sz="900" kern="1200" noProof="0" dirty="0"/>
        </a:p>
      </dsp:txBody>
      <dsp:txXfrm>
        <a:off x="489702" y="105363"/>
        <a:ext cx="687031" cy="508735"/>
      </dsp:txXfrm>
    </dsp:sp>
    <dsp:sp modelId="{BB095157-E600-4E3B-B4B4-BF5193D9315E}">
      <dsp:nvSpPr>
        <dsp:cNvPr id="0" name=""/>
        <dsp:cNvSpPr/>
      </dsp:nvSpPr>
      <dsp:spPr>
        <a:xfrm>
          <a:off x="2002814" y="1232490"/>
          <a:ext cx="206106" cy="37584"/>
        </a:xfrm>
        <a:custGeom>
          <a:avLst/>
          <a:gdLst/>
          <a:ahLst/>
          <a:cxnLst/>
          <a:rect l="0" t="0" r="0" b="0"/>
          <a:pathLst>
            <a:path>
              <a:moveTo>
                <a:pt x="0" y="18792"/>
              </a:moveTo>
              <a:lnTo>
                <a:pt x="206106" y="18792"/>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noProof="0" dirty="0"/>
        </a:p>
      </dsp:txBody>
      <dsp:txXfrm>
        <a:off x="2100714" y="1246130"/>
        <a:ext cx="10305" cy="10305"/>
      </dsp:txXfrm>
    </dsp:sp>
    <dsp:sp modelId="{24EDDF24-82EB-49F5-A073-260051276F9D}">
      <dsp:nvSpPr>
        <dsp:cNvPr id="0" name=""/>
        <dsp:cNvSpPr/>
      </dsp:nvSpPr>
      <dsp:spPr>
        <a:xfrm>
          <a:off x="2208920" y="909275"/>
          <a:ext cx="684015" cy="684015"/>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en-US" sz="900" kern="1200" noProof="0" dirty="0" smtClean="0"/>
            <a:t>CIF</a:t>
          </a:r>
          <a:endParaRPr lang="en-US" sz="900" kern="1200" noProof="0" dirty="0"/>
        </a:p>
      </dsp:txBody>
      <dsp:txXfrm>
        <a:off x="2309092" y="1009447"/>
        <a:ext cx="483671" cy="483671"/>
      </dsp:txXfrm>
    </dsp:sp>
    <dsp:sp modelId="{6D8C9AD8-9139-4115-BC3C-5776E97DE8FE}">
      <dsp:nvSpPr>
        <dsp:cNvPr id="0" name=""/>
        <dsp:cNvSpPr/>
      </dsp:nvSpPr>
      <dsp:spPr>
        <a:xfrm rot="5400000">
          <a:off x="1557753" y="1677551"/>
          <a:ext cx="206106" cy="37584"/>
        </a:xfrm>
        <a:custGeom>
          <a:avLst/>
          <a:gdLst/>
          <a:ahLst/>
          <a:cxnLst/>
          <a:rect l="0" t="0" r="0" b="0"/>
          <a:pathLst>
            <a:path>
              <a:moveTo>
                <a:pt x="0" y="18792"/>
              </a:moveTo>
              <a:lnTo>
                <a:pt x="206106" y="18792"/>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noProof="0" dirty="0"/>
        </a:p>
      </dsp:txBody>
      <dsp:txXfrm>
        <a:off x="1655653" y="1691191"/>
        <a:ext cx="10305" cy="10305"/>
      </dsp:txXfrm>
    </dsp:sp>
    <dsp:sp modelId="{5E9A33A2-B0E1-4755-8705-0A5FC015CF8E}">
      <dsp:nvSpPr>
        <dsp:cNvPr id="0" name=""/>
        <dsp:cNvSpPr/>
      </dsp:nvSpPr>
      <dsp:spPr>
        <a:xfrm>
          <a:off x="1318798" y="1799397"/>
          <a:ext cx="684015" cy="684015"/>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en-US" sz="900" kern="1200" noProof="0" dirty="0" smtClean="0"/>
            <a:t>US Embassy</a:t>
          </a:r>
          <a:endParaRPr lang="en-US" sz="900" kern="1200" noProof="0" dirty="0"/>
        </a:p>
      </dsp:txBody>
      <dsp:txXfrm>
        <a:off x="1418970" y="1899569"/>
        <a:ext cx="483671" cy="483671"/>
      </dsp:txXfrm>
    </dsp:sp>
    <dsp:sp modelId="{F5645C2C-C000-494C-A8E8-E104277BA839}">
      <dsp:nvSpPr>
        <dsp:cNvPr id="0" name=""/>
        <dsp:cNvSpPr/>
      </dsp:nvSpPr>
      <dsp:spPr>
        <a:xfrm rot="10800000">
          <a:off x="1158449" y="1232490"/>
          <a:ext cx="160349" cy="37584"/>
        </a:xfrm>
        <a:custGeom>
          <a:avLst/>
          <a:gdLst/>
          <a:ahLst/>
          <a:cxnLst/>
          <a:rect l="0" t="0" r="0" b="0"/>
          <a:pathLst>
            <a:path>
              <a:moveTo>
                <a:pt x="0" y="18792"/>
              </a:moveTo>
              <a:lnTo>
                <a:pt x="160349" y="18792"/>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noProof="0" dirty="0"/>
        </a:p>
      </dsp:txBody>
      <dsp:txXfrm rot="10800000">
        <a:off x="1234615" y="1247274"/>
        <a:ext cx="8017" cy="8017"/>
      </dsp:txXfrm>
    </dsp:sp>
    <dsp:sp modelId="{FED36B09-494C-4081-A71C-38F6CCE6CEEB}">
      <dsp:nvSpPr>
        <dsp:cNvPr id="0" name=""/>
        <dsp:cNvSpPr/>
      </dsp:nvSpPr>
      <dsp:spPr>
        <a:xfrm>
          <a:off x="382919" y="909275"/>
          <a:ext cx="775529" cy="684015"/>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en-US" sz="900" kern="1200" noProof="0" dirty="0" err="1" smtClean="0"/>
            <a:t>AmCham</a:t>
          </a:r>
          <a:endParaRPr lang="en-US" sz="900" kern="1200" noProof="0" dirty="0"/>
        </a:p>
      </dsp:txBody>
      <dsp:txXfrm>
        <a:off x="496493" y="1009447"/>
        <a:ext cx="548381" cy="48367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7ED0B4-4F7A-4A3B-B9F5-3391AC8ADCBA}">
      <dsp:nvSpPr>
        <dsp:cNvPr id="0" name=""/>
        <dsp:cNvSpPr/>
      </dsp:nvSpPr>
      <dsp:spPr>
        <a:xfrm>
          <a:off x="997665" y="971017"/>
          <a:ext cx="956997" cy="738036"/>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en-US" sz="900" kern="1200" noProof="0" dirty="0" smtClean="0"/>
            <a:t>Government</a:t>
          </a:r>
          <a:endParaRPr lang="en-US" sz="900" kern="1200" noProof="0" dirty="0"/>
        </a:p>
      </dsp:txBody>
      <dsp:txXfrm>
        <a:off x="1137814" y="1079100"/>
        <a:ext cx="676699" cy="521870"/>
      </dsp:txXfrm>
    </dsp:sp>
    <dsp:sp modelId="{9FF49026-EB2E-4148-98C6-6DF3B27F0827}">
      <dsp:nvSpPr>
        <dsp:cNvPr id="0" name=""/>
        <dsp:cNvSpPr/>
      </dsp:nvSpPr>
      <dsp:spPr>
        <a:xfrm rot="16200000">
          <a:off x="1364580" y="836935"/>
          <a:ext cx="223166" cy="44997"/>
        </a:xfrm>
        <a:custGeom>
          <a:avLst/>
          <a:gdLst/>
          <a:ahLst/>
          <a:cxnLst/>
          <a:rect l="0" t="0" r="0" b="0"/>
          <a:pathLst>
            <a:path>
              <a:moveTo>
                <a:pt x="0" y="22498"/>
              </a:moveTo>
              <a:lnTo>
                <a:pt x="223166" y="22498"/>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66700">
            <a:lnSpc>
              <a:spcPct val="90000"/>
            </a:lnSpc>
            <a:spcBef>
              <a:spcPct val="0"/>
            </a:spcBef>
            <a:spcAft>
              <a:spcPct val="35000"/>
            </a:spcAft>
          </a:pPr>
          <a:endParaRPr lang="en-US" sz="600" kern="1200" noProof="0" dirty="0"/>
        </a:p>
      </dsp:txBody>
      <dsp:txXfrm>
        <a:off x="1470584" y="853855"/>
        <a:ext cx="11158" cy="11158"/>
      </dsp:txXfrm>
    </dsp:sp>
    <dsp:sp modelId="{4437D463-1B0E-44EA-89D6-694D3E46766F}">
      <dsp:nvSpPr>
        <dsp:cNvPr id="0" name=""/>
        <dsp:cNvSpPr/>
      </dsp:nvSpPr>
      <dsp:spPr>
        <a:xfrm>
          <a:off x="1107145" y="9813"/>
          <a:ext cx="738036" cy="738036"/>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es-CL" sz="900" kern="1200" noProof="0" dirty="0" err="1" smtClean="0"/>
            <a:t>MoH</a:t>
          </a:r>
          <a:endParaRPr lang="en-US" sz="900" kern="1200" noProof="0" dirty="0"/>
        </a:p>
      </dsp:txBody>
      <dsp:txXfrm>
        <a:off x="1215228" y="117896"/>
        <a:ext cx="521870" cy="521870"/>
      </dsp:txXfrm>
    </dsp:sp>
    <dsp:sp modelId="{9162F308-BC15-4B93-A10A-F4336E3BB880}">
      <dsp:nvSpPr>
        <dsp:cNvPr id="0" name=""/>
        <dsp:cNvSpPr/>
      </dsp:nvSpPr>
      <dsp:spPr>
        <a:xfrm rot="19800000">
          <a:off x="1849173" y="1058914"/>
          <a:ext cx="149877" cy="44997"/>
        </a:xfrm>
        <a:custGeom>
          <a:avLst/>
          <a:gdLst/>
          <a:ahLst/>
          <a:cxnLst/>
          <a:rect l="0" t="0" r="0" b="0"/>
          <a:pathLst>
            <a:path>
              <a:moveTo>
                <a:pt x="0" y="22498"/>
              </a:moveTo>
              <a:lnTo>
                <a:pt x="149877" y="22498"/>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66700">
            <a:lnSpc>
              <a:spcPct val="90000"/>
            </a:lnSpc>
            <a:spcBef>
              <a:spcPct val="0"/>
            </a:spcBef>
            <a:spcAft>
              <a:spcPct val="35000"/>
            </a:spcAft>
          </a:pPr>
          <a:endParaRPr lang="en-US" sz="600" kern="1200" noProof="0" dirty="0"/>
        </a:p>
      </dsp:txBody>
      <dsp:txXfrm>
        <a:off x="1920365" y="1077665"/>
        <a:ext cx="7493" cy="7493"/>
      </dsp:txXfrm>
    </dsp:sp>
    <dsp:sp modelId="{FCD89645-156A-4615-A71A-FBF7FDAFB9BD}">
      <dsp:nvSpPr>
        <dsp:cNvPr id="0" name=""/>
        <dsp:cNvSpPr/>
      </dsp:nvSpPr>
      <dsp:spPr>
        <a:xfrm>
          <a:off x="1939572" y="490415"/>
          <a:ext cx="738036" cy="738036"/>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es-CL" sz="900" kern="1200" noProof="0" dirty="0" smtClean="0"/>
            <a:t>ISP</a:t>
          </a:r>
          <a:endParaRPr lang="en-US" sz="900" kern="1200" noProof="0" dirty="0"/>
        </a:p>
      </dsp:txBody>
      <dsp:txXfrm>
        <a:off x="2047655" y="598498"/>
        <a:ext cx="521870" cy="521870"/>
      </dsp:txXfrm>
    </dsp:sp>
    <dsp:sp modelId="{E1F4A180-4A1C-4CE0-B7C3-9CB8FBAC1B7C}">
      <dsp:nvSpPr>
        <dsp:cNvPr id="0" name=""/>
        <dsp:cNvSpPr/>
      </dsp:nvSpPr>
      <dsp:spPr>
        <a:xfrm rot="1800000">
          <a:off x="1849173" y="1576160"/>
          <a:ext cx="149877" cy="44997"/>
        </a:xfrm>
        <a:custGeom>
          <a:avLst/>
          <a:gdLst/>
          <a:ahLst/>
          <a:cxnLst/>
          <a:rect l="0" t="0" r="0" b="0"/>
          <a:pathLst>
            <a:path>
              <a:moveTo>
                <a:pt x="0" y="22498"/>
              </a:moveTo>
              <a:lnTo>
                <a:pt x="149877" y="22498"/>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66700">
            <a:lnSpc>
              <a:spcPct val="90000"/>
            </a:lnSpc>
            <a:spcBef>
              <a:spcPct val="0"/>
            </a:spcBef>
            <a:spcAft>
              <a:spcPct val="35000"/>
            </a:spcAft>
          </a:pPr>
          <a:endParaRPr lang="en-US" sz="600" kern="1200" noProof="0" dirty="0"/>
        </a:p>
      </dsp:txBody>
      <dsp:txXfrm>
        <a:off x="1920365" y="1594912"/>
        <a:ext cx="7493" cy="7493"/>
      </dsp:txXfrm>
    </dsp:sp>
    <dsp:sp modelId="{444FE26B-E17F-4896-98C5-ED2AAF9BB139}">
      <dsp:nvSpPr>
        <dsp:cNvPr id="0" name=""/>
        <dsp:cNvSpPr/>
      </dsp:nvSpPr>
      <dsp:spPr>
        <a:xfrm>
          <a:off x="1939572" y="1451619"/>
          <a:ext cx="738036" cy="738036"/>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es-CL" sz="900" kern="1200" noProof="0" dirty="0" smtClean="0"/>
            <a:t>IBR</a:t>
          </a:r>
          <a:endParaRPr lang="en-US" sz="900" kern="1200" noProof="0" dirty="0"/>
        </a:p>
      </dsp:txBody>
      <dsp:txXfrm>
        <a:off x="2047655" y="1559702"/>
        <a:ext cx="521870" cy="521870"/>
      </dsp:txXfrm>
    </dsp:sp>
    <dsp:sp modelId="{A5142DBC-45B8-4C17-9D51-D7C1C78833D9}">
      <dsp:nvSpPr>
        <dsp:cNvPr id="0" name=""/>
        <dsp:cNvSpPr/>
      </dsp:nvSpPr>
      <dsp:spPr>
        <a:xfrm rot="5400000">
          <a:off x="1364580" y="1798139"/>
          <a:ext cx="223166" cy="44997"/>
        </a:xfrm>
        <a:custGeom>
          <a:avLst/>
          <a:gdLst/>
          <a:ahLst/>
          <a:cxnLst/>
          <a:rect l="0" t="0" r="0" b="0"/>
          <a:pathLst>
            <a:path>
              <a:moveTo>
                <a:pt x="0" y="22498"/>
              </a:moveTo>
              <a:lnTo>
                <a:pt x="223166" y="22498"/>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66700">
            <a:lnSpc>
              <a:spcPct val="90000"/>
            </a:lnSpc>
            <a:spcBef>
              <a:spcPct val="0"/>
            </a:spcBef>
            <a:spcAft>
              <a:spcPct val="35000"/>
            </a:spcAft>
          </a:pPr>
          <a:endParaRPr lang="en-US" sz="600" kern="1200" noProof="0" dirty="0"/>
        </a:p>
      </dsp:txBody>
      <dsp:txXfrm>
        <a:off x="1470584" y="1815058"/>
        <a:ext cx="11158" cy="11158"/>
      </dsp:txXfrm>
    </dsp:sp>
    <dsp:sp modelId="{015DE7BC-27B6-4D05-AE4C-23BF8EE8998E}">
      <dsp:nvSpPr>
        <dsp:cNvPr id="0" name=""/>
        <dsp:cNvSpPr/>
      </dsp:nvSpPr>
      <dsp:spPr>
        <a:xfrm>
          <a:off x="1107145" y="1932221"/>
          <a:ext cx="738036" cy="738036"/>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en-US" sz="900" kern="1200" noProof="0" dirty="0" smtClean="0"/>
            <a:t>ETESA</a:t>
          </a:r>
          <a:endParaRPr lang="en-US" sz="900" kern="1200" noProof="0" dirty="0"/>
        </a:p>
      </dsp:txBody>
      <dsp:txXfrm>
        <a:off x="1215228" y="2040304"/>
        <a:ext cx="521870" cy="521870"/>
      </dsp:txXfrm>
    </dsp:sp>
    <dsp:sp modelId="{3A361699-D006-4229-8E81-5A619B90C764}">
      <dsp:nvSpPr>
        <dsp:cNvPr id="0" name=""/>
        <dsp:cNvSpPr/>
      </dsp:nvSpPr>
      <dsp:spPr>
        <a:xfrm rot="9000000">
          <a:off x="953276" y="1576160"/>
          <a:ext cx="149877" cy="44997"/>
        </a:xfrm>
        <a:custGeom>
          <a:avLst/>
          <a:gdLst/>
          <a:ahLst/>
          <a:cxnLst/>
          <a:rect l="0" t="0" r="0" b="0"/>
          <a:pathLst>
            <a:path>
              <a:moveTo>
                <a:pt x="0" y="22498"/>
              </a:moveTo>
              <a:lnTo>
                <a:pt x="149877" y="22498"/>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66700">
            <a:lnSpc>
              <a:spcPct val="90000"/>
            </a:lnSpc>
            <a:spcBef>
              <a:spcPct val="0"/>
            </a:spcBef>
            <a:spcAft>
              <a:spcPct val="35000"/>
            </a:spcAft>
          </a:pPr>
          <a:endParaRPr lang="en-US" sz="600" kern="1200" noProof="0" dirty="0"/>
        </a:p>
      </dsp:txBody>
      <dsp:txXfrm rot="10800000">
        <a:off x="1024468" y="1594912"/>
        <a:ext cx="7493" cy="7493"/>
      </dsp:txXfrm>
    </dsp:sp>
    <dsp:sp modelId="{34AEB013-EE56-4BD0-B5D5-A2DBF130B80E}">
      <dsp:nvSpPr>
        <dsp:cNvPr id="0" name=""/>
        <dsp:cNvSpPr/>
      </dsp:nvSpPr>
      <dsp:spPr>
        <a:xfrm>
          <a:off x="274718" y="1451619"/>
          <a:ext cx="738036" cy="738036"/>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es-CL" sz="900" kern="1200" noProof="0" dirty="0" err="1" smtClean="0"/>
            <a:t>Corfo</a:t>
          </a:r>
          <a:endParaRPr lang="en-US" sz="900" kern="1200" noProof="0" dirty="0"/>
        </a:p>
      </dsp:txBody>
      <dsp:txXfrm>
        <a:off x="382801" y="1559702"/>
        <a:ext cx="521870" cy="521870"/>
      </dsp:txXfrm>
    </dsp:sp>
    <dsp:sp modelId="{C2F14498-BE72-48CB-B304-278919BA540C}">
      <dsp:nvSpPr>
        <dsp:cNvPr id="0" name=""/>
        <dsp:cNvSpPr/>
      </dsp:nvSpPr>
      <dsp:spPr>
        <a:xfrm rot="12600000">
          <a:off x="953276" y="1058914"/>
          <a:ext cx="149877" cy="44997"/>
        </a:xfrm>
        <a:custGeom>
          <a:avLst/>
          <a:gdLst/>
          <a:ahLst/>
          <a:cxnLst/>
          <a:rect l="0" t="0" r="0" b="0"/>
          <a:pathLst>
            <a:path>
              <a:moveTo>
                <a:pt x="0" y="22498"/>
              </a:moveTo>
              <a:lnTo>
                <a:pt x="149877" y="22498"/>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66700">
            <a:lnSpc>
              <a:spcPct val="90000"/>
            </a:lnSpc>
            <a:spcBef>
              <a:spcPct val="0"/>
            </a:spcBef>
            <a:spcAft>
              <a:spcPct val="35000"/>
            </a:spcAft>
          </a:pPr>
          <a:endParaRPr lang="en-US" sz="600" kern="1200" noProof="0" dirty="0"/>
        </a:p>
      </dsp:txBody>
      <dsp:txXfrm rot="10800000">
        <a:off x="1024468" y="1077665"/>
        <a:ext cx="7493" cy="7493"/>
      </dsp:txXfrm>
    </dsp:sp>
    <dsp:sp modelId="{FE236A8D-C476-4C87-B324-C6A87BA9DF7D}">
      <dsp:nvSpPr>
        <dsp:cNvPr id="0" name=""/>
        <dsp:cNvSpPr/>
      </dsp:nvSpPr>
      <dsp:spPr>
        <a:xfrm>
          <a:off x="274718" y="490415"/>
          <a:ext cx="738036" cy="738036"/>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es-CL" sz="900" kern="1200" noProof="0" dirty="0" err="1" smtClean="0"/>
            <a:t>MoE</a:t>
          </a:r>
          <a:endParaRPr lang="en-US" sz="900" kern="1200" noProof="0" dirty="0"/>
        </a:p>
      </dsp:txBody>
      <dsp:txXfrm>
        <a:off x="382801" y="598498"/>
        <a:ext cx="521870" cy="52187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EF71D7-9DAF-401D-A378-B112CF87760E}">
      <dsp:nvSpPr>
        <dsp:cNvPr id="0" name=""/>
        <dsp:cNvSpPr/>
      </dsp:nvSpPr>
      <dsp:spPr>
        <a:xfrm>
          <a:off x="936102" y="782791"/>
          <a:ext cx="720082" cy="594657"/>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es-CL" sz="900" kern="1200" dirty="0" err="1" smtClean="0"/>
            <a:t>Funding</a:t>
          </a:r>
          <a:endParaRPr lang="en-US" sz="900" kern="1200" dirty="0"/>
        </a:p>
      </dsp:txBody>
      <dsp:txXfrm>
        <a:off x="1041556" y="869877"/>
        <a:ext cx="509174" cy="420485"/>
      </dsp:txXfrm>
    </dsp:sp>
    <dsp:sp modelId="{5F0AEACE-5000-4869-9351-DD499E44C68D}">
      <dsp:nvSpPr>
        <dsp:cNvPr id="0" name=""/>
        <dsp:cNvSpPr/>
      </dsp:nvSpPr>
      <dsp:spPr>
        <a:xfrm rot="16200000">
          <a:off x="1206553" y="672555"/>
          <a:ext cx="179181" cy="41291"/>
        </a:xfrm>
        <a:custGeom>
          <a:avLst/>
          <a:gdLst/>
          <a:ahLst/>
          <a:cxnLst/>
          <a:rect l="0" t="0" r="0" b="0"/>
          <a:pathLst>
            <a:path>
              <a:moveTo>
                <a:pt x="0" y="20645"/>
              </a:moveTo>
              <a:lnTo>
                <a:pt x="179181" y="20645"/>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1291664" y="688721"/>
        <a:ext cx="8959" cy="8959"/>
      </dsp:txXfrm>
    </dsp:sp>
    <dsp:sp modelId="{FAA1468A-06EE-4BDE-A3AF-81AE09CC6CE7}">
      <dsp:nvSpPr>
        <dsp:cNvPr id="0" name=""/>
        <dsp:cNvSpPr/>
      </dsp:nvSpPr>
      <dsp:spPr>
        <a:xfrm>
          <a:off x="998815" y="8952"/>
          <a:ext cx="594657" cy="594657"/>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es-CL" sz="900" kern="1200" dirty="0" smtClean="0"/>
            <a:t>Venture</a:t>
          </a:r>
          <a:endParaRPr lang="en-US" sz="900" kern="1200" dirty="0"/>
        </a:p>
      </dsp:txBody>
      <dsp:txXfrm>
        <a:off x="1085901" y="96038"/>
        <a:ext cx="420485" cy="420485"/>
      </dsp:txXfrm>
    </dsp:sp>
    <dsp:sp modelId="{02C5B734-BD13-4800-B0A8-BCAA3FBBBBDE}">
      <dsp:nvSpPr>
        <dsp:cNvPr id="0" name=""/>
        <dsp:cNvSpPr/>
      </dsp:nvSpPr>
      <dsp:spPr>
        <a:xfrm rot="2285190">
          <a:off x="1489179" y="1461503"/>
          <a:ext cx="639878" cy="41291"/>
        </a:xfrm>
        <a:custGeom>
          <a:avLst/>
          <a:gdLst/>
          <a:ahLst/>
          <a:cxnLst/>
          <a:rect l="0" t="0" r="0" b="0"/>
          <a:pathLst>
            <a:path>
              <a:moveTo>
                <a:pt x="0" y="20645"/>
              </a:moveTo>
              <a:lnTo>
                <a:pt x="639878" y="20645"/>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1793122" y="1466151"/>
        <a:ext cx="31993" cy="31993"/>
      </dsp:txXfrm>
    </dsp:sp>
    <dsp:sp modelId="{5150DBB5-6170-455B-A8EA-C07A30B67AE5}">
      <dsp:nvSpPr>
        <dsp:cNvPr id="0" name=""/>
        <dsp:cNvSpPr/>
      </dsp:nvSpPr>
      <dsp:spPr>
        <a:xfrm>
          <a:off x="1997630" y="1565582"/>
          <a:ext cx="594657" cy="594657"/>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s-CL" sz="800" kern="1200" dirty="0" err="1" smtClean="0"/>
            <a:t>Corfo</a:t>
          </a:r>
          <a:endParaRPr lang="en-US" sz="800" kern="1200" dirty="0"/>
        </a:p>
      </dsp:txBody>
      <dsp:txXfrm>
        <a:off x="2084716" y="1652668"/>
        <a:ext cx="420485" cy="420485"/>
      </dsp:txXfrm>
    </dsp:sp>
    <dsp:sp modelId="{116DE364-4C41-4B8E-8BAD-A3C052E16199}">
      <dsp:nvSpPr>
        <dsp:cNvPr id="0" name=""/>
        <dsp:cNvSpPr/>
      </dsp:nvSpPr>
      <dsp:spPr>
        <a:xfrm rot="5400000">
          <a:off x="1206553" y="1446393"/>
          <a:ext cx="179181" cy="41291"/>
        </a:xfrm>
        <a:custGeom>
          <a:avLst/>
          <a:gdLst/>
          <a:ahLst/>
          <a:cxnLst/>
          <a:rect l="0" t="0" r="0" b="0"/>
          <a:pathLst>
            <a:path>
              <a:moveTo>
                <a:pt x="0" y="20645"/>
              </a:moveTo>
              <a:lnTo>
                <a:pt x="179181" y="20645"/>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1291664" y="1462559"/>
        <a:ext cx="8959" cy="8959"/>
      </dsp:txXfrm>
    </dsp:sp>
    <dsp:sp modelId="{69226388-90F8-4154-BDDA-7CBCF0D5A829}">
      <dsp:nvSpPr>
        <dsp:cNvPr id="0" name=""/>
        <dsp:cNvSpPr/>
      </dsp:nvSpPr>
      <dsp:spPr>
        <a:xfrm>
          <a:off x="998815" y="1556629"/>
          <a:ext cx="594657" cy="594657"/>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es-CL" sz="900" kern="1200" dirty="0" smtClean="0"/>
            <a:t>Otros</a:t>
          </a:r>
          <a:endParaRPr lang="en-US" sz="900" kern="1200" dirty="0"/>
        </a:p>
      </dsp:txBody>
      <dsp:txXfrm>
        <a:off x="1085901" y="1643715"/>
        <a:ext cx="420485" cy="420485"/>
      </dsp:txXfrm>
    </dsp:sp>
    <dsp:sp modelId="{26C58797-B4C5-43A0-ADAB-8E5416791BE3}">
      <dsp:nvSpPr>
        <dsp:cNvPr id="0" name=""/>
        <dsp:cNvSpPr/>
      </dsp:nvSpPr>
      <dsp:spPr>
        <a:xfrm rot="10800000">
          <a:off x="819634" y="1059474"/>
          <a:ext cx="116468" cy="41291"/>
        </a:xfrm>
        <a:custGeom>
          <a:avLst/>
          <a:gdLst/>
          <a:ahLst/>
          <a:cxnLst/>
          <a:rect l="0" t="0" r="0" b="0"/>
          <a:pathLst>
            <a:path>
              <a:moveTo>
                <a:pt x="0" y="20645"/>
              </a:moveTo>
              <a:lnTo>
                <a:pt x="116468" y="20645"/>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rot="10800000">
        <a:off x="874956" y="1077208"/>
        <a:ext cx="5823" cy="5823"/>
      </dsp:txXfrm>
    </dsp:sp>
    <dsp:sp modelId="{908E53F6-F533-4194-BBB6-732938CC6E13}">
      <dsp:nvSpPr>
        <dsp:cNvPr id="0" name=""/>
        <dsp:cNvSpPr/>
      </dsp:nvSpPr>
      <dsp:spPr>
        <a:xfrm>
          <a:off x="224976" y="782791"/>
          <a:ext cx="594657" cy="594657"/>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es-CL" sz="900" kern="1200" dirty="0" smtClean="0"/>
            <a:t>NHI</a:t>
          </a:r>
          <a:endParaRPr lang="en-US" sz="900" kern="1200" dirty="0"/>
        </a:p>
      </dsp:txBody>
      <dsp:txXfrm>
        <a:off x="312062" y="869877"/>
        <a:ext cx="420485" cy="42048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98E032-5D99-4915-8628-51A826962C7E}">
      <dsp:nvSpPr>
        <dsp:cNvPr id="0" name=""/>
        <dsp:cNvSpPr/>
      </dsp:nvSpPr>
      <dsp:spPr>
        <a:xfrm>
          <a:off x="842080" y="1384793"/>
          <a:ext cx="958118" cy="631432"/>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en-US" sz="900" kern="1200" noProof="0" dirty="0" smtClean="0"/>
            <a:t>Technology Providers</a:t>
          </a:r>
          <a:endParaRPr lang="en-US" sz="900" kern="1200" noProof="0" dirty="0"/>
        </a:p>
      </dsp:txBody>
      <dsp:txXfrm>
        <a:off x="982393" y="1477264"/>
        <a:ext cx="677492" cy="446490"/>
      </dsp:txXfrm>
    </dsp:sp>
    <dsp:sp modelId="{94BA089E-0C2B-4211-8161-C2DB996CB3DF}">
      <dsp:nvSpPr>
        <dsp:cNvPr id="0" name=""/>
        <dsp:cNvSpPr/>
      </dsp:nvSpPr>
      <dsp:spPr>
        <a:xfrm rot="16228381">
          <a:off x="1000392" y="1034066"/>
          <a:ext cx="652091" cy="49394"/>
        </a:xfrm>
        <a:custGeom>
          <a:avLst/>
          <a:gdLst/>
          <a:ahLst/>
          <a:cxnLst/>
          <a:rect l="0" t="0" r="0" b="0"/>
          <a:pathLst>
            <a:path>
              <a:moveTo>
                <a:pt x="0" y="24697"/>
              </a:moveTo>
              <a:lnTo>
                <a:pt x="652091" y="24697"/>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noProof="0" dirty="0"/>
        </a:p>
      </dsp:txBody>
      <dsp:txXfrm>
        <a:off x="1310136" y="1042461"/>
        <a:ext cx="32604" cy="32604"/>
      </dsp:txXfrm>
    </dsp:sp>
    <dsp:sp modelId="{5A8F6676-6D96-40DD-91D8-45B4B4467434}">
      <dsp:nvSpPr>
        <dsp:cNvPr id="0" name=""/>
        <dsp:cNvSpPr/>
      </dsp:nvSpPr>
      <dsp:spPr>
        <a:xfrm>
          <a:off x="966587" y="1621"/>
          <a:ext cx="731120" cy="731120"/>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en-US" sz="900" kern="1200" noProof="0" dirty="0" smtClean="0"/>
            <a:t>Siemens</a:t>
          </a:r>
          <a:endParaRPr lang="en-US" sz="900" kern="1200" noProof="0" dirty="0"/>
        </a:p>
      </dsp:txBody>
      <dsp:txXfrm>
        <a:off x="1073657" y="108691"/>
        <a:ext cx="516980" cy="516980"/>
      </dsp:txXfrm>
    </dsp:sp>
    <dsp:sp modelId="{D2A8924D-1C3C-4DE6-803B-F990301B7591}">
      <dsp:nvSpPr>
        <dsp:cNvPr id="0" name=""/>
        <dsp:cNvSpPr/>
      </dsp:nvSpPr>
      <dsp:spPr>
        <a:xfrm rot="18762789">
          <a:off x="1521861" y="1295810"/>
          <a:ext cx="300191" cy="49394"/>
        </a:xfrm>
        <a:custGeom>
          <a:avLst/>
          <a:gdLst/>
          <a:ahLst/>
          <a:cxnLst/>
          <a:rect l="0" t="0" r="0" b="0"/>
          <a:pathLst>
            <a:path>
              <a:moveTo>
                <a:pt x="0" y="24697"/>
              </a:moveTo>
              <a:lnTo>
                <a:pt x="300191" y="24697"/>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1664452" y="1313003"/>
        <a:ext cx="15009" cy="15009"/>
      </dsp:txXfrm>
    </dsp:sp>
    <dsp:sp modelId="{9917740E-D66F-43E9-BD20-BC4D95564672}">
      <dsp:nvSpPr>
        <dsp:cNvPr id="0" name=""/>
        <dsp:cNvSpPr/>
      </dsp:nvSpPr>
      <dsp:spPr>
        <a:xfrm>
          <a:off x="1656180" y="576065"/>
          <a:ext cx="731120" cy="731120"/>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es-CL" sz="900" kern="1200" noProof="0" dirty="0" smtClean="0"/>
            <a:t>IBM</a:t>
          </a:r>
          <a:endParaRPr lang="en-US" sz="900" kern="1200" noProof="0" dirty="0"/>
        </a:p>
      </dsp:txBody>
      <dsp:txXfrm>
        <a:off x="1763250" y="683135"/>
        <a:ext cx="516980" cy="516980"/>
      </dsp:txXfrm>
    </dsp:sp>
    <dsp:sp modelId="{87EF8D8C-9B98-463F-938E-01CA7E729B5C}">
      <dsp:nvSpPr>
        <dsp:cNvPr id="0" name=""/>
        <dsp:cNvSpPr/>
      </dsp:nvSpPr>
      <dsp:spPr>
        <a:xfrm rot="13373112">
          <a:off x="813968" y="1328019"/>
          <a:ext cx="265415" cy="49394"/>
        </a:xfrm>
        <a:custGeom>
          <a:avLst/>
          <a:gdLst/>
          <a:ahLst/>
          <a:cxnLst/>
          <a:rect l="0" t="0" r="0" b="0"/>
          <a:pathLst>
            <a:path>
              <a:moveTo>
                <a:pt x="0" y="24697"/>
              </a:moveTo>
              <a:lnTo>
                <a:pt x="265415" y="24697"/>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noProof="0" dirty="0"/>
        </a:p>
      </dsp:txBody>
      <dsp:txXfrm rot="10800000">
        <a:off x="940040" y="1346080"/>
        <a:ext cx="13270" cy="13270"/>
      </dsp:txXfrm>
    </dsp:sp>
    <dsp:sp modelId="{B193BD2C-1A13-4345-B7E9-AA5E225432B4}">
      <dsp:nvSpPr>
        <dsp:cNvPr id="0" name=""/>
        <dsp:cNvSpPr/>
      </dsp:nvSpPr>
      <dsp:spPr>
        <a:xfrm>
          <a:off x="216025" y="648069"/>
          <a:ext cx="731120" cy="731120"/>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es-CL" sz="900" kern="1200" noProof="0" dirty="0" err="1" smtClean="0"/>
            <a:t>Thermo</a:t>
          </a:r>
          <a:r>
            <a:rPr lang="es-CL" sz="900" kern="1200" noProof="0" dirty="0" smtClean="0"/>
            <a:t> Fisher</a:t>
          </a:r>
          <a:endParaRPr lang="en-US" sz="900" kern="1200" noProof="0" dirty="0"/>
        </a:p>
      </dsp:txBody>
      <dsp:txXfrm>
        <a:off x="323095" y="755139"/>
        <a:ext cx="516980" cy="51698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25A578-7AE6-41BC-A0A6-95F3E2B99AC8}">
      <dsp:nvSpPr>
        <dsp:cNvPr id="0" name=""/>
        <dsp:cNvSpPr/>
      </dsp:nvSpPr>
      <dsp:spPr>
        <a:xfrm>
          <a:off x="965195" y="944609"/>
          <a:ext cx="750399" cy="783584"/>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s-CL" sz="1500" kern="1200" dirty="0" smtClean="0"/>
            <a:t>Pfizer</a:t>
          </a:r>
          <a:endParaRPr lang="en-US" sz="1500" kern="1200" dirty="0"/>
        </a:p>
      </dsp:txBody>
      <dsp:txXfrm>
        <a:off x="1075088" y="1059362"/>
        <a:ext cx="530613" cy="554078"/>
      </dsp:txXfrm>
    </dsp:sp>
    <dsp:sp modelId="{F486AED9-B2F2-4915-B7F3-0E1F981D4237}">
      <dsp:nvSpPr>
        <dsp:cNvPr id="0" name=""/>
        <dsp:cNvSpPr/>
      </dsp:nvSpPr>
      <dsp:spPr>
        <a:xfrm rot="16200000">
          <a:off x="1161699" y="746030"/>
          <a:ext cx="357392" cy="39765"/>
        </a:xfrm>
        <a:custGeom>
          <a:avLst/>
          <a:gdLst/>
          <a:ahLst/>
          <a:cxnLst/>
          <a:rect l="0" t="0" r="0" b="0"/>
          <a:pathLst>
            <a:path>
              <a:moveTo>
                <a:pt x="0" y="19882"/>
              </a:moveTo>
              <a:lnTo>
                <a:pt x="357392" y="19882"/>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1331460" y="756978"/>
        <a:ext cx="17869" cy="17869"/>
      </dsp:txXfrm>
    </dsp:sp>
    <dsp:sp modelId="{11379A67-CE5D-42EF-8842-D3ECA71E0E8B}">
      <dsp:nvSpPr>
        <dsp:cNvPr id="0" name=""/>
        <dsp:cNvSpPr/>
      </dsp:nvSpPr>
      <dsp:spPr>
        <a:xfrm>
          <a:off x="1057535" y="20623"/>
          <a:ext cx="565719" cy="566593"/>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s-CL" sz="1100" kern="1200" dirty="0" smtClean="0"/>
            <a:t>OBU</a:t>
          </a:r>
          <a:endParaRPr lang="en-US" sz="1100" kern="1200" dirty="0"/>
        </a:p>
      </dsp:txBody>
      <dsp:txXfrm>
        <a:off x="1140383" y="103599"/>
        <a:ext cx="400023" cy="400641"/>
      </dsp:txXfrm>
    </dsp:sp>
    <dsp:sp modelId="{B18433C8-CA47-4E94-8741-2D268752745D}">
      <dsp:nvSpPr>
        <dsp:cNvPr id="0" name=""/>
        <dsp:cNvSpPr/>
      </dsp:nvSpPr>
      <dsp:spPr>
        <a:xfrm rot="18900000">
          <a:off x="1560727" y="923255"/>
          <a:ext cx="345864" cy="39765"/>
        </a:xfrm>
        <a:custGeom>
          <a:avLst/>
          <a:gdLst/>
          <a:ahLst/>
          <a:cxnLst/>
          <a:rect l="0" t="0" r="0" b="0"/>
          <a:pathLst>
            <a:path>
              <a:moveTo>
                <a:pt x="0" y="19882"/>
              </a:moveTo>
              <a:lnTo>
                <a:pt x="345864" y="19882"/>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1725012" y="934490"/>
        <a:ext cx="17293" cy="17293"/>
      </dsp:txXfrm>
    </dsp:sp>
    <dsp:sp modelId="{74F671FB-399C-4255-B37C-38AC4EAFCA6F}">
      <dsp:nvSpPr>
        <dsp:cNvPr id="0" name=""/>
        <dsp:cNvSpPr/>
      </dsp:nvSpPr>
      <dsp:spPr>
        <a:xfrm>
          <a:off x="1767079" y="302936"/>
          <a:ext cx="606780" cy="606780"/>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s-CL" sz="1100" kern="1200" dirty="0" smtClean="0"/>
            <a:t>GIP</a:t>
          </a:r>
          <a:endParaRPr lang="en-US" sz="1100" kern="1200" dirty="0"/>
        </a:p>
      </dsp:txBody>
      <dsp:txXfrm>
        <a:off x="1855940" y="391797"/>
        <a:ext cx="429058" cy="429058"/>
      </dsp:txXfrm>
    </dsp:sp>
    <dsp:sp modelId="{19CCB3D3-D579-4F5F-9E6E-936E1E1A146E}">
      <dsp:nvSpPr>
        <dsp:cNvPr id="0" name=""/>
        <dsp:cNvSpPr/>
      </dsp:nvSpPr>
      <dsp:spPr>
        <a:xfrm>
          <a:off x="1715595" y="1316518"/>
          <a:ext cx="288034" cy="39765"/>
        </a:xfrm>
        <a:custGeom>
          <a:avLst/>
          <a:gdLst/>
          <a:ahLst/>
          <a:cxnLst/>
          <a:rect l="0" t="0" r="0" b="0"/>
          <a:pathLst>
            <a:path>
              <a:moveTo>
                <a:pt x="0" y="19882"/>
              </a:moveTo>
              <a:lnTo>
                <a:pt x="288034" y="19882"/>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1852411" y="1329200"/>
        <a:ext cx="14401" cy="14401"/>
      </dsp:txXfrm>
    </dsp:sp>
    <dsp:sp modelId="{BA6025C9-9BB7-4933-9BCD-F376828219D5}">
      <dsp:nvSpPr>
        <dsp:cNvPr id="0" name=""/>
        <dsp:cNvSpPr/>
      </dsp:nvSpPr>
      <dsp:spPr>
        <a:xfrm>
          <a:off x="2003629" y="1016615"/>
          <a:ext cx="738494" cy="639570"/>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s-CL" sz="1100" kern="1200" dirty="0" smtClean="0"/>
            <a:t>Medical</a:t>
          </a:r>
          <a:endParaRPr lang="en-US" sz="1100" kern="1200" dirty="0"/>
        </a:p>
      </dsp:txBody>
      <dsp:txXfrm>
        <a:off x="2111779" y="1110278"/>
        <a:ext cx="522194" cy="452244"/>
      </dsp:txXfrm>
    </dsp:sp>
    <dsp:sp modelId="{D903FAC9-5413-4444-920A-04C23B184CDA}">
      <dsp:nvSpPr>
        <dsp:cNvPr id="0" name=""/>
        <dsp:cNvSpPr/>
      </dsp:nvSpPr>
      <dsp:spPr>
        <a:xfrm rot="2700000">
          <a:off x="1560727" y="1709782"/>
          <a:ext cx="345864" cy="39765"/>
        </a:xfrm>
        <a:custGeom>
          <a:avLst/>
          <a:gdLst/>
          <a:ahLst/>
          <a:cxnLst/>
          <a:rect l="0" t="0" r="0" b="0"/>
          <a:pathLst>
            <a:path>
              <a:moveTo>
                <a:pt x="0" y="19882"/>
              </a:moveTo>
              <a:lnTo>
                <a:pt x="345864" y="19882"/>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1725012" y="1721018"/>
        <a:ext cx="17293" cy="17293"/>
      </dsp:txXfrm>
    </dsp:sp>
    <dsp:sp modelId="{F733DCEF-961F-480B-A0F8-3ABC5D0AAA69}">
      <dsp:nvSpPr>
        <dsp:cNvPr id="0" name=""/>
        <dsp:cNvSpPr/>
      </dsp:nvSpPr>
      <dsp:spPr>
        <a:xfrm>
          <a:off x="1767079" y="1763085"/>
          <a:ext cx="606780" cy="606780"/>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s-CL" sz="1100" kern="1200" dirty="0" smtClean="0"/>
            <a:t>ERDI</a:t>
          </a:r>
          <a:endParaRPr lang="en-US" sz="1100" kern="1200" dirty="0"/>
        </a:p>
      </dsp:txBody>
      <dsp:txXfrm>
        <a:off x="1855940" y="1851946"/>
        <a:ext cx="429058" cy="429058"/>
      </dsp:txXfrm>
    </dsp:sp>
    <dsp:sp modelId="{DB5D0E34-B73B-4048-9161-D6C614392646}">
      <dsp:nvSpPr>
        <dsp:cNvPr id="0" name=""/>
        <dsp:cNvSpPr/>
      </dsp:nvSpPr>
      <dsp:spPr>
        <a:xfrm rot="5400000">
          <a:off x="1171746" y="1876960"/>
          <a:ext cx="337298" cy="39765"/>
        </a:xfrm>
        <a:custGeom>
          <a:avLst/>
          <a:gdLst/>
          <a:ahLst/>
          <a:cxnLst/>
          <a:rect l="0" t="0" r="0" b="0"/>
          <a:pathLst>
            <a:path>
              <a:moveTo>
                <a:pt x="0" y="19882"/>
              </a:moveTo>
              <a:lnTo>
                <a:pt x="337298" y="19882"/>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1331963" y="1888410"/>
        <a:ext cx="16864" cy="16864"/>
      </dsp:txXfrm>
    </dsp:sp>
    <dsp:sp modelId="{146B0EA6-49D1-4569-9D06-69996E0BA5F8}">
      <dsp:nvSpPr>
        <dsp:cNvPr id="0" name=""/>
        <dsp:cNvSpPr/>
      </dsp:nvSpPr>
      <dsp:spPr>
        <a:xfrm>
          <a:off x="1037005" y="2065492"/>
          <a:ext cx="606780" cy="606780"/>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s-CL" sz="1100" kern="1200" dirty="0" smtClean="0"/>
            <a:t>WRD</a:t>
          </a:r>
          <a:endParaRPr lang="en-US" sz="1100" kern="1200" dirty="0"/>
        </a:p>
      </dsp:txBody>
      <dsp:txXfrm>
        <a:off x="1125866" y="2154353"/>
        <a:ext cx="429058" cy="429058"/>
      </dsp:txXfrm>
    </dsp:sp>
    <dsp:sp modelId="{19A7CF56-9485-4A7B-AD94-034014CE14D5}">
      <dsp:nvSpPr>
        <dsp:cNvPr id="0" name=""/>
        <dsp:cNvSpPr/>
      </dsp:nvSpPr>
      <dsp:spPr>
        <a:xfrm rot="8100000">
          <a:off x="774199" y="1709782"/>
          <a:ext cx="345864" cy="39765"/>
        </a:xfrm>
        <a:custGeom>
          <a:avLst/>
          <a:gdLst/>
          <a:ahLst/>
          <a:cxnLst/>
          <a:rect l="0" t="0" r="0" b="0"/>
          <a:pathLst>
            <a:path>
              <a:moveTo>
                <a:pt x="0" y="19882"/>
              </a:moveTo>
              <a:lnTo>
                <a:pt x="345864" y="19882"/>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rot="10800000">
        <a:off x="938485" y="1721018"/>
        <a:ext cx="17293" cy="17293"/>
      </dsp:txXfrm>
    </dsp:sp>
    <dsp:sp modelId="{0A39F011-1F15-41A2-9A3B-16D9E1A50E7F}">
      <dsp:nvSpPr>
        <dsp:cNvPr id="0" name=""/>
        <dsp:cNvSpPr/>
      </dsp:nvSpPr>
      <dsp:spPr>
        <a:xfrm>
          <a:off x="306930" y="1763085"/>
          <a:ext cx="606780" cy="606780"/>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s-CL" sz="1100" kern="1200" dirty="0" smtClean="0"/>
            <a:t>Legal</a:t>
          </a:r>
          <a:endParaRPr lang="en-US" sz="1100" kern="1200" dirty="0"/>
        </a:p>
      </dsp:txBody>
      <dsp:txXfrm>
        <a:off x="395791" y="1851946"/>
        <a:ext cx="429058" cy="429058"/>
      </dsp:txXfrm>
    </dsp:sp>
    <dsp:sp modelId="{5D71E2F7-7796-4CA8-ACAC-046D4E223A5C}">
      <dsp:nvSpPr>
        <dsp:cNvPr id="0" name=""/>
        <dsp:cNvSpPr/>
      </dsp:nvSpPr>
      <dsp:spPr>
        <a:xfrm rot="10800000">
          <a:off x="611304" y="1316518"/>
          <a:ext cx="353891" cy="39765"/>
        </a:xfrm>
        <a:custGeom>
          <a:avLst/>
          <a:gdLst/>
          <a:ahLst/>
          <a:cxnLst/>
          <a:rect l="0" t="0" r="0" b="0"/>
          <a:pathLst>
            <a:path>
              <a:moveTo>
                <a:pt x="0" y="19882"/>
              </a:moveTo>
              <a:lnTo>
                <a:pt x="353891" y="19882"/>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rot="10800000">
        <a:off x="779402" y="1327553"/>
        <a:ext cx="17694" cy="17694"/>
      </dsp:txXfrm>
    </dsp:sp>
    <dsp:sp modelId="{A2DA2D3B-0580-45F3-B333-8830EF565749}">
      <dsp:nvSpPr>
        <dsp:cNvPr id="0" name=""/>
        <dsp:cNvSpPr/>
      </dsp:nvSpPr>
      <dsp:spPr>
        <a:xfrm>
          <a:off x="4524" y="1033010"/>
          <a:ext cx="606780" cy="606780"/>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s-CL" sz="1100" kern="1200" dirty="0" smtClean="0"/>
            <a:t>CTI</a:t>
          </a:r>
          <a:endParaRPr lang="en-US" sz="1100" kern="1200" dirty="0"/>
        </a:p>
      </dsp:txBody>
      <dsp:txXfrm>
        <a:off x="93385" y="1121871"/>
        <a:ext cx="429058" cy="429058"/>
      </dsp:txXfrm>
    </dsp:sp>
    <dsp:sp modelId="{A3F44A36-6BA2-41B1-81B7-28F5DAD7D587}">
      <dsp:nvSpPr>
        <dsp:cNvPr id="0" name=""/>
        <dsp:cNvSpPr/>
      </dsp:nvSpPr>
      <dsp:spPr>
        <a:xfrm rot="13500000">
          <a:off x="774199" y="923255"/>
          <a:ext cx="345864" cy="39765"/>
        </a:xfrm>
        <a:custGeom>
          <a:avLst/>
          <a:gdLst/>
          <a:ahLst/>
          <a:cxnLst/>
          <a:rect l="0" t="0" r="0" b="0"/>
          <a:pathLst>
            <a:path>
              <a:moveTo>
                <a:pt x="0" y="19882"/>
              </a:moveTo>
              <a:lnTo>
                <a:pt x="345864" y="19882"/>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rot="10800000">
        <a:off x="938485" y="934490"/>
        <a:ext cx="17293" cy="17293"/>
      </dsp:txXfrm>
    </dsp:sp>
    <dsp:sp modelId="{C8DE22C3-5C6E-43D3-83CE-DA87EF8E6FB8}">
      <dsp:nvSpPr>
        <dsp:cNvPr id="0" name=""/>
        <dsp:cNvSpPr/>
      </dsp:nvSpPr>
      <dsp:spPr>
        <a:xfrm>
          <a:off x="306930" y="302936"/>
          <a:ext cx="606780" cy="606780"/>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s-CL" sz="1100" kern="1200" dirty="0" smtClean="0"/>
            <a:t>La </a:t>
          </a:r>
          <a:r>
            <a:rPr lang="es-CL" sz="1100" kern="1200" dirty="0" err="1" smtClean="0"/>
            <a:t>Jolla</a:t>
          </a:r>
          <a:endParaRPr lang="en-US" sz="1100" kern="1200" dirty="0"/>
        </a:p>
      </dsp:txBody>
      <dsp:txXfrm>
        <a:off x="395791" y="391797"/>
        <a:ext cx="429058" cy="42905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A10953-0CF6-468A-8923-EFF9CF5071BA}">
      <dsp:nvSpPr>
        <dsp:cNvPr id="0" name=""/>
        <dsp:cNvSpPr/>
      </dsp:nvSpPr>
      <dsp:spPr>
        <a:xfrm>
          <a:off x="447888" y="395221"/>
          <a:ext cx="1002670" cy="972933"/>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66725">
            <a:lnSpc>
              <a:spcPct val="90000"/>
            </a:lnSpc>
            <a:spcBef>
              <a:spcPct val="0"/>
            </a:spcBef>
            <a:spcAft>
              <a:spcPct val="35000"/>
            </a:spcAft>
          </a:pPr>
          <a:r>
            <a:rPr lang="es-CL" sz="1050" kern="1200" dirty="0" smtClean="0"/>
            <a:t>Inst. Internacionales</a:t>
          </a:r>
          <a:endParaRPr lang="en-US" sz="1050" kern="1200" dirty="0"/>
        </a:p>
      </dsp:txBody>
      <dsp:txXfrm>
        <a:off x="594726" y="537704"/>
        <a:ext cx="708994" cy="687967"/>
      </dsp:txXfrm>
    </dsp:sp>
    <dsp:sp modelId="{2A4D50D1-381F-4465-9486-05BC9453972D}">
      <dsp:nvSpPr>
        <dsp:cNvPr id="0" name=""/>
        <dsp:cNvSpPr/>
      </dsp:nvSpPr>
      <dsp:spPr>
        <a:xfrm>
          <a:off x="1063383" y="0"/>
          <a:ext cx="179841" cy="179736"/>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9C5BBA5-1CEC-4F6D-BE65-DA02DDC956AA}">
      <dsp:nvSpPr>
        <dsp:cNvPr id="0" name=""/>
        <dsp:cNvSpPr/>
      </dsp:nvSpPr>
      <dsp:spPr>
        <a:xfrm>
          <a:off x="0" y="1757713"/>
          <a:ext cx="130255" cy="130270"/>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DE1AF94-B230-43CD-8829-0A22DAE5B953}">
      <dsp:nvSpPr>
        <dsp:cNvPr id="0" name=""/>
        <dsp:cNvSpPr/>
      </dsp:nvSpPr>
      <dsp:spPr>
        <a:xfrm>
          <a:off x="1861199" y="729517"/>
          <a:ext cx="130255" cy="130270"/>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7D277BA-D680-4D99-9303-D81BC4A3792A}">
      <dsp:nvSpPr>
        <dsp:cNvPr id="0" name=""/>
        <dsp:cNvSpPr/>
      </dsp:nvSpPr>
      <dsp:spPr>
        <a:xfrm>
          <a:off x="864096" y="1656185"/>
          <a:ext cx="179841" cy="179736"/>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ACB329F-B140-45C8-9F73-185512944E47}">
      <dsp:nvSpPr>
        <dsp:cNvPr id="0" name=""/>
        <dsp:cNvSpPr/>
      </dsp:nvSpPr>
      <dsp:spPr>
        <a:xfrm>
          <a:off x="674651" y="255444"/>
          <a:ext cx="130255" cy="130270"/>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1FE9CC8-4A7A-4A06-8239-EA88B54B1838}">
      <dsp:nvSpPr>
        <dsp:cNvPr id="0" name=""/>
        <dsp:cNvSpPr/>
      </dsp:nvSpPr>
      <dsp:spPr>
        <a:xfrm>
          <a:off x="216024" y="1368153"/>
          <a:ext cx="130255" cy="130270"/>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A10953-0CF6-468A-8923-EFF9CF5071BA}">
      <dsp:nvSpPr>
        <dsp:cNvPr id="0" name=""/>
        <dsp:cNvSpPr/>
      </dsp:nvSpPr>
      <dsp:spPr>
        <a:xfrm>
          <a:off x="687680" y="495669"/>
          <a:ext cx="846919" cy="821780"/>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noProof="0" dirty="0" smtClean="0"/>
            <a:t>Media</a:t>
          </a:r>
          <a:endParaRPr lang="en-US" sz="900" kern="1200" noProof="0" dirty="0"/>
        </a:p>
      </dsp:txBody>
      <dsp:txXfrm>
        <a:off x="811708" y="616016"/>
        <a:ext cx="598863" cy="581086"/>
      </dsp:txXfrm>
    </dsp:sp>
    <dsp:sp modelId="{2A4D50D1-381F-4465-9486-05BC9453972D}">
      <dsp:nvSpPr>
        <dsp:cNvPr id="0" name=""/>
        <dsp:cNvSpPr/>
      </dsp:nvSpPr>
      <dsp:spPr>
        <a:xfrm>
          <a:off x="1177582" y="165710"/>
          <a:ext cx="151756" cy="151919"/>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9C5BBA5-1CEC-4F6D-BE65-DA02DDC956AA}">
      <dsp:nvSpPr>
        <dsp:cNvPr id="0" name=""/>
        <dsp:cNvSpPr/>
      </dsp:nvSpPr>
      <dsp:spPr>
        <a:xfrm>
          <a:off x="818351" y="1491649"/>
          <a:ext cx="110037" cy="109968"/>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DE1AF94-B230-43CD-8829-0A22DAE5B953}">
      <dsp:nvSpPr>
        <dsp:cNvPr id="0" name=""/>
        <dsp:cNvSpPr/>
      </dsp:nvSpPr>
      <dsp:spPr>
        <a:xfrm>
          <a:off x="1851525" y="781942"/>
          <a:ext cx="110037" cy="109968"/>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7D277BA-D680-4D99-9303-D81BC4A3792A}">
      <dsp:nvSpPr>
        <dsp:cNvPr id="0" name=""/>
        <dsp:cNvSpPr/>
      </dsp:nvSpPr>
      <dsp:spPr>
        <a:xfrm>
          <a:off x="1325698" y="1608541"/>
          <a:ext cx="151756" cy="151919"/>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ACB329F-B140-45C8-9F73-185512944E47}">
      <dsp:nvSpPr>
        <dsp:cNvPr id="0" name=""/>
        <dsp:cNvSpPr/>
      </dsp:nvSpPr>
      <dsp:spPr>
        <a:xfrm>
          <a:off x="849150" y="381371"/>
          <a:ext cx="110037" cy="109968"/>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1FE9CC8-4A7A-4A06-8239-EA88B54B1838}">
      <dsp:nvSpPr>
        <dsp:cNvPr id="0" name=""/>
        <dsp:cNvSpPr/>
      </dsp:nvSpPr>
      <dsp:spPr>
        <a:xfrm>
          <a:off x="502799" y="1011044"/>
          <a:ext cx="110037" cy="109968"/>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D71D7EF-E009-44C0-ADF2-467E29C88BB5}">
      <dsp:nvSpPr>
        <dsp:cNvPr id="0" name=""/>
        <dsp:cNvSpPr/>
      </dsp:nvSpPr>
      <dsp:spPr>
        <a:xfrm>
          <a:off x="-111893" y="414117"/>
          <a:ext cx="722600" cy="675167"/>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noProof="0" dirty="0" smtClean="0"/>
            <a:t>News papers</a:t>
          </a:r>
          <a:endParaRPr lang="en-US" sz="900" kern="1200" noProof="0" dirty="0"/>
        </a:p>
      </dsp:txBody>
      <dsp:txXfrm>
        <a:off x="-6071" y="512993"/>
        <a:ext cx="510956" cy="477415"/>
      </dsp:txXfrm>
    </dsp:sp>
    <dsp:sp modelId="{EDF5915B-1853-441D-B22A-D2B92603B51A}">
      <dsp:nvSpPr>
        <dsp:cNvPr id="0" name=""/>
        <dsp:cNvSpPr/>
      </dsp:nvSpPr>
      <dsp:spPr>
        <a:xfrm>
          <a:off x="1024146" y="386258"/>
          <a:ext cx="151756" cy="151919"/>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A3C5072-6B22-4D23-8A18-DA89408DA734}">
      <dsp:nvSpPr>
        <dsp:cNvPr id="0" name=""/>
        <dsp:cNvSpPr/>
      </dsp:nvSpPr>
      <dsp:spPr>
        <a:xfrm>
          <a:off x="24292" y="1191678"/>
          <a:ext cx="274392" cy="274514"/>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F74DBC4-BDD7-492E-BBC3-B02E17015A15}">
      <dsp:nvSpPr>
        <dsp:cNvPr id="0" name=""/>
        <dsp:cNvSpPr/>
      </dsp:nvSpPr>
      <dsp:spPr>
        <a:xfrm>
          <a:off x="1678717" y="213159"/>
          <a:ext cx="1005278" cy="554935"/>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noProof="0" dirty="0" smtClean="0"/>
            <a:t>Scientific publications</a:t>
          </a:r>
          <a:endParaRPr lang="en-US" sz="900" kern="1200" noProof="0" dirty="0"/>
        </a:p>
      </dsp:txBody>
      <dsp:txXfrm>
        <a:off x="1825937" y="294427"/>
        <a:ext cx="710838" cy="392399"/>
      </dsp:txXfrm>
    </dsp:sp>
    <dsp:sp modelId="{56967702-3B1A-4AC6-969F-ABF079B86961}">
      <dsp:nvSpPr>
        <dsp:cNvPr id="0" name=""/>
        <dsp:cNvSpPr/>
      </dsp:nvSpPr>
      <dsp:spPr>
        <a:xfrm>
          <a:off x="1656090" y="596421"/>
          <a:ext cx="151756" cy="151919"/>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31A2DC7-42AC-426F-93FE-21DC1808394B}">
      <dsp:nvSpPr>
        <dsp:cNvPr id="0" name=""/>
        <dsp:cNvSpPr/>
      </dsp:nvSpPr>
      <dsp:spPr>
        <a:xfrm>
          <a:off x="-80145" y="1518326"/>
          <a:ext cx="110037" cy="109968"/>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1949C9F-4D6D-46CE-A3BB-3D439BE66781}">
      <dsp:nvSpPr>
        <dsp:cNvPr id="0" name=""/>
        <dsp:cNvSpPr/>
      </dsp:nvSpPr>
      <dsp:spPr>
        <a:xfrm>
          <a:off x="1016306" y="1361722"/>
          <a:ext cx="110037" cy="109968"/>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C6A9444-B259-4446-9314-61302E2CC870}">
      <dsp:nvSpPr>
        <dsp:cNvPr id="0" name=""/>
        <dsp:cNvSpPr/>
      </dsp:nvSpPr>
      <dsp:spPr>
        <a:xfrm>
          <a:off x="1972798" y="1172332"/>
          <a:ext cx="939023" cy="554935"/>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noProof="0" dirty="0" smtClean="0"/>
            <a:t>Target Audiences</a:t>
          </a:r>
          <a:endParaRPr lang="en-US" sz="900" kern="1200" noProof="0" dirty="0"/>
        </a:p>
      </dsp:txBody>
      <dsp:txXfrm>
        <a:off x="2110315" y="1253600"/>
        <a:ext cx="663989" cy="392399"/>
      </dsp:txXfrm>
    </dsp:sp>
    <dsp:sp modelId="{A6EB2F7A-F965-4823-BF06-3C610EBC3AB1}">
      <dsp:nvSpPr>
        <dsp:cNvPr id="0" name=""/>
        <dsp:cNvSpPr/>
      </dsp:nvSpPr>
      <dsp:spPr>
        <a:xfrm>
          <a:off x="2008321" y="1152985"/>
          <a:ext cx="110037" cy="109968"/>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6ECBBC2-2C6E-4E3B-88E5-DC6351293F29}">
      <dsp:nvSpPr>
        <dsp:cNvPr id="0" name=""/>
        <dsp:cNvSpPr/>
      </dsp:nvSpPr>
      <dsp:spPr>
        <a:xfrm>
          <a:off x="571958" y="1647234"/>
          <a:ext cx="554945" cy="554935"/>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noProof="0" dirty="0" smtClean="0"/>
            <a:t>Social</a:t>
          </a:r>
          <a:endParaRPr lang="en-US" sz="900" kern="1200" noProof="0" dirty="0"/>
        </a:p>
      </dsp:txBody>
      <dsp:txXfrm>
        <a:off x="653228" y="1728502"/>
        <a:ext cx="392405" cy="392399"/>
      </dsp:txXfrm>
    </dsp:sp>
    <dsp:sp modelId="{8E7124B1-8005-4267-86B2-E118C3D60ABB}">
      <dsp:nvSpPr>
        <dsp:cNvPr id="0" name=""/>
        <dsp:cNvSpPr/>
      </dsp:nvSpPr>
      <dsp:spPr>
        <a:xfrm>
          <a:off x="1067545" y="1628499"/>
          <a:ext cx="110037" cy="109968"/>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A10953-0CF6-468A-8923-EFF9CF5071BA}">
      <dsp:nvSpPr>
        <dsp:cNvPr id="0" name=""/>
        <dsp:cNvSpPr/>
      </dsp:nvSpPr>
      <dsp:spPr>
        <a:xfrm>
          <a:off x="447888" y="395221"/>
          <a:ext cx="1002670" cy="972933"/>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s-CL" sz="900" kern="1200" dirty="0" err="1" smtClean="0"/>
            <a:t>Biotech</a:t>
          </a:r>
          <a:r>
            <a:rPr lang="es-CL" sz="900" kern="1200" dirty="0" smtClean="0"/>
            <a:t> </a:t>
          </a:r>
          <a:r>
            <a:rPr lang="es-CL" sz="900" kern="1200" dirty="0" err="1" smtClean="0"/>
            <a:t>Association</a:t>
          </a:r>
          <a:endParaRPr lang="en-US" sz="900" kern="1200" dirty="0"/>
        </a:p>
      </dsp:txBody>
      <dsp:txXfrm>
        <a:off x="594726" y="537704"/>
        <a:ext cx="708994" cy="687967"/>
      </dsp:txXfrm>
    </dsp:sp>
    <dsp:sp modelId="{2A4D50D1-381F-4465-9486-05BC9453972D}">
      <dsp:nvSpPr>
        <dsp:cNvPr id="0" name=""/>
        <dsp:cNvSpPr/>
      </dsp:nvSpPr>
      <dsp:spPr>
        <a:xfrm>
          <a:off x="1063383" y="0"/>
          <a:ext cx="179841" cy="179736"/>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9C5BBA5-1CEC-4F6D-BE65-DA02DDC956AA}">
      <dsp:nvSpPr>
        <dsp:cNvPr id="0" name=""/>
        <dsp:cNvSpPr/>
      </dsp:nvSpPr>
      <dsp:spPr>
        <a:xfrm>
          <a:off x="637831" y="1569669"/>
          <a:ext cx="130255" cy="130270"/>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DE1AF94-B230-43CD-8829-0A22DAE5B953}">
      <dsp:nvSpPr>
        <dsp:cNvPr id="0" name=""/>
        <dsp:cNvSpPr/>
      </dsp:nvSpPr>
      <dsp:spPr>
        <a:xfrm>
          <a:off x="1861199" y="729517"/>
          <a:ext cx="130255" cy="130270"/>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7D277BA-D680-4D99-9303-D81BC4A3792A}">
      <dsp:nvSpPr>
        <dsp:cNvPr id="0" name=""/>
        <dsp:cNvSpPr/>
      </dsp:nvSpPr>
      <dsp:spPr>
        <a:xfrm>
          <a:off x="1238599" y="1708247"/>
          <a:ext cx="179841" cy="179736"/>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ACB329F-B140-45C8-9F73-185512944E47}">
      <dsp:nvSpPr>
        <dsp:cNvPr id="0" name=""/>
        <dsp:cNvSpPr/>
      </dsp:nvSpPr>
      <dsp:spPr>
        <a:xfrm>
          <a:off x="674651" y="255444"/>
          <a:ext cx="130255" cy="130270"/>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1FE9CC8-4A7A-4A06-8239-EA88B54B1838}">
      <dsp:nvSpPr>
        <dsp:cNvPr id="0" name=""/>
        <dsp:cNvSpPr/>
      </dsp:nvSpPr>
      <dsp:spPr>
        <a:xfrm>
          <a:off x="264456" y="1000631"/>
          <a:ext cx="130255" cy="130270"/>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7.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8.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9.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NULL"/></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23.emf"/></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 Id="rId2"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2125" cy="463550"/>
          </a:xfrm>
          <a:prstGeom prst="rect">
            <a:avLst/>
          </a:prstGeom>
        </p:spPr>
        <p:txBody>
          <a:bodyPr vert="horz" lIns="92958" tIns="46479" rIns="92958" bIns="46479" rtlCol="0"/>
          <a:lstStyle>
            <a:lvl1pPr algn="l">
              <a:defRPr sz="1200">
                <a:latin typeface="Arial" pitchFamily="34" charset="0"/>
                <a:cs typeface="+mn-cs"/>
              </a:defRPr>
            </a:lvl1pPr>
          </a:lstStyle>
          <a:p>
            <a:pPr>
              <a:defRPr/>
            </a:pPr>
            <a:endParaRPr lang="en-US"/>
          </a:p>
        </p:txBody>
      </p:sp>
      <p:sp>
        <p:nvSpPr>
          <p:cNvPr id="3" name="Date Placeholder 2"/>
          <p:cNvSpPr>
            <a:spLocks noGrp="1"/>
          </p:cNvSpPr>
          <p:nvPr>
            <p:ph type="dt" sz="quarter" idx="1"/>
          </p:nvPr>
        </p:nvSpPr>
        <p:spPr>
          <a:xfrm>
            <a:off x="3963988" y="0"/>
            <a:ext cx="3032125" cy="463550"/>
          </a:xfrm>
          <a:prstGeom prst="rect">
            <a:avLst/>
          </a:prstGeom>
        </p:spPr>
        <p:txBody>
          <a:bodyPr vert="horz" lIns="92958" tIns="46479" rIns="92958" bIns="46479" rtlCol="0"/>
          <a:lstStyle>
            <a:lvl1pPr algn="r">
              <a:defRPr sz="1200">
                <a:latin typeface="Arial" pitchFamily="34" charset="0"/>
                <a:cs typeface="+mn-cs"/>
              </a:defRPr>
            </a:lvl1pPr>
          </a:lstStyle>
          <a:p>
            <a:pPr>
              <a:defRPr/>
            </a:pPr>
            <a:fld id="{FE555AC9-18F0-4EC9-8ABF-3F098F1416D0}" type="datetimeFigureOut">
              <a:rPr lang="en-US"/>
              <a:pPr>
                <a:defRPr/>
              </a:pPr>
              <a:t>5/30/16</a:t>
            </a:fld>
            <a:endParaRPr lang="en-US"/>
          </a:p>
        </p:txBody>
      </p:sp>
      <p:sp>
        <p:nvSpPr>
          <p:cNvPr id="4" name="Footer Placeholder 3"/>
          <p:cNvSpPr>
            <a:spLocks noGrp="1"/>
          </p:cNvSpPr>
          <p:nvPr>
            <p:ph type="ftr" sz="quarter" idx="2"/>
          </p:nvPr>
        </p:nvSpPr>
        <p:spPr>
          <a:xfrm>
            <a:off x="0" y="8805863"/>
            <a:ext cx="3032125" cy="463550"/>
          </a:xfrm>
          <a:prstGeom prst="rect">
            <a:avLst/>
          </a:prstGeom>
        </p:spPr>
        <p:txBody>
          <a:bodyPr vert="horz" lIns="92958" tIns="46479" rIns="92958" bIns="46479" rtlCol="0" anchor="b"/>
          <a:lstStyle>
            <a:lvl1pPr algn="l">
              <a:defRPr sz="1200">
                <a:latin typeface="Arial" pitchFamily="34" charset="0"/>
                <a:cs typeface="+mn-cs"/>
              </a:defRPr>
            </a:lvl1pPr>
          </a:lstStyle>
          <a:p>
            <a:pPr>
              <a:defRPr/>
            </a:pPr>
            <a:endParaRPr lang="en-US"/>
          </a:p>
        </p:txBody>
      </p:sp>
      <p:sp>
        <p:nvSpPr>
          <p:cNvPr id="5" name="Slide Number Placeholder 4"/>
          <p:cNvSpPr>
            <a:spLocks noGrp="1"/>
          </p:cNvSpPr>
          <p:nvPr>
            <p:ph type="sldNum" sz="quarter" idx="3"/>
          </p:nvPr>
        </p:nvSpPr>
        <p:spPr>
          <a:xfrm>
            <a:off x="3963988" y="8805863"/>
            <a:ext cx="3032125" cy="463550"/>
          </a:xfrm>
          <a:prstGeom prst="rect">
            <a:avLst/>
          </a:prstGeom>
        </p:spPr>
        <p:txBody>
          <a:bodyPr vert="horz" lIns="92958" tIns="46479" rIns="92958" bIns="46479" rtlCol="0" anchor="b"/>
          <a:lstStyle>
            <a:lvl1pPr algn="r">
              <a:defRPr sz="1200">
                <a:latin typeface="Arial" pitchFamily="34" charset="0"/>
                <a:cs typeface="+mn-cs"/>
              </a:defRPr>
            </a:lvl1pPr>
          </a:lstStyle>
          <a:p>
            <a:pPr>
              <a:defRPr/>
            </a:pPr>
            <a:fld id="{425A07F5-BC80-4060-97A9-A125D45E2EA0}" type="slidenum">
              <a:rPr lang="en-US"/>
              <a:pPr>
                <a:defRPr/>
              </a:pPr>
              <a:t>‹#›</a:t>
            </a:fld>
            <a:endParaRPr lang="en-US"/>
          </a:p>
        </p:txBody>
      </p:sp>
    </p:spTree>
    <p:extLst>
      <p:ext uri="{BB962C8B-B14F-4D97-AF65-F5344CB8AC3E}">
        <p14:creationId xmlns:p14="http://schemas.microsoft.com/office/powerpoint/2010/main" val="29659174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2125" cy="463550"/>
          </a:xfrm>
          <a:prstGeom prst="rect">
            <a:avLst/>
          </a:prstGeom>
        </p:spPr>
        <p:txBody>
          <a:bodyPr vert="horz" lIns="92958" tIns="46479" rIns="92958" bIns="46479" rtlCol="0"/>
          <a:lstStyle>
            <a:lvl1pPr algn="l">
              <a:defRPr sz="1200">
                <a:latin typeface="Arial" charset="0"/>
                <a:cs typeface="+mn-cs"/>
              </a:defRPr>
            </a:lvl1pPr>
          </a:lstStyle>
          <a:p>
            <a:pPr>
              <a:defRPr/>
            </a:pPr>
            <a:endParaRPr lang="en-US"/>
          </a:p>
        </p:txBody>
      </p:sp>
      <p:sp>
        <p:nvSpPr>
          <p:cNvPr id="3" name="Date Placeholder 2"/>
          <p:cNvSpPr>
            <a:spLocks noGrp="1"/>
          </p:cNvSpPr>
          <p:nvPr>
            <p:ph type="dt" idx="1"/>
          </p:nvPr>
        </p:nvSpPr>
        <p:spPr>
          <a:xfrm>
            <a:off x="3963988" y="0"/>
            <a:ext cx="3032125" cy="463550"/>
          </a:xfrm>
          <a:prstGeom prst="rect">
            <a:avLst/>
          </a:prstGeom>
        </p:spPr>
        <p:txBody>
          <a:bodyPr vert="horz" lIns="92958" tIns="46479" rIns="92958" bIns="46479" rtlCol="0"/>
          <a:lstStyle>
            <a:lvl1pPr algn="r">
              <a:defRPr sz="1200">
                <a:latin typeface="Arial" charset="0"/>
                <a:cs typeface="+mn-cs"/>
              </a:defRPr>
            </a:lvl1pPr>
          </a:lstStyle>
          <a:p>
            <a:pPr>
              <a:defRPr/>
            </a:pPr>
            <a:fld id="{6282F47C-8FDA-4333-80AB-603D3A283274}" type="datetimeFigureOut">
              <a:rPr lang="en-US"/>
              <a:pPr>
                <a:defRPr/>
              </a:pPr>
              <a:t>5/30/16</a:t>
            </a:fld>
            <a:endParaRPr lang="en-US"/>
          </a:p>
        </p:txBody>
      </p:sp>
      <p:sp>
        <p:nvSpPr>
          <p:cNvPr id="4" name="Slide Image Placeholder 3"/>
          <p:cNvSpPr>
            <a:spLocks noGrp="1" noRot="1" noChangeAspect="1"/>
          </p:cNvSpPr>
          <p:nvPr>
            <p:ph type="sldImg" idx="2"/>
          </p:nvPr>
        </p:nvSpPr>
        <p:spPr>
          <a:xfrm>
            <a:off x="1181100" y="695325"/>
            <a:ext cx="4635500" cy="3476625"/>
          </a:xfrm>
          <a:prstGeom prst="rect">
            <a:avLst/>
          </a:prstGeom>
          <a:noFill/>
          <a:ln w="12700">
            <a:solidFill>
              <a:prstClr val="black"/>
            </a:solidFill>
          </a:ln>
        </p:spPr>
        <p:txBody>
          <a:bodyPr vert="horz" lIns="92958" tIns="46479" rIns="92958" bIns="46479" rtlCol="0" anchor="ctr"/>
          <a:lstStyle/>
          <a:p>
            <a:pPr lvl="0"/>
            <a:endParaRPr lang="en-US" noProof="0" smtClean="0"/>
          </a:p>
        </p:txBody>
      </p:sp>
      <p:sp>
        <p:nvSpPr>
          <p:cNvPr id="5" name="Notes Placeholder 4"/>
          <p:cNvSpPr>
            <a:spLocks noGrp="1"/>
          </p:cNvSpPr>
          <p:nvPr>
            <p:ph type="body" sz="quarter" idx="3"/>
          </p:nvPr>
        </p:nvSpPr>
        <p:spPr>
          <a:xfrm>
            <a:off x="700088" y="4403725"/>
            <a:ext cx="5597525" cy="4171950"/>
          </a:xfrm>
          <a:prstGeom prst="rect">
            <a:avLst/>
          </a:prstGeom>
        </p:spPr>
        <p:txBody>
          <a:bodyPr vert="horz" lIns="92958" tIns="46479" rIns="92958" bIns="46479"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0" y="8805863"/>
            <a:ext cx="3032125" cy="463550"/>
          </a:xfrm>
          <a:prstGeom prst="rect">
            <a:avLst/>
          </a:prstGeom>
        </p:spPr>
        <p:txBody>
          <a:bodyPr vert="horz" lIns="92958" tIns="46479" rIns="92958" bIns="46479" rtlCol="0" anchor="b"/>
          <a:lstStyle>
            <a:lvl1pPr algn="l">
              <a:defRPr sz="1200">
                <a:latin typeface="Arial" charset="0"/>
                <a:cs typeface="+mn-cs"/>
              </a:defRPr>
            </a:lvl1pPr>
          </a:lstStyle>
          <a:p>
            <a:pPr>
              <a:defRPr/>
            </a:pPr>
            <a:endParaRPr lang="en-US"/>
          </a:p>
        </p:txBody>
      </p:sp>
      <p:sp>
        <p:nvSpPr>
          <p:cNvPr id="7" name="Slide Number Placeholder 6"/>
          <p:cNvSpPr>
            <a:spLocks noGrp="1"/>
          </p:cNvSpPr>
          <p:nvPr>
            <p:ph type="sldNum" sz="quarter" idx="5"/>
          </p:nvPr>
        </p:nvSpPr>
        <p:spPr>
          <a:xfrm>
            <a:off x="3963988" y="8805863"/>
            <a:ext cx="3032125" cy="463550"/>
          </a:xfrm>
          <a:prstGeom prst="rect">
            <a:avLst/>
          </a:prstGeom>
        </p:spPr>
        <p:txBody>
          <a:bodyPr vert="horz" lIns="92958" tIns="46479" rIns="92958" bIns="46479" rtlCol="0" anchor="b"/>
          <a:lstStyle>
            <a:lvl1pPr algn="r">
              <a:defRPr sz="1200">
                <a:latin typeface="Arial" charset="0"/>
                <a:cs typeface="+mn-cs"/>
              </a:defRPr>
            </a:lvl1pPr>
          </a:lstStyle>
          <a:p>
            <a:pPr>
              <a:defRPr/>
            </a:pPr>
            <a:fld id="{64E0E7DE-BA6D-4A69-B2E5-E966D77F8B72}" type="slidenum">
              <a:rPr lang="en-US"/>
              <a:pPr>
                <a:defRPr/>
              </a:pPr>
              <a:t>‹#›</a:t>
            </a:fld>
            <a:endParaRPr lang="en-US"/>
          </a:p>
        </p:txBody>
      </p:sp>
    </p:spTree>
    <p:extLst>
      <p:ext uri="{BB962C8B-B14F-4D97-AF65-F5344CB8AC3E}">
        <p14:creationId xmlns:p14="http://schemas.microsoft.com/office/powerpoint/2010/main" val="414917527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22CD7188-F2F2-4F4B-AFD7-0E6DB1474CD2}" type="slidenum">
              <a:rPr lang="en-US" smtClean="0">
                <a:latin typeface="Arial" pitchFamily="34" charset="0"/>
              </a:rPr>
              <a:pPr/>
              <a:t>1</a:t>
            </a:fld>
            <a:endParaRPr lang="en-US" smtClean="0">
              <a:latin typeface="Arial" pitchFamily="34" charset="0"/>
            </a:endParaRPr>
          </a:p>
        </p:txBody>
      </p:sp>
      <p:sp>
        <p:nvSpPr>
          <p:cNvPr id="18435" name="Rectangle 2"/>
          <p:cNvSpPr>
            <a:spLocks noGrp="1" noRot="1" noChangeAspect="1" noChangeArrowheads="1" noTextEdit="1"/>
          </p:cNvSpPr>
          <p:nvPr>
            <p:ph type="sldImg"/>
          </p:nvPr>
        </p:nvSpPr>
        <p:spPr bwMode="auto">
          <a:xfrm>
            <a:off x="1181100" y="695325"/>
            <a:ext cx="4635500" cy="3476625"/>
          </a:xfrm>
          <a:noFill/>
          <a:ln>
            <a:solidFill>
              <a:srgbClr val="000000"/>
            </a:solidFill>
            <a:miter lim="800000"/>
            <a:headEnd/>
            <a:tailEnd/>
          </a:ln>
        </p:spPr>
      </p:sp>
      <p:sp>
        <p:nvSpPr>
          <p:cNvPr id="1843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22CD7188-F2F2-4F4B-AFD7-0E6DB1474CD2}" type="slidenum">
              <a:rPr lang="en-US" smtClean="0">
                <a:solidFill>
                  <a:prstClr val="black"/>
                </a:solidFill>
                <a:latin typeface="Arial" pitchFamily="34" charset="0"/>
              </a:rPr>
              <a:pPr/>
              <a:t>29</a:t>
            </a:fld>
            <a:endParaRPr lang="en-US" smtClean="0">
              <a:solidFill>
                <a:prstClr val="black"/>
              </a:solidFill>
              <a:latin typeface="Arial" pitchFamily="34" charset="0"/>
            </a:endParaRPr>
          </a:p>
        </p:txBody>
      </p:sp>
      <p:sp>
        <p:nvSpPr>
          <p:cNvPr id="18435" name="Rectangle 2"/>
          <p:cNvSpPr>
            <a:spLocks noGrp="1" noRot="1" noChangeAspect="1" noChangeArrowheads="1" noTextEdit="1"/>
          </p:cNvSpPr>
          <p:nvPr>
            <p:ph type="sldImg"/>
          </p:nvPr>
        </p:nvSpPr>
        <p:spPr bwMode="auto">
          <a:xfrm>
            <a:off x="1181100" y="695325"/>
            <a:ext cx="4635500" cy="3476625"/>
          </a:xfrm>
          <a:noFill/>
          <a:ln>
            <a:solidFill>
              <a:srgbClr val="000000"/>
            </a:solidFill>
            <a:miter lim="800000"/>
            <a:headEnd/>
            <a:tailEnd/>
          </a:ln>
        </p:spPr>
      </p:sp>
      <p:sp>
        <p:nvSpPr>
          <p:cNvPr id="1843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a:p>
        </p:txBody>
      </p:sp>
      <p:sp>
        <p:nvSpPr>
          <p:cNvPr id="4" name="Slide Number Placeholder 3"/>
          <p:cNvSpPr>
            <a:spLocks noGrp="1"/>
          </p:cNvSpPr>
          <p:nvPr>
            <p:ph type="sldNum" sz="quarter" idx="10"/>
          </p:nvPr>
        </p:nvSpPr>
        <p:spPr/>
        <p:txBody>
          <a:bodyPr/>
          <a:lstStyle/>
          <a:p>
            <a:pPr>
              <a:defRPr/>
            </a:pPr>
            <a:fld id="{64E0E7DE-BA6D-4A69-B2E5-E966D77F8B72}" type="slidenum">
              <a:rPr lang="en-US" smtClean="0"/>
              <a:pPr>
                <a:defRPr/>
              </a:pPr>
              <a:t>31</a:t>
            </a:fld>
            <a:endParaRPr lang="en-US"/>
          </a:p>
        </p:txBody>
      </p:sp>
    </p:spTree>
    <p:extLst>
      <p:ext uri="{BB962C8B-B14F-4D97-AF65-F5344CB8AC3E}">
        <p14:creationId xmlns:p14="http://schemas.microsoft.com/office/powerpoint/2010/main" val="6402856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a:p>
        </p:txBody>
      </p:sp>
      <p:sp>
        <p:nvSpPr>
          <p:cNvPr id="4" name="Slide Number Placeholder 3"/>
          <p:cNvSpPr>
            <a:spLocks noGrp="1"/>
          </p:cNvSpPr>
          <p:nvPr>
            <p:ph type="sldNum" sz="quarter" idx="10"/>
          </p:nvPr>
        </p:nvSpPr>
        <p:spPr/>
        <p:txBody>
          <a:bodyPr/>
          <a:lstStyle/>
          <a:p>
            <a:pPr>
              <a:defRPr/>
            </a:pPr>
            <a:fld id="{64E0E7DE-BA6D-4A69-B2E5-E966D77F8B72}" type="slidenum">
              <a:rPr lang="en-US" smtClean="0"/>
              <a:pPr>
                <a:defRPr/>
              </a:pPr>
              <a:t>32</a:t>
            </a:fld>
            <a:endParaRPr lang="en-US"/>
          </a:p>
        </p:txBody>
      </p:sp>
    </p:spTree>
    <p:extLst>
      <p:ext uri="{BB962C8B-B14F-4D97-AF65-F5344CB8AC3E}">
        <p14:creationId xmlns:p14="http://schemas.microsoft.com/office/powerpoint/2010/main" val="14292983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sz="1100" dirty="0" smtClean="0"/>
          </a:p>
          <a:p>
            <a:endParaRPr lang="en-US" dirty="0"/>
          </a:p>
        </p:txBody>
      </p:sp>
      <p:sp>
        <p:nvSpPr>
          <p:cNvPr id="4" name="Slide Number Placeholder 3"/>
          <p:cNvSpPr>
            <a:spLocks noGrp="1"/>
          </p:cNvSpPr>
          <p:nvPr>
            <p:ph type="sldNum" sz="quarter" idx="10"/>
          </p:nvPr>
        </p:nvSpPr>
        <p:spPr/>
        <p:txBody>
          <a:bodyPr/>
          <a:lstStyle/>
          <a:p>
            <a:pPr>
              <a:defRPr/>
            </a:pPr>
            <a:fld id="{AE585075-CA01-4562-90C0-38B0BF802EE3}" type="slidenum">
              <a:rPr lang="en-US" smtClean="0"/>
              <a:pPr>
                <a:defRPr/>
              </a:pPr>
              <a:t>33</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22CD7188-F2F2-4F4B-AFD7-0E6DB1474CD2}" type="slidenum">
              <a:rPr lang="en-US" smtClean="0">
                <a:latin typeface="Arial" pitchFamily="34" charset="0"/>
              </a:rPr>
              <a:pPr/>
              <a:t>36</a:t>
            </a:fld>
            <a:endParaRPr lang="en-US" smtClean="0">
              <a:latin typeface="Arial" pitchFamily="34" charset="0"/>
            </a:endParaRPr>
          </a:p>
        </p:txBody>
      </p:sp>
      <p:sp>
        <p:nvSpPr>
          <p:cNvPr id="18435" name="Rectangle 2"/>
          <p:cNvSpPr>
            <a:spLocks noGrp="1" noRot="1" noChangeAspect="1" noChangeArrowheads="1" noTextEdit="1"/>
          </p:cNvSpPr>
          <p:nvPr>
            <p:ph type="sldImg"/>
          </p:nvPr>
        </p:nvSpPr>
        <p:spPr bwMode="auto">
          <a:xfrm>
            <a:off x="1181100" y="695325"/>
            <a:ext cx="4635500" cy="3476625"/>
          </a:xfrm>
          <a:noFill/>
          <a:ln>
            <a:solidFill>
              <a:srgbClr val="000000"/>
            </a:solidFill>
            <a:miter lim="800000"/>
            <a:headEnd/>
            <a:tailEnd/>
          </a:ln>
        </p:spPr>
      </p:sp>
      <p:sp>
        <p:nvSpPr>
          <p:cNvPr id="1843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xfrm>
            <a:off x="1144588" y="684213"/>
            <a:ext cx="4667250" cy="3500437"/>
          </a:xfrm>
          <a:ln/>
        </p:spPr>
      </p:sp>
      <p:sp>
        <p:nvSpPr>
          <p:cNvPr id="3277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307" tIns="44653" rIns="89307" bIns="44653"/>
          <a:lstStyle/>
          <a:p>
            <a:pPr>
              <a:buFontTx/>
              <a:buChar char="•"/>
            </a:pPr>
            <a:r>
              <a:rPr lang="en-US" altLang="en-US" smtClean="0">
                <a:latin typeface="Arial" pitchFamily="34" charset="0"/>
                <a:cs typeface="Arial" pitchFamily="34" charset="0"/>
              </a:rPr>
              <a:t> The WRD-LT have defined these commitments – essentially operating principles…</a:t>
            </a:r>
          </a:p>
          <a:p>
            <a:pPr>
              <a:buFontTx/>
              <a:buChar char="•"/>
            </a:pPr>
            <a:endParaRPr lang="en-US" altLang="en-US" smtClean="0">
              <a:latin typeface="Arial" pitchFamily="34" charset="0"/>
              <a:cs typeface="Arial" pitchFamily="34" charset="0"/>
            </a:endParaRPr>
          </a:p>
          <a:p>
            <a:pPr>
              <a:buFontTx/>
              <a:buChar char="•"/>
            </a:pPr>
            <a:r>
              <a:rPr lang="en-US" altLang="en-US" smtClean="0">
                <a:latin typeface="Arial" pitchFamily="34" charset="0"/>
                <a:cs typeface="Arial" pitchFamily="34" charset="0"/>
              </a:rPr>
              <a:t> This reflects how we strive to operate, what we must expect from each other.  They reflect important Pfizer and WRD values, which I will also discuss a little later.</a:t>
            </a:r>
          </a:p>
          <a:p>
            <a:pPr>
              <a:buFontTx/>
              <a:buChar char="•"/>
            </a:pPr>
            <a:endParaRPr lang="en-US" altLang="en-US" smtClean="0">
              <a:latin typeface="Arial" pitchFamily="34" charset="0"/>
              <a:cs typeface="Arial" pitchFamily="34" charset="0"/>
            </a:endParaRPr>
          </a:p>
          <a:p>
            <a:endParaRPr lang="en-US" altLang="en-US" smtClean="0">
              <a:latin typeface="Arial" pitchFamily="34" charset="0"/>
              <a:cs typeface="Arial" pitchFamily="34" charset="0"/>
            </a:endParaRPr>
          </a:p>
        </p:txBody>
      </p:sp>
      <p:sp>
        <p:nvSpPr>
          <p:cNvPr id="32772" name="Slide Number Placeholder 3"/>
          <p:cNvSpPr txBox="1">
            <a:spLocks noGrp="1"/>
          </p:cNvSpPr>
          <p:nvPr/>
        </p:nvSpPr>
        <p:spPr bwMode="auto">
          <a:xfrm>
            <a:off x="3969484" y="8826132"/>
            <a:ext cx="3055155" cy="457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307" tIns="44653" rIns="89307" bIns="44653" anchor="b"/>
          <a:lstStyle>
            <a:lvl1pPr defTabSz="892175" eaLnBrk="0" hangingPunct="0">
              <a:spcBef>
                <a:spcPct val="30000"/>
              </a:spcBef>
              <a:defRPr sz="1200">
                <a:solidFill>
                  <a:schemeClr val="tx1"/>
                </a:solidFill>
                <a:latin typeface="Arial" pitchFamily="34" charset="0"/>
                <a:cs typeface="Arial" pitchFamily="34" charset="0"/>
              </a:defRPr>
            </a:lvl1pPr>
            <a:lvl2pPr marL="742950" indent="-285750" defTabSz="892175" eaLnBrk="0" hangingPunct="0">
              <a:spcBef>
                <a:spcPct val="30000"/>
              </a:spcBef>
              <a:defRPr sz="1200">
                <a:solidFill>
                  <a:schemeClr val="tx1"/>
                </a:solidFill>
                <a:latin typeface="Arial" pitchFamily="34" charset="0"/>
                <a:cs typeface="Arial" pitchFamily="34" charset="0"/>
              </a:defRPr>
            </a:lvl2pPr>
            <a:lvl3pPr marL="1143000" indent="-228600" defTabSz="892175" eaLnBrk="0" hangingPunct="0">
              <a:spcBef>
                <a:spcPct val="30000"/>
              </a:spcBef>
              <a:defRPr sz="1200">
                <a:solidFill>
                  <a:schemeClr val="tx1"/>
                </a:solidFill>
                <a:latin typeface="Arial" pitchFamily="34" charset="0"/>
                <a:cs typeface="Arial" pitchFamily="34" charset="0"/>
              </a:defRPr>
            </a:lvl3pPr>
            <a:lvl4pPr marL="1600200" indent="-228600" defTabSz="892175" eaLnBrk="0" hangingPunct="0">
              <a:spcBef>
                <a:spcPct val="30000"/>
              </a:spcBef>
              <a:defRPr sz="1200">
                <a:solidFill>
                  <a:schemeClr val="tx1"/>
                </a:solidFill>
                <a:latin typeface="Arial" pitchFamily="34" charset="0"/>
                <a:cs typeface="Arial" pitchFamily="34" charset="0"/>
              </a:defRPr>
            </a:lvl4pPr>
            <a:lvl5pPr marL="2057400" indent="-228600" defTabSz="892175" eaLnBrk="0" hangingPunct="0">
              <a:spcBef>
                <a:spcPct val="30000"/>
              </a:spcBef>
              <a:defRPr sz="1200">
                <a:solidFill>
                  <a:schemeClr val="tx1"/>
                </a:solidFill>
                <a:latin typeface="Arial" pitchFamily="34" charset="0"/>
                <a:cs typeface="Arial" pitchFamily="34" charset="0"/>
              </a:defRPr>
            </a:lvl5pPr>
            <a:lvl6pPr marL="2514600" indent="-228600" defTabSz="892175"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defTabSz="892175"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defTabSz="892175"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defTabSz="892175" eaLnBrk="0" fontAlgn="base" hangingPunct="0">
              <a:spcBef>
                <a:spcPct val="30000"/>
              </a:spcBef>
              <a:spcAft>
                <a:spcPct val="0"/>
              </a:spcAft>
              <a:defRPr sz="1200">
                <a:solidFill>
                  <a:schemeClr val="tx1"/>
                </a:solidFill>
                <a:latin typeface="Arial" pitchFamily="34" charset="0"/>
                <a:cs typeface="Arial" pitchFamily="34" charset="0"/>
              </a:defRPr>
            </a:lvl9pPr>
          </a:lstStyle>
          <a:p>
            <a:pPr algn="r" eaLnBrk="1" hangingPunct="1">
              <a:spcBef>
                <a:spcPct val="0"/>
              </a:spcBef>
            </a:pPr>
            <a:fld id="{5D619522-55CB-4DA0-A13A-C8CEBABC24A7}" type="slidenum">
              <a:rPr lang="en-US" altLang="en-US"/>
              <a:pPr algn="r" eaLnBrk="1" hangingPunct="1">
                <a:spcBef>
                  <a:spcPct val="0"/>
                </a:spcBef>
              </a:pPr>
              <a:t>4</a:t>
            </a:fld>
            <a:endParaRPr lang="en-US"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8"/>
          <p:cNvSpPr>
            <a:spLocks noGrp="1" noChangeArrowheads="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50000"/>
              </a:spcBef>
              <a:buChar char="•"/>
              <a:defRPr sz="1200">
                <a:solidFill>
                  <a:schemeClr val="tx1"/>
                </a:solidFill>
                <a:latin typeface="Arial" pitchFamily="34" charset="0"/>
              </a:defRPr>
            </a:lvl1pPr>
            <a:lvl2pPr marL="755283" indent="-290493" eaLnBrk="0" hangingPunct="0">
              <a:lnSpc>
                <a:spcPct val="90000"/>
              </a:lnSpc>
              <a:spcBef>
                <a:spcPct val="15000"/>
              </a:spcBef>
              <a:buChar char="•"/>
              <a:defRPr sz="1200">
                <a:solidFill>
                  <a:schemeClr val="tx1"/>
                </a:solidFill>
                <a:latin typeface="Arial" pitchFamily="34" charset="0"/>
              </a:defRPr>
            </a:lvl2pPr>
            <a:lvl3pPr marL="1161974" indent="-232395" eaLnBrk="0" hangingPunct="0">
              <a:lnSpc>
                <a:spcPct val="90000"/>
              </a:lnSpc>
              <a:spcBef>
                <a:spcPct val="15000"/>
              </a:spcBef>
              <a:buChar char="•"/>
              <a:defRPr sz="1200">
                <a:solidFill>
                  <a:schemeClr val="tx1"/>
                </a:solidFill>
                <a:latin typeface="Arial" pitchFamily="34" charset="0"/>
              </a:defRPr>
            </a:lvl3pPr>
            <a:lvl4pPr marL="1626763" indent="-232395" eaLnBrk="0" hangingPunct="0">
              <a:lnSpc>
                <a:spcPct val="90000"/>
              </a:lnSpc>
              <a:spcBef>
                <a:spcPct val="15000"/>
              </a:spcBef>
              <a:buChar char="•"/>
              <a:defRPr sz="1200">
                <a:solidFill>
                  <a:schemeClr val="tx1"/>
                </a:solidFill>
                <a:latin typeface="Arial" pitchFamily="34" charset="0"/>
              </a:defRPr>
            </a:lvl4pPr>
            <a:lvl5pPr marL="2091553" indent="-232395" eaLnBrk="0" hangingPunct="0">
              <a:lnSpc>
                <a:spcPct val="90000"/>
              </a:lnSpc>
              <a:spcBef>
                <a:spcPct val="15000"/>
              </a:spcBef>
              <a:buChar char="•"/>
              <a:defRPr sz="1200">
                <a:solidFill>
                  <a:schemeClr val="tx1"/>
                </a:solidFill>
                <a:latin typeface="Arial" pitchFamily="34" charset="0"/>
              </a:defRPr>
            </a:lvl5pPr>
            <a:lvl6pPr marL="2556342" indent="-232395" eaLnBrk="0" fontAlgn="base" hangingPunct="0">
              <a:lnSpc>
                <a:spcPct val="90000"/>
              </a:lnSpc>
              <a:spcBef>
                <a:spcPct val="15000"/>
              </a:spcBef>
              <a:spcAft>
                <a:spcPct val="0"/>
              </a:spcAft>
              <a:buChar char="•"/>
              <a:defRPr sz="1200">
                <a:solidFill>
                  <a:schemeClr val="tx1"/>
                </a:solidFill>
                <a:latin typeface="Arial" pitchFamily="34" charset="0"/>
              </a:defRPr>
            </a:lvl6pPr>
            <a:lvl7pPr marL="3021132" indent="-232395" eaLnBrk="0" fontAlgn="base" hangingPunct="0">
              <a:lnSpc>
                <a:spcPct val="90000"/>
              </a:lnSpc>
              <a:spcBef>
                <a:spcPct val="15000"/>
              </a:spcBef>
              <a:spcAft>
                <a:spcPct val="0"/>
              </a:spcAft>
              <a:buChar char="•"/>
              <a:defRPr sz="1200">
                <a:solidFill>
                  <a:schemeClr val="tx1"/>
                </a:solidFill>
                <a:latin typeface="Arial" pitchFamily="34" charset="0"/>
              </a:defRPr>
            </a:lvl7pPr>
            <a:lvl8pPr marL="3485921" indent="-232395" eaLnBrk="0" fontAlgn="base" hangingPunct="0">
              <a:lnSpc>
                <a:spcPct val="90000"/>
              </a:lnSpc>
              <a:spcBef>
                <a:spcPct val="15000"/>
              </a:spcBef>
              <a:spcAft>
                <a:spcPct val="0"/>
              </a:spcAft>
              <a:buChar char="•"/>
              <a:defRPr sz="1200">
                <a:solidFill>
                  <a:schemeClr val="tx1"/>
                </a:solidFill>
                <a:latin typeface="Arial" pitchFamily="34" charset="0"/>
              </a:defRPr>
            </a:lvl8pPr>
            <a:lvl9pPr marL="3950711" indent="-232395" eaLnBrk="0" fontAlgn="base" hangingPunct="0">
              <a:lnSpc>
                <a:spcPct val="90000"/>
              </a:lnSpc>
              <a:spcBef>
                <a:spcPct val="15000"/>
              </a:spcBef>
              <a:spcAft>
                <a:spcPct val="0"/>
              </a:spcAft>
              <a:buChar char="•"/>
              <a:defRPr sz="1200">
                <a:solidFill>
                  <a:schemeClr val="tx1"/>
                </a:solidFill>
                <a:latin typeface="Arial" pitchFamily="34" charset="0"/>
              </a:defRPr>
            </a:lvl9pPr>
          </a:lstStyle>
          <a:p>
            <a:pPr>
              <a:lnSpc>
                <a:spcPct val="100000"/>
              </a:lnSpc>
              <a:spcBef>
                <a:spcPct val="0"/>
              </a:spcBef>
              <a:buFontTx/>
              <a:buNone/>
            </a:pPr>
            <a:r>
              <a:rPr lang="en-US" altLang="en-US" smtClean="0"/>
              <a:t>Pfizer Forward 2010 - PineRock</a:t>
            </a:r>
          </a:p>
        </p:txBody>
      </p:sp>
      <p:sp>
        <p:nvSpPr>
          <p:cNvPr id="47107" name="Rectangle 9"/>
          <p:cNvSpPr>
            <a:spLocks noGrp="1" noChangeArrowheads="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50000"/>
              </a:spcBef>
              <a:buChar char="•"/>
              <a:defRPr sz="1200">
                <a:solidFill>
                  <a:schemeClr val="tx1"/>
                </a:solidFill>
                <a:latin typeface="Arial" pitchFamily="34" charset="0"/>
              </a:defRPr>
            </a:lvl1pPr>
            <a:lvl2pPr marL="755283" indent="-290493" eaLnBrk="0" hangingPunct="0">
              <a:lnSpc>
                <a:spcPct val="90000"/>
              </a:lnSpc>
              <a:spcBef>
                <a:spcPct val="15000"/>
              </a:spcBef>
              <a:buChar char="•"/>
              <a:defRPr sz="1200">
                <a:solidFill>
                  <a:schemeClr val="tx1"/>
                </a:solidFill>
                <a:latin typeface="Arial" pitchFamily="34" charset="0"/>
              </a:defRPr>
            </a:lvl2pPr>
            <a:lvl3pPr marL="1161974" indent="-232395" eaLnBrk="0" hangingPunct="0">
              <a:lnSpc>
                <a:spcPct val="90000"/>
              </a:lnSpc>
              <a:spcBef>
                <a:spcPct val="15000"/>
              </a:spcBef>
              <a:buChar char="•"/>
              <a:defRPr sz="1200">
                <a:solidFill>
                  <a:schemeClr val="tx1"/>
                </a:solidFill>
                <a:latin typeface="Arial" pitchFamily="34" charset="0"/>
              </a:defRPr>
            </a:lvl3pPr>
            <a:lvl4pPr marL="1626763" indent="-232395" eaLnBrk="0" hangingPunct="0">
              <a:lnSpc>
                <a:spcPct val="90000"/>
              </a:lnSpc>
              <a:spcBef>
                <a:spcPct val="15000"/>
              </a:spcBef>
              <a:buChar char="•"/>
              <a:defRPr sz="1200">
                <a:solidFill>
                  <a:schemeClr val="tx1"/>
                </a:solidFill>
                <a:latin typeface="Arial" pitchFamily="34" charset="0"/>
              </a:defRPr>
            </a:lvl4pPr>
            <a:lvl5pPr marL="2091553" indent="-232395" eaLnBrk="0" hangingPunct="0">
              <a:lnSpc>
                <a:spcPct val="90000"/>
              </a:lnSpc>
              <a:spcBef>
                <a:spcPct val="15000"/>
              </a:spcBef>
              <a:buChar char="•"/>
              <a:defRPr sz="1200">
                <a:solidFill>
                  <a:schemeClr val="tx1"/>
                </a:solidFill>
                <a:latin typeface="Arial" pitchFamily="34" charset="0"/>
              </a:defRPr>
            </a:lvl5pPr>
            <a:lvl6pPr marL="2556342" indent="-232395" eaLnBrk="0" fontAlgn="base" hangingPunct="0">
              <a:lnSpc>
                <a:spcPct val="90000"/>
              </a:lnSpc>
              <a:spcBef>
                <a:spcPct val="15000"/>
              </a:spcBef>
              <a:spcAft>
                <a:spcPct val="0"/>
              </a:spcAft>
              <a:buChar char="•"/>
              <a:defRPr sz="1200">
                <a:solidFill>
                  <a:schemeClr val="tx1"/>
                </a:solidFill>
                <a:latin typeface="Arial" pitchFamily="34" charset="0"/>
              </a:defRPr>
            </a:lvl6pPr>
            <a:lvl7pPr marL="3021132" indent="-232395" eaLnBrk="0" fontAlgn="base" hangingPunct="0">
              <a:lnSpc>
                <a:spcPct val="90000"/>
              </a:lnSpc>
              <a:spcBef>
                <a:spcPct val="15000"/>
              </a:spcBef>
              <a:spcAft>
                <a:spcPct val="0"/>
              </a:spcAft>
              <a:buChar char="•"/>
              <a:defRPr sz="1200">
                <a:solidFill>
                  <a:schemeClr val="tx1"/>
                </a:solidFill>
                <a:latin typeface="Arial" pitchFamily="34" charset="0"/>
              </a:defRPr>
            </a:lvl7pPr>
            <a:lvl8pPr marL="3485921" indent="-232395" eaLnBrk="0" fontAlgn="base" hangingPunct="0">
              <a:lnSpc>
                <a:spcPct val="90000"/>
              </a:lnSpc>
              <a:spcBef>
                <a:spcPct val="15000"/>
              </a:spcBef>
              <a:spcAft>
                <a:spcPct val="0"/>
              </a:spcAft>
              <a:buChar char="•"/>
              <a:defRPr sz="1200">
                <a:solidFill>
                  <a:schemeClr val="tx1"/>
                </a:solidFill>
                <a:latin typeface="Arial" pitchFamily="34" charset="0"/>
              </a:defRPr>
            </a:lvl8pPr>
            <a:lvl9pPr marL="3950711" indent="-232395" eaLnBrk="0" fontAlgn="base" hangingPunct="0">
              <a:lnSpc>
                <a:spcPct val="90000"/>
              </a:lnSpc>
              <a:spcBef>
                <a:spcPct val="15000"/>
              </a:spcBef>
              <a:spcAft>
                <a:spcPct val="0"/>
              </a:spcAft>
              <a:buChar char="•"/>
              <a:defRPr sz="1200">
                <a:solidFill>
                  <a:schemeClr val="tx1"/>
                </a:solidFill>
                <a:latin typeface="Arial" pitchFamily="34" charset="0"/>
              </a:defRPr>
            </a:lvl9pPr>
          </a:lstStyle>
          <a:p>
            <a:pPr>
              <a:lnSpc>
                <a:spcPct val="100000"/>
              </a:lnSpc>
              <a:spcBef>
                <a:spcPct val="0"/>
              </a:spcBef>
              <a:buFontTx/>
              <a:buNone/>
            </a:pPr>
            <a:fld id="{EC286412-01F6-4B0B-9B8B-C4739A6DCBA3}" type="datetime8">
              <a:rPr lang="en-US" altLang="en-US" smtClean="0"/>
              <a:pPr>
                <a:lnSpc>
                  <a:spcPct val="100000"/>
                </a:lnSpc>
                <a:spcBef>
                  <a:spcPct val="0"/>
                </a:spcBef>
                <a:buFontTx/>
                <a:buNone/>
              </a:pPr>
              <a:t>5/30/16 22:46</a:t>
            </a:fld>
            <a:endParaRPr lang="en-US" altLang="en-US" smtClean="0"/>
          </a:p>
        </p:txBody>
      </p:sp>
      <p:sp>
        <p:nvSpPr>
          <p:cNvPr id="47108" name="Rectangle 10"/>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50000"/>
              </a:spcBef>
              <a:buChar char="•"/>
              <a:defRPr sz="1200">
                <a:solidFill>
                  <a:schemeClr val="tx1"/>
                </a:solidFill>
                <a:latin typeface="Arial" pitchFamily="34" charset="0"/>
              </a:defRPr>
            </a:lvl1pPr>
            <a:lvl2pPr marL="755283" indent="-290493" eaLnBrk="0" hangingPunct="0">
              <a:lnSpc>
                <a:spcPct val="90000"/>
              </a:lnSpc>
              <a:spcBef>
                <a:spcPct val="15000"/>
              </a:spcBef>
              <a:buChar char="•"/>
              <a:defRPr sz="1200">
                <a:solidFill>
                  <a:schemeClr val="tx1"/>
                </a:solidFill>
                <a:latin typeface="Arial" pitchFamily="34" charset="0"/>
              </a:defRPr>
            </a:lvl2pPr>
            <a:lvl3pPr marL="1161974" indent="-232395" eaLnBrk="0" hangingPunct="0">
              <a:lnSpc>
                <a:spcPct val="90000"/>
              </a:lnSpc>
              <a:spcBef>
                <a:spcPct val="15000"/>
              </a:spcBef>
              <a:buChar char="•"/>
              <a:defRPr sz="1200">
                <a:solidFill>
                  <a:schemeClr val="tx1"/>
                </a:solidFill>
                <a:latin typeface="Arial" pitchFamily="34" charset="0"/>
              </a:defRPr>
            </a:lvl3pPr>
            <a:lvl4pPr marL="1626763" indent="-232395" eaLnBrk="0" hangingPunct="0">
              <a:lnSpc>
                <a:spcPct val="90000"/>
              </a:lnSpc>
              <a:spcBef>
                <a:spcPct val="15000"/>
              </a:spcBef>
              <a:buChar char="•"/>
              <a:defRPr sz="1200">
                <a:solidFill>
                  <a:schemeClr val="tx1"/>
                </a:solidFill>
                <a:latin typeface="Arial" pitchFamily="34" charset="0"/>
              </a:defRPr>
            </a:lvl4pPr>
            <a:lvl5pPr marL="2091553" indent="-232395" eaLnBrk="0" hangingPunct="0">
              <a:lnSpc>
                <a:spcPct val="90000"/>
              </a:lnSpc>
              <a:spcBef>
                <a:spcPct val="15000"/>
              </a:spcBef>
              <a:buChar char="•"/>
              <a:defRPr sz="1200">
                <a:solidFill>
                  <a:schemeClr val="tx1"/>
                </a:solidFill>
                <a:latin typeface="Arial" pitchFamily="34" charset="0"/>
              </a:defRPr>
            </a:lvl5pPr>
            <a:lvl6pPr marL="2556342" indent="-232395" eaLnBrk="0" fontAlgn="base" hangingPunct="0">
              <a:lnSpc>
                <a:spcPct val="90000"/>
              </a:lnSpc>
              <a:spcBef>
                <a:spcPct val="15000"/>
              </a:spcBef>
              <a:spcAft>
                <a:spcPct val="0"/>
              </a:spcAft>
              <a:buChar char="•"/>
              <a:defRPr sz="1200">
                <a:solidFill>
                  <a:schemeClr val="tx1"/>
                </a:solidFill>
                <a:latin typeface="Arial" pitchFamily="34" charset="0"/>
              </a:defRPr>
            </a:lvl6pPr>
            <a:lvl7pPr marL="3021132" indent="-232395" eaLnBrk="0" fontAlgn="base" hangingPunct="0">
              <a:lnSpc>
                <a:spcPct val="90000"/>
              </a:lnSpc>
              <a:spcBef>
                <a:spcPct val="15000"/>
              </a:spcBef>
              <a:spcAft>
                <a:spcPct val="0"/>
              </a:spcAft>
              <a:buChar char="•"/>
              <a:defRPr sz="1200">
                <a:solidFill>
                  <a:schemeClr val="tx1"/>
                </a:solidFill>
                <a:latin typeface="Arial" pitchFamily="34" charset="0"/>
              </a:defRPr>
            </a:lvl7pPr>
            <a:lvl8pPr marL="3485921" indent="-232395" eaLnBrk="0" fontAlgn="base" hangingPunct="0">
              <a:lnSpc>
                <a:spcPct val="90000"/>
              </a:lnSpc>
              <a:spcBef>
                <a:spcPct val="15000"/>
              </a:spcBef>
              <a:spcAft>
                <a:spcPct val="0"/>
              </a:spcAft>
              <a:buChar char="•"/>
              <a:defRPr sz="1200">
                <a:solidFill>
                  <a:schemeClr val="tx1"/>
                </a:solidFill>
                <a:latin typeface="Arial" pitchFamily="34" charset="0"/>
              </a:defRPr>
            </a:lvl8pPr>
            <a:lvl9pPr marL="3950711" indent="-232395" eaLnBrk="0" fontAlgn="base" hangingPunct="0">
              <a:lnSpc>
                <a:spcPct val="90000"/>
              </a:lnSpc>
              <a:spcBef>
                <a:spcPct val="15000"/>
              </a:spcBef>
              <a:spcAft>
                <a:spcPct val="0"/>
              </a:spcAft>
              <a:buChar char="•"/>
              <a:defRPr sz="1200">
                <a:solidFill>
                  <a:schemeClr val="tx1"/>
                </a:solidFill>
                <a:latin typeface="Arial" pitchFamily="34" charset="0"/>
              </a:defRPr>
            </a:lvl9pPr>
          </a:lstStyle>
          <a:p>
            <a:pPr>
              <a:lnSpc>
                <a:spcPct val="100000"/>
              </a:lnSpc>
              <a:spcBef>
                <a:spcPct val="0"/>
              </a:spcBef>
              <a:buFontTx/>
              <a:buNone/>
            </a:pPr>
            <a:r>
              <a:rPr lang="en-US" altLang="en-US" smtClean="0"/>
              <a:t>D3_AM1_Dolsten_FINAL.ppt</a:t>
            </a:r>
          </a:p>
        </p:txBody>
      </p:sp>
      <p:sp>
        <p:nvSpPr>
          <p:cNvPr id="47109" name="Rectangle 1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50000"/>
              </a:spcBef>
              <a:buChar char="•"/>
              <a:defRPr sz="1200">
                <a:solidFill>
                  <a:schemeClr val="tx1"/>
                </a:solidFill>
                <a:latin typeface="Arial" pitchFamily="34" charset="0"/>
              </a:defRPr>
            </a:lvl1pPr>
            <a:lvl2pPr marL="755283" indent="-290493" eaLnBrk="0" hangingPunct="0">
              <a:lnSpc>
                <a:spcPct val="90000"/>
              </a:lnSpc>
              <a:spcBef>
                <a:spcPct val="15000"/>
              </a:spcBef>
              <a:buChar char="•"/>
              <a:defRPr sz="1200">
                <a:solidFill>
                  <a:schemeClr val="tx1"/>
                </a:solidFill>
                <a:latin typeface="Arial" pitchFamily="34" charset="0"/>
              </a:defRPr>
            </a:lvl2pPr>
            <a:lvl3pPr marL="1161974" indent="-232395" eaLnBrk="0" hangingPunct="0">
              <a:lnSpc>
                <a:spcPct val="90000"/>
              </a:lnSpc>
              <a:spcBef>
                <a:spcPct val="15000"/>
              </a:spcBef>
              <a:buChar char="•"/>
              <a:defRPr sz="1200">
                <a:solidFill>
                  <a:schemeClr val="tx1"/>
                </a:solidFill>
                <a:latin typeface="Arial" pitchFamily="34" charset="0"/>
              </a:defRPr>
            </a:lvl3pPr>
            <a:lvl4pPr marL="1626763" indent="-232395" eaLnBrk="0" hangingPunct="0">
              <a:lnSpc>
                <a:spcPct val="90000"/>
              </a:lnSpc>
              <a:spcBef>
                <a:spcPct val="15000"/>
              </a:spcBef>
              <a:buChar char="•"/>
              <a:defRPr sz="1200">
                <a:solidFill>
                  <a:schemeClr val="tx1"/>
                </a:solidFill>
                <a:latin typeface="Arial" pitchFamily="34" charset="0"/>
              </a:defRPr>
            </a:lvl4pPr>
            <a:lvl5pPr marL="2091553" indent="-232395" eaLnBrk="0" hangingPunct="0">
              <a:lnSpc>
                <a:spcPct val="90000"/>
              </a:lnSpc>
              <a:spcBef>
                <a:spcPct val="15000"/>
              </a:spcBef>
              <a:buChar char="•"/>
              <a:defRPr sz="1200">
                <a:solidFill>
                  <a:schemeClr val="tx1"/>
                </a:solidFill>
                <a:latin typeface="Arial" pitchFamily="34" charset="0"/>
              </a:defRPr>
            </a:lvl5pPr>
            <a:lvl6pPr marL="2556342" indent="-232395" eaLnBrk="0" fontAlgn="base" hangingPunct="0">
              <a:lnSpc>
                <a:spcPct val="90000"/>
              </a:lnSpc>
              <a:spcBef>
                <a:spcPct val="15000"/>
              </a:spcBef>
              <a:spcAft>
                <a:spcPct val="0"/>
              </a:spcAft>
              <a:buChar char="•"/>
              <a:defRPr sz="1200">
                <a:solidFill>
                  <a:schemeClr val="tx1"/>
                </a:solidFill>
                <a:latin typeface="Arial" pitchFamily="34" charset="0"/>
              </a:defRPr>
            </a:lvl6pPr>
            <a:lvl7pPr marL="3021132" indent="-232395" eaLnBrk="0" fontAlgn="base" hangingPunct="0">
              <a:lnSpc>
                <a:spcPct val="90000"/>
              </a:lnSpc>
              <a:spcBef>
                <a:spcPct val="15000"/>
              </a:spcBef>
              <a:spcAft>
                <a:spcPct val="0"/>
              </a:spcAft>
              <a:buChar char="•"/>
              <a:defRPr sz="1200">
                <a:solidFill>
                  <a:schemeClr val="tx1"/>
                </a:solidFill>
                <a:latin typeface="Arial" pitchFamily="34" charset="0"/>
              </a:defRPr>
            </a:lvl7pPr>
            <a:lvl8pPr marL="3485921" indent="-232395" eaLnBrk="0" fontAlgn="base" hangingPunct="0">
              <a:lnSpc>
                <a:spcPct val="90000"/>
              </a:lnSpc>
              <a:spcBef>
                <a:spcPct val="15000"/>
              </a:spcBef>
              <a:spcAft>
                <a:spcPct val="0"/>
              </a:spcAft>
              <a:buChar char="•"/>
              <a:defRPr sz="1200">
                <a:solidFill>
                  <a:schemeClr val="tx1"/>
                </a:solidFill>
                <a:latin typeface="Arial" pitchFamily="34" charset="0"/>
              </a:defRPr>
            </a:lvl8pPr>
            <a:lvl9pPr marL="3950711" indent="-232395" eaLnBrk="0" fontAlgn="base" hangingPunct="0">
              <a:lnSpc>
                <a:spcPct val="90000"/>
              </a:lnSpc>
              <a:spcBef>
                <a:spcPct val="15000"/>
              </a:spcBef>
              <a:spcAft>
                <a:spcPct val="0"/>
              </a:spcAft>
              <a:buChar char="•"/>
              <a:defRPr sz="1200">
                <a:solidFill>
                  <a:schemeClr val="tx1"/>
                </a:solidFill>
                <a:latin typeface="Arial" pitchFamily="34" charset="0"/>
              </a:defRPr>
            </a:lvl9pPr>
          </a:lstStyle>
          <a:p>
            <a:pPr>
              <a:lnSpc>
                <a:spcPct val="100000"/>
              </a:lnSpc>
              <a:spcBef>
                <a:spcPct val="0"/>
              </a:spcBef>
              <a:buFontTx/>
              <a:buNone/>
            </a:pPr>
            <a:fld id="{4F419A7E-2181-4AF3-974F-0EDE0E1126DC}" type="slidenum">
              <a:rPr lang="en-US" altLang="en-US" smtClean="0"/>
              <a:pPr>
                <a:lnSpc>
                  <a:spcPct val="100000"/>
                </a:lnSpc>
                <a:spcBef>
                  <a:spcPct val="0"/>
                </a:spcBef>
                <a:buFontTx/>
                <a:buNone/>
              </a:pPr>
              <a:t>7</a:t>
            </a:fld>
            <a:endParaRPr lang="en-US" altLang="en-US" smtClean="0"/>
          </a:p>
        </p:txBody>
      </p:sp>
      <p:sp>
        <p:nvSpPr>
          <p:cNvPr id="4711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947" tIns="46473" rIns="92947" bIns="46473"/>
          <a:lstStyle/>
          <a:p>
            <a:pPr eaLnBrk="1" hangingPunct="1"/>
            <a:r>
              <a:rPr lang="en-US" altLang="en-US" smtClean="0">
                <a:latin typeface="Arial" pitchFamily="34" charset="0"/>
              </a:rPr>
              <a:t>The Three Horizons  frame a vigorous turn around strategy.</a:t>
            </a:r>
          </a:p>
          <a:p>
            <a:pPr eaLnBrk="1" hangingPunct="1"/>
            <a:endParaRPr lang="en-US" altLang="en-US" smtClean="0">
              <a:latin typeface="Arial" pitchFamily="34" charset="0"/>
            </a:endParaRPr>
          </a:p>
          <a:p>
            <a:pPr lvl="1" eaLnBrk="1" hangingPunct="1"/>
            <a:r>
              <a:rPr lang="en-US" altLang="en-US" smtClean="0">
                <a:latin typeface="Arial" pitchFamily="34" charset="0"/>
              </a:rPr>
              <a:t>Along the first horizon, we are….</a:t>
            </a:r>
          </a:p>
          <a:p>
            <a:pPr lvl="1" eaLnBrk="1" hangingPunct="1"/>
            <a:endParaRPr lang="en-US" altLang="en-US" smtClean="0">
              <a:latin typeface="Arial" pitchFamily="34" charset="0"/>
            </a:endParaRPr>
          </a:p>
          <a:p>
            <a:pPr lvl="1" eaLnBrk="1" hangingPunct="1"/>
            <a:r>
              <a:rPr lang="en-US" altLang="en-US" smtClean="0">
                <a:latin typeface="Arial" pitchFamily="34" charset="0"/>
              </a:rPr>
              <a:t>Along horizon two, we are pushing the boundaries…</a:t>
            </a:r>
          </a:p>
          <a:p>
            <a:pPr lvl="1" eaLnBrk="1" hangingPunct="1"/>
            <a:endParaRPr lang="en-US" altLang="en-US" smtClean="0">
              <a:latin typeface="Arial" pitchFamily="34" charset="0"/>
            </a:endParaRPr>
          </a:p>
          <a:p>
            <a:pPr lvl="1" eaLnBrk="1" hangingPunct="1"/>
            <a:r>
              <a:rPr lang="en-US" altLang="en-US" smtClean="0">
                <a:latin typeface="Arial" pitchFamily="34" charset="0"/>
              </a:rPr>
              <a:t>Along the third horizon, we are aiming to …</a:t>
            </a:r>
          </a:p>
          <a:p>
            <a:pPr lvl="1" eaLnBrk="1" hangingPunct="1">
              <a:buFontTx/>
              <a:buNone/>
            </a:pPr>
            <a:endParaRPr lang="en-US" altLang="en-US" smtClean="0">
              <a:latin typeface="Arial" pitchFamily="34" charset="0"/>
            </a:endParaRPr>
          </a:p>
          <a:p>
            <a:pPr eaLnBrk="1" hangingPunct="1"/>
            <a:r>
              <a:rPr lang="en-US" altLang="en-US" smtClean="0">
                <a:latin typeface="Arial" pitchFamily="34" charset="0"/>
              </a:rPr>
              <a:t>Expanded internal and external capabilities …. the focus on precision medicines …differentiated innovation … and our commitment to driving WRD as a business  - will yield an exciting step change in productivity. </a:t>
            </a:r>
          </a:p>
        </p:txBody>
      </p:sp>
      <p:sp>
        <p:nvSpPr>
          <p:cNvPr id="47111" name="Slide Image Placeholder 13"/>
          <p:cNvSpPr>
            <a:spLocks noGrp="1" noRot="1" noChangeAspect="1" noTextEdit="1"/>
          </p:cNvSpPr>
          <p:nvPr>
            <p:ph type="sldImg"/>
          </p:nvPr>
        </p:nvSpPr>
        <p:spPr>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xfrm>
            <a:off x="1181100" y="695325"/>
            <a:ext cx="4635500" cy="3476625"/>
          </a:xfrm>
          <a:ln/>
        </p:spPr>
      </p:sp>
      <p:sp>
        <p:nvSpPr>
          <p:cNvPr id="3891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FontTx/>
              <a:buChar char="•"/>
            </a:pPr>
            <a:endParaRPr lang="en-US" altLang="en-US" smtClean="0">
              <a:latin typeface="Arial" pitchFamily="34" charset="0"/>
              <a:cs typeface="Arial" pitchFamily="34" charset="0"/>
            </a:endParaRPr>
          </a:p>
        </p:txBody>
      </p:sp>
      <p:sp>
        <p:nvSpPr>
          <p:cNvPr id="3891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0024" eaLnBrk="0" hangingPunct="0">
              <a:spcBef>
                <a:spcPct val="30000"/>
              </a:spcBef>
              <a:defRPr sz="1200">
                <a:solidFill>
                  <a:schemeClr val="tx1"/>
                </a:solidFill>
                <a:latin typeface="Arial" pitchFamily="34" charset="0"/>
                <a:cs typeface="Arial" pitchFamily="34" charset="0"/>
              </a:defRPr>
            </a:lvl1pPr>
            <a:lvl2pPr marL="741159" indent="-285061" defTabSz="890024" eaLnBrk="0" hangingPunct="0">
              <a:spcBef>
                <a:spcPct val="30000"/>
              </a:spcBef>
              <a:defRPr sz="1200">
                <a:solidFill>
                  <a:schemeClr val="tx1"/>
                </a:solidFill>
                <a:latin typeface="Arial" pitchFamily="34" charset="0"/>
                <a:cs typeface="Arial" pitchFamily="34" charset="0"/>
              </a:defRPr>
            </a:lvl2pPr>
            <a:lvl3pPr marL="1140245" indent="-228049" defTabSz="890024" eaLnBrk="0" hangingPunct="0">
              <a:spcBef>
                <a:spcPct val="30000"/>
              </a:spcBef>
              <a:defRPr sz="1200">
                <a:solidFill>
                  <a:schemeClr val="tx1"/>
                </a:solidFill>
                <a:latin typeface="Arial" pitchFamily="34" charset="0"/>
                <a:cs typeface="Arial" pitchFamily="34" charset="0"/>
              </a:defRPr>
            </a:lvl3pPr>
            <a:lvl4pPr marL="1596343" indent="-228049" defTabSz="890024" eaLnBrk="0" hangingPunct="0">
              <a:spcBef>
                <a:spcPct val="30000"/>
              </a:spcBef>
              <a:defRPr sz="1200">
                <a:solidFill>
                  <a:schemeClr val="tx1"/>
                </a:solidFill>
                <a:latin typeface="Arial" pitchFamily="34" charset="0"/>
                <a:cs typeface="Arial" pitchFamily="34" charset="0"/>
              </a:defRPr>
            </a:lvl4pPr>
            <a:lvl5pPr marL="2052441" indent="-228049" defTabSz="890024" eaLnBrk="0" hangingPunct="0">
              <a:spcBef>
                <a:spcPct val="30000"/>
              </a:spcBef>
              <a:defRPr sz="1200">
                <a:solidFill>
                  <a:schemeClr val="tx1"/>
                </a:solidFill>
                <a:latin typeface="Arial" pitchFamily="34" charset="0"/>
                <a:cs typeface="Arial" pitchFamily="34" charset="0"/>
              </a:defRPr>
            </a:lvl5pPr>
            <a:lvl6pPr marL="2508539" indent="-228049" defTabSz="890024" eaLnBrk="0" fontAlgn="base" hangingPunct="0">
              <a:spcBef>
                <a:spcPct val="30000"/>
              </a:spcBef>
              <a:spcAft>
                <a:spcPct val="0"/>
              </a:spcAft>
              <a:defRPr sz="1200">
                <a:solidFill>
                  <a:schemeClr val="tx1"/>
                </a:solidFill>
                <a:latin typeface="Arial" pitchFamily="34" charset="0"/>
                <a:cs typeface="Arial" pitchFamily="34" charset="0"/>
              </a:defRPr>
            </a:lvl6pPr>
            <a:lvl7pPr marL="2964636" indent="-228049" defTabSz="890024" eaLnBrk="0" fontAlgn="base" hangingPunct="0">
              <a:spcBef>
                <a:spcPct val="30000"/>
              </a:spcBef>
              <a:spcAft>
                <a:spcPct val="0"/>
              </a:spcAft>
              <a:defRPr sz="1200">
                <a:solidFill>
                  <a:schemeClr val="tx1"/>
                </a:solidFill>
                <a:latin typeface="Arial" pitchFamily="34" charset="0"/>
                <a:cs typeface="Arial" pitchFamily="34" charset="0"/>
              </a:defRPr>
            </a:lvl7pPr>
            <a:lvl8pPr marL="3420735" indent="-228049" defTabSz="890024" eaLnBrk="0" fontAlgn="base" hangingPunct="0">
              <a:spcBef>
                <a:spcPct val="30000"/>
              </a:spcBef>
              <a:spcAft>
                <a:spcPct val="0"/>
              </a:spcAft>
              <a:defRPr sz="1200">
                <a:solidFill>
                  <a:schemeClr val="tx1"/>
                </a:solidFill>
                <a:latin typeface="Arial" pitchFamily="34" charset="0"/>
                <a:cs typeface="Arial" pitchFamily="34" charset="0"/>
              </a:defRPr>
            </a:lvl8pPr>
            <a:lvl9pPr marL="3876833" indent="-228049" defTabSz="890024" eaLnBrk="0" fontAlgn="base" hangingPunct="0">
              <a:spcBef>
                <a:spcPct val="30000"/>
              </a:spcBef>
              <a:spcAft>
                <a:spcPct val="0"/>
              </a:spcAft>
              <a:defRPr sz="1200">
                <a:solidFill>
                  <a:schemeClr val="tx1"/>
                </a:solidFill>
                <a:latin typeface="Arial" pitchFamily="34" charset="0"/>
                <a:cs typeface="Arial" pitchFamily="34" charset="0"/>
              </a:defRPr>
            </a:lvl9pPr>
          </a:lstStyle>
          <a:p>
            <a:pPr eaLnBrk="1" hangingPunct="1">
              <a:spcBef>
                <a:spcPct val="0"/>
              </a:spcBef>
            </a:pPr>
            <a:fld id="{5CBAC978-5396-4131-965F-1BA43A3D502D}" type="slidenum">
              <a:rPr lang="en-US" altLang="en-US" smtClean="0"/>
              <a:pPr eaLnBrk="1" hangingPunct="1">
                <a:spcBef>
                  <a:spcPct val="0"/>
                </a:spcBef>
              </a:pPr>
              <a:t>8</a:t>
            </a:fld>
            <a:endParaRPr lang="en-US" alt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22CD7188-F2F2-4F4B-AFD7-0E6DB1474CD2}" type="slidenum">
              <a:rPr lang="en-US" smtClean="0">
                <a:solidFill>
                  <a:prstClr val="black"/>
                </a:solidFill>
                <a:latin typeface="Arial" pitchFamily="34" charset="0"/>
              </a:rPr>
              <a:pPr/>
              <a:t>11</a:t>
            </a:fld>
            <a:endParaRPr lang="en-US" smtClean="0">
              <a:solidFill>
                <a:prstClr val="black"/>
              </a:solidFill>
              <a:latin typeface="Arial" pitchFamily="34" charset="0"/>
            </a:endParaRPr>
          </a:p>
        </p:txBody>
      </p:sp>
      <p:sp>
        <p:nvSpPr>
          <p:cNvPr id="18435" name="Rectangle 2"/>
          <p:cNvSpPr>
            <a:spLocks noGrp="1" noRot="1" noChangeAspect="1" noChangeArrowheads="1" noTextEdit="1"/>
          </p:cNvSpPr>
          <p:nvPr>
            <p:ph type="sldImg"/>
          </p:nvPr>
        </p:nvSpPr>
        <p:spPr bwMode="auto">
          <a:xfrm>
            <a:off x="1181100" y="695325"/>
            <a:ext cx="4635500" cy="3476625"/>
          </a:xfrm>
          <a:noFill/>
          <a:ln>
            <a:solidFill>
              <a:srgbClr val="000000"/>
            </a:solidFill>
            <a:miter lim="800000"/>
            <a:headEnd/>
            <a:tailEnd/>
          </a:ln>
        </p:spPr>
      </p:sp>
      <p:sp>
        <p:nvSpPr>
          <p:cNvPr id="1843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s-CL" sz="1200" dirty="0" smtClean="0">
                <a:solidFill>
                  <a:schemeClr val="accent1">
                    <a:lumMod val="10000"/>
                  </a:schemeClr>
                </a:solidFill>
                <a:latin typeface="Century Gothic" pitchFamily="34" charset="0"/>
              </a:rPr>
              <a:t>Detección de estos marcadores de tal forma de que en el futuro pueda ser empleado como método</a:t>
            </a:r>
            <a:r>
              <a:rPr lang="es-CL" sz="1200" baseline="0" dirty="0" smtClean="0">
                <a:solidFill>
                  <a:schemeClr val="accent1">
                    <a:lumMod val="10000"/>
                  </a:schemeClr>
                </a:solidFill>
                <a:latin typeface="Century Gothic" pitchFamily="34" charset="0"/>
              </a:rPr>
              <a:t> de detección validado empleado para diagnosticar </a:t>
            </a:r>
            <a:r>
              <a:rPr lang="es-CL" sz="1200" baseline="0" dirty="0" err="1" smtClean="0">
                <a:solidFill>
                  <a:schemeClr val="accent1">
                    <a:lumMod val="10000"/>
                  </a:schemeClr>
                </a:solidFill>
                <a:latin typeface="Century Gothic" pitchFamily="34" charset="0"/>
              </a:rPr>
              <a:t>cancer</a:t>
            </a:r>
            <a:r>
              <a:rPr lang="es-CL" sz="1200" baseline="0" dirty="0" smtClean="0">
                <a:solidFill>
                  <a:schemeClr val="accent1">
                    <a:lumMod val="10000"/>
                  </a:schemeClr>
                </a:solidFill>
                <a:latin typeface="Century Gothic" pitchFamily="34" charset="0"/>
              </a:rPr>
              <a:t> pulmonar o sea un indicador validado para determinar la presencia/ausencia de marcadores moleculares  relacionados con alguna patología.</a:t>
            </a:r>
            <a:endParaRPr lang="es-CL" sz="1200" dirty="0" smtClean="0">
              <a:solidFill>
                <a:schemeClr val="accent1">
                  <a:lumMod val="10000"/>
                </a:schemeClr>
              </a:solidFill>
              <a:latin typeface="Century Gothic"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s-CL" sz="1200" dirty="0" smtClean="0">
                <a:solidFill>
                  <a:schemeClr val="accent1">
                    <a:lumMod val="10000"/>
                  </a:schemeClr>
                </a:solidFill>
                <a:latin typeface="Century Gothic" pitchFamily="34" charset="0"/>
              </a:rPr>
              <a:t>Particularmente en el </a:t>
            </a:r>
            <a:r>
              <a:rPr lang="es-CL" sz="1200" dirty="0" err="1" smtClean="0">
                <a:solidFill>
                  <a:schemeClr val="accent1">
                    <a:lumMod val="10000"/>
                  </a:schemeClr>
                </a:solidFill>
                <a:latin typeface="Century Gothic" pitchFamily="34" charset="0"/>
              </a:rPr>
              <a:t>cancer</a:t>
            </a:r>
            <a:r>
              <a:rPr lang="es-CL" sz="1200" dirty="0" smtClean="0">
                <a:solidFill>
                  <a:schemeClr val="accent1">
                    <a:lumMod val="10000"/>
                  </a:schemeClr>
                </a:solidFill>
                <a:latin typeface="Century Gothic" pitchFamily="34" charset="0"/>
              </a:rPr>
              <a:t> de pulmón</a:t>
            </a:r>
            <a:r>
              <a:rPr lang="es-CL" sz="1200" baseline="0" dirty="0" smtClean="0">
                <a:solidFill>
                  <a:schemeClr val="accent1">
                    <a:lumMod val="10000"/>
                  </a:schemeClr>
                </a:solidFill>
                <a:latin typeface="Century Gothic" pitchFamily="34" charset="0"/>
              </a:rPr>
              <a:t> de célula no pequeña o NSCLC</a:t>
            </a:r>
            <a:endParaRPr lang="es-CL" sz="1200" dirty="0" smtClean="0">
              <a:solidFill>
                <a:schemeClr val="accent1">
                  <a:lumMod val="10000"/>
                </a:schemeClr>
              </a:solidFill>
              <a:latin typeface="Century Gothic" pitchFamily="34" charset="0"/>
            </a:endParaRPr>
          </a:p>
          <a:p>
            <a:endParaRPr lang="en-US" dirty="0"/>
          </a:p>
        </p:txBody>
      </p:sp>
      <p:sp>
        <p:nvSpPr>
          <p:cNvPr id="4" name="Slide Number Placeholder 3"/>
          <p:cNvSpPr>
            <a:spLocks noGrp="1"/>
          </p:cNvSpPr>
          <p:nvPr>
            <p:ph type="sldNum" sz="quarter" idx="10"/>
          </p:nvPr>
        </p:nvSpPr>
        <p:spPr/>
        <p:txBody>
          <a:bodyPr/>
          <a:lstStyle/>
          <a:p>
            <a:pPr>
              <a:defRPr/>
            </a:pPr>
            <a:fld id="{64E0E7DE-BA6D-4A69-B2E5-E966D77F8B72}" type="slidenum">
              <a:rPr lang="en-US" smtClean="0">
                <a:solidFill>
                  <a:prstClr val="black"/>
                </a:solidFill>
              </a:rPr>
              <a:pPr>
                <a:defRPr/>
              </a:pPr>
              <a:t>14</a:t>
            </a:fld>
            <a:endParaRPr lang="en-US">
              <a:solidFill>
                <a:prstClr val="black"/>
              </a:solidFill>
            </a:endParaRPr>
          </a:p>
        </p:txBody>
      </p:sp>
    </p:spTree>
    <p:extLst>
      <p:ext uri="{BB962C8B-B14F-4D97-AF65-F5344CB8AC3E}">
        <p14:creationId xmlns:p14="http://schemas.microsoft.com/office/powerpoint/2010/main" val="41691773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s-CL" sz="1200" dirty="0" smtClean="0">
                <a:solidFill>
                  <a:schemeClr val="accent1">
                    <a:lumMod val="10000"/>
                  </a:schemeClr>
                </a:solidFill>
                <a:latin typeface="Century Gothic" pitchFamily="34" charset="0"/>
              </a:rPr>
              <a:t>Detección de estos marcadores de tal forma de que en el futuro pueda ser empleado como método</a:t>
            </a:r>
            <a:r>
              <a:rPr lang="es-CL" sz="1200" baseline="0" dirty="0" smtClean="0">
                <a:solidFill>
                  <a:schemeClr val="accent1">
                    <a:lumMod val="10000"/>
                  </a:schemeClr>
                </a:solidFill>
                <a:latin typeface="Century Gothic" pitchFamily="34" charset="0"/>
              </a:rPr>
              <a:t> de detección validado empleado para diagnosticar </a:t>
            </a:r>
            <a:r>
              <a:rPr lang="es-CL" sz="1200" baseline="0" dirty="0" err="1" smtClean="0">
                <a:solidFill>
                  <a:schemeClr val="accent1">
                    <a:lumMod val="10000"/>
                  </a:schemeClr>
                </a:solidFill>
                <a:latin typeface="Century Gothic" pitchFamily="34" charset="0"/>
              </a:rPr>
              <a:t>cancer</a:t>
            </a:r>
            <a:r>
              <a:rPr lang="es-CL" sz="1200" baseline="0" dirty="0" smtClean="0">
                <a:solidFill>
                  <a:schemeClr val="accent1">
                    <a:lumMod val="10000"/>
                  </a:schemeClr>
                </a:solidFill>
                <a:latin typeface="Century Gothic" pitchFamily="34" charset="0"/>
              </a:rPr>
              <a:t> pulmonar o sea un indicador validado para determinar la presencia/ausencia de marcadores moleculares  relacionados con alguna patología.</a:t>
            </a:r>
            <a:endParaRPr lang="es-CL" sz="1200" dirty="0" smtClean="0">
              <a:solidFill>
                <a:schemeClr val="accent1">
                  <a:lumMod val="10000"/>
                </a:schemeClr>
              </a:solidFill>
              <a:latin typeface="Century Gothic"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s-CL" sz="1200" dirty="0" smtClean="0">
                <a:solidFill>
                  <a:schemeClr val="accent1">
                    <a:lumMod val="10000"/>
                  </a:schemeClr>
                </a:solidFill>
                <a:latin typeface="Century Gothic" pitchFamily="34" charset="0"/>
              </a:rPr>
              <a:t>Particularmente en el </a:t>
            </a:r>
            <a:r>
              <a:rPr lang="es-CL" sz="1200" dirty="0" err="1" smtClean="0">
                <a:solidFill>
                  <a:schemeClr val="accent1">
                    <a:lumMod val="10000"/>
                  </a:schemeClr>
                </a:solidFill>
                <a:latin typeface="Century Gothic" pitchFamily="34" charset="0"/>
              </a:rPr>
              <a:t>cancer</a:t>
            </a:r>
            <a:r>
              <a:rPr lang="es-CL" sz="1200" dirty="0" smtClean="0">
                <a:solidFill>
                  <a:schemeClr val="accent1">
                    <a:lumMod val="10000"/>
                  </a:schemeClr>
                </a:solidFill>
                <a:latin typeface="Century Gothic" pitchFamily="34" charset="0"/>
              </a:rPr>
              <a:t> de pulmón</a:t>
            </a:r>
            <a:r>
              <a:rPr lang="es-CL" sz="1200" baseline="0" dirty="0" smtClean="0">
                <a:solidFill>
                  <a:schemeClr val="accent1">
                    <a:lumMod val="10000"/>
                  </a:schemeClr>
                </a:solidFill>
                <a:latin typeface="Century Gothic" pitchFamily="34" charset="0"/>
              </a:rPr>
              <a:t> de célula no pequeña o NSCLC</a:t>
            </a:r>
            <a:endParaRPr lang="es-CL" sz="1200" dirty="0" smtClean="0">
              <a:solidFill>
                <a:schemeClr val="accent1">
                  <a:lumMod val="10000"/>
                </a:schemeClr>
              </a:solidFill>
              <a:latin typeface="Century Gothic" pitchFamily="34" charset="0"/>
            </a:endParaRPr>
          </a:p>
          <a:p>
            <a:endParaRPr lang="en-US" dirty="0"/>
          </a:p>
        </p:txBody>
      </p:sp>
      <p:sp>
        <p:nvSpPr>
          <p:cNvPr id="4" name="Slide Number Placeholder 3"/>
          <p:cNvSpPr>
            <a:spLocks noGrp="1"/>
          </p:cNvSpPr>
          <p:nvPr>
            <p:ph type="sldNum" sz="quarter" idx="10"/>
          </p:nvPr>
        </p:nvSpPr>
        <p:spPr/>
        <p:txBody>
          <a:bodyPr/>
          <a:lstStyle/>
          <a:p>
            <a:pPr>
              <a:defRPr/>
            </a:pPr>
            <a:fld id="{64E0E7DE-BA6D-4A69-B2E5-E966D77F8B72}" type="slidenum">
              <a:rPr lang="en-US" smtClean="0">
                <a:solidFill>
                  <a:prstClr val="black"/>
                </a:solidFill>
              </a:rPr>
              <a:pPr>
                <a:defRPr/>
              </a:pPr>
              <a:t>26</a:t>
            </a:fld>
            <a:endParaRPr lang="en-US">
              <a:solidFill>
                <a:prstClr val="black"/>
              </a:solidFill>
            </a:endParaRPr>
          </a:p>
        </p:txBody>
      </p:sp>
    </p:spTree>
    <p:extLst>
      <p:ext uri="{BB962C8B-B14F-4D97-AF65-F5344CB8AC3E}">
        <p14:creationId xmlns:p14="http://schemas.microsoft.com/office/powerpoint/2010/main" val="41691773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s-CL" sz="1200" dirty="0" smtClean="0">
                <a:solidFill>
                  <a:schemeClr val="accent1">
                    <a:lumMod val="10000"/>
                  </a:schemeClr>
                </a:solidFill>
                <a:latin typeface="Century Gothic" pitchFamily="34" charset="0"/>
              </a:rPr>
              <a:t>Detección de estos marcadores de tal forma de que en el futuro pueda ser empleado como método</a:t>
            </a:r>
            <a:r>
              <a:rPr lang="es-CL" sz="1200" baseline="0" dirty="0" smtClean="0">
                <a:solidFill>
                  <a:schemeClr val="accent1">
                    <a:lumMod val="10000"/>
                  </a:schemeClr>
                </a:solidFill>
                <a:latin typeface="Century Gothic" pitchFamily="34" charset="0"/>
              </a:rPr>
              <a:t> de detección validado empleado para diagnosticar </a:t>
            </a:r>
            <a:r>
              <a:rPr lang="es-CL" sz="1200" baseline="0" dirty="0" err="1" smtClean="0">
                <a:solidFill>
                  <a:schemeClr val="accent1">
                    <a:lumMod val="10000"/>
                  </a:schemeClr>
                </a:solidFill>
                <a:latin typeface="Century Gothic" pitchFamily="34" charset="0"/>
              </a:rPr>
              <a:t>cancer</a:t>
            </a:r>
            <a:r>
              <a:rPr lang="es-CL" sz="1200" baseline="0" dirty="0" smtClean="0">
                <a:solidFill>
                  <a:schemeClr val="accent1">
                    <a:lumMod val="10000"/>
                  </a:schemeClr>
                </a:solidFill>
                <a:latin typeface="Century Gothic" pitchFamily="34" charset="0"/>
              </a:rPr>
              <a:t> pulmonar o sea un indicador validado para determinar la presencia/ausencia de marcadores moleculares  relacionados con alguna patología.</a:t>
            </a:r>
            <a:endParaRPr lang="es-CL" sz="1200" dirty="0" smtClean="0">
              <a:solidFill>
                <a:schemeClr val="accent1">
                  <a:lumMod val="10000"/>
                </a:schemeClr>
              </a:solidFill>
              <a:latin typeface="Century Gothic"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s-CL" sz="1200" dirty="0" smtClean="0">
                <a:solidFill>
                  <a:schemeClr val="accent1">
                    <a:lumMod val="10000"/>
                  </a:schemeClr>
                </a:solidFill>
                <a:latin typeface="Century Gothic" pitchFamily="34" charset="0"/>
              </a:rPr>
              <a:t>Particularmente en el </a:t>
            </a:r>
            <a:r>
              <a:rPr lang="es-CL" sz="1200" dirty="0" err="1" smtClean="0">
                <a:solidFill>
                  <a:schemeClr val="accent1">
                    <a:lumMod val="10000"/>
                  </a:schemeClr>
                </a:solidFill>
                <a:latin typeface="Century Gothic" pitchFamily="34" charset="0"/>
              </a:rPr>
              <a:t>cancer</a:t>
            </a:r>
            <a:r>
              <a:rPr lang="es-CL" sz="1200" dirty="0" smtClean="0">
                <a:solidFill>
                  <a:schemeClr val="accent1">
                    <a:lumMod val="10000"/>
                  </a:schemeClr>
                </a:solidFill>
                <a:latin typeface="Century Gothic" pitchFamily="34" charset="0"/>
              </a:rPr>
              <a:t> de pulmón</a:t>
            </a:r>
            <a:r>
              <a:rPr lang="es-CL" sz="1200" baseline="0" dirty="0" smtClean="0">
                <a:solidFill>
                  <a:schemeClr val="accent1">
                    <a:lumMod val="10000"/>
                  </a:schemeClr>
                </a:solidFill>
                <a:latin typeface="Century Gothic" pitchFamily="34" charset="0"/>
              </a:rPr>
              <a:t> de célula no pequeña o NSCLC</a:t>
            </a:r>
            <a:endParaRPr lang="es-CL" sz="1200" dirty="0" smtClean="0">
              <a:solidFill>
                <a:schemeClr val="accent1">
                  <a:lumMod val="10000"/>
                </a:schemeClr>
              </a:solidFill>
              <a:latin typeface="Century Gothic" pitchFamily="34" charset="0"/>
            </a:endParaRPr>
          </a:p>
          <a:p>
            <a:endParaRPr lang="en-US" dirty="0"/>
          </a:p>
        </p:txBody>
      </p:sp>
      <p:sp>
        <p:nvSpPr>
          <p:cNvPr id="4" name="Slide Number Placeholder 3"/>
          <p:cNvSpPr>
            <a:spLocks noGrp="1"/>
          </p:cNvSpPr>
          <p:nvPr>
            <p:ph type="sldNum" sz="quarter" idx="10"/>
          </p:nvPr>
        </p:nvSpPr>
        <p:spPr/>
        <p:txBody>
          <a:bodyPr/>
          <a:lstStyle/>
          <a:p>
            <a:pPr>
              <a:defRPr/>
            </a:pPr>
            <a:fld id="{64E0E7DE-BA6D-4A69-B2E5-E966D77F8B72}" type="slidenum">
              <a:rPr lang="en-US" smtClean="0">
                <a:solidFill>
                  <a:prstClr val="black"/>
                </a:solidFill>
              </a:rPr>
              <a:pPr>
                <a:defRPr/>
              </a:pPr>
              <a:t>27</a:t>
            </a:fld>
            <a:endParaRPr lang="en-US">
              <a:solidFill>
                <a:prstClr val="black"/>
              </a:solidFill>
            </a:endParaRPr>
          </a:p>
        </p:txBody>
      </p:sp>
    </p:spTree>
    <p:extLst>
      <p:ext uri="{BB962C8B-B14F-4D97-AF65-F5344CB8AC3E}">
        <p14:creationId xmlns:p14="http://schemas.microsoft.com/office/powerpoint/2010/main" val="41691773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s-CL" sz="1200" dirty="0" smtClean="0">
                <a:solidFill>
                  <a:schemeClr val="accent1">
                    <a:lumMod val="10000"/>
                  </a:schemeClr>
                </a:solidFill>
                <a:latin typeface="Century Gothic" pitchFamily="34" charset="0"/>
              </a:rPr>
              <a:t>Detección de estos marcadores de tal forma de que en el futuro pueda ser empleado como método</a:t>
            </a:r>
            <a:r>
              <a:rPr lang="es-CL" sz="1200" baseline="0" dirty="0" smtClean="0">
                <a:solidFill>
                  <a:schemeClr val="accent1">
                    <a:lumMod val="10000"/>
                  </a:schemeClr>
                </a:solidFill>
                <a:latin typeface="Century Gothic" pitchFamily="34" charset="0"/>
              </a:rPr>
              <a:t> de detección validado empleado para diagnosticar </a:t>
            </a:r>
            <a:r>
              <a:rPr lang="es-CL" sz="1200" baseline="0" dirty="0" err="1" smtClean="0">
                <a:solidFill>
                  <a:schemeClr val="accent1">
                    <a:lumMod val="10000"/>
                  </a:schemeClr>
                </a:solidFill>
                <a:latin typeface="Century Gothic" pitchFamily="34" charset="0"/>
              </a:rPr>
              <a:t>cancer</a:t>
            </a:r>
            <a:r>
              <a:rPr lang="es-CL" sz="1200" baseline="0" dirty="0" smtClean="0">
                <a:solidFill>
                  <a:schemeClr val="accent1">
                    <a:lumMod val="10000"/>
                  </a:schemeClr>
                </a:solidFill>
                <a:latin typeface="Century Gothic" pitchFamily="34" charset="0"/>
              </a:rPr>
              <a:t> pulmonar o sea un indicador validado para determinar la presencia/ausencia de marcadores moleculares  relacionados con alguna patología.</a:t>
            </a:r>
            <a:endParaRPr lang="es-CL" sz="1200" dirty="0" smtClean="0">
              <a:solidFill>
                <a:schemeClr val="accent1">
                  <a:lumMod val="10000"/>
                </a:schemeClr>
              </a:solidFill>
              <a:latin typeface="Century Gothic"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s-CL" sz="1200" dirty="0" smtClean="0">
                <a:solidFill>
                  <a:schemeClr val="accent1">
                    <a:lumMod val="10000"/>
                  </a:schemeClr>
                </a:solidFill>
                <a:latin typeface="Century Gothic" pitchFamily="34" charset="0"/>
              </a:rPr>
              <a:t>Particularmente en el </a:t>
            </a:r>
            <a:r>
              <a:rPr lang="es-CL" sz="1200" dirty="0" err="1" smtClean="0">
                <a:solidFill>
                  <a:schemeClr val="accent1">
                    <a:lumMod val="10000"/>
                  </a:schemeClr>
                </a:solidFill>
                <a:latin typeface="Century Gothic" pitchFamily="34" charset="0"/>
              </a:rPr>
              <a:t>cancer</a:t>
            </a:r>
            <a:r>
              <a:rPr lang="es-CL" sz="1200" dirty="0" smtClean="0">
                <a:solidFill>
                  <a:schemeClr val="accent1">
                    <a:lumMod val="10000"/>
                  </a:schemeClr>
                </a:solidFill>
                <a:latin typeface="Century Gothic" pitchFamily="34" charset="0"/>
              </a:rPr>
              <a:t> de pulmón</a:t>
            </a:r>
            <a:r>
              <a:rPr lang="es-CL" sz="1200" baseline="0" dirty="0" smtClean="0">
                <a:solidFill>
                  <a:schemeClr val="accent1">
                    <a:lumMod val="10000"/>
                  </a:schemeClr>
                </a:solidFill>
                <a:latin typeface="Century Gothic" pitchFamily="34" charset="0"/>
              </a:rPr>
              <a:t> de célula no pequeña o NSCLC</a:t>
            </a:r>
            <a:endParaRPr lang="es-CL" sz="1200" dirty="0" smtClean="0">
              <a:solidFill>
                <a:schemeClr val="accent1">
                  <a:lumMod val="10000"/>
                </a:schemeClr>
              </a:solidFill>
              <a:latin typeface="Century Gothic" pitchFamily="34" charset="0"/>
            </a:endParaRPr>
          </a:p>
          <a:p>
            <a:endParaRPr lang="en-US" dirty="0"/>
          </a:p>
        </p:txBody>
      </p:sp>
      <p:sp>
        <p:nvSpPr>
          <p:cNvPr id="4" name="Slide Number Placeholder 3"/>
          <p:cNvSpPr>
            <a:spLocks noGrp="1"/>
          </p:cNvSpPr>
          <p:nvPr>
            <p:ph type="sldNum" sz="quarter" idx="10"/>
          </p:nvPr>
        </p:nvSpPr>
        <p:spPr/>
        <p:txBody>
          <a:bodyPr/>
          <a:lstStyle/>
          <a:p>
            <a:pPr>
              <a:defRPr/>
            </a:pPr>
            <a:fld id="{64E0E7DE-BA6D-4A69-B2E5-E966D77F8B72}" type="slidenum">
              <a:rPr lang="en-US" smtClean="0">
                <a:solidFill>
                  <a:prstClr val="black"/>
                </a:solidFill>
              </a:rPr>
              <a:pPr>
                <a:defRPr/>
              </a:pPr>
              <a:t>28</a:t>
            </a:fld>
            <a:endParaRPr lang="en-US">
              <a:solidFill>
                <a:prstClr val="black"/>
              </a:solidFill>
            </a:endParaRPr>
          </a:p>
        </p:txBody>
      </p:sp>
    </p:spTree>
    <p:extLst>
      <p:ext uri="{BB962C8B-B14F-4D97-AF65-F5344CB8AC3E}">
        <p14:creationId xmlns:p14="http://schemas.microsoft.com/office/powerpoint/2010/main" val="41691773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123.xml"/><Relationship Id="rId4" Type="http://schemas.openxmlformats.org/officeDocument/2006/relationships/slideMaster" Target="../slideMasters/slideMaster6.xml"/><Relationship Id="rId5" Type="http://schemas.openxmlformats.org/officeDocument/2006/relationships/oleObject" Target="../embeddings/oleObject24.bin"/><Relationship Id="rId6" Type="http://schemas.openxmlformats.org/officeDocument/2006/relationships/image" Target="../media/image1.jpeg"/><Relationship Id="rId7" Type="http://schemas.openxmlformats.org/officeDocument/2006/relationships/image" Target="../media/image2.jpeg"/><Relationship Id="rId1" Type="http://schemas.openxmlformats.org/officeDocument/2006/relationships/vmlDrawing" Target="../drawings/vmlDrawing23.vml"/><Relationship Id="rId2" Type="http://schemas.openxmlformats.org/officeDocument/2006/relationships/tags" Target="../tags/tag12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jpeg"/></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125.xml"/><Relationship Id="rId4" Type="http://schemas.openxmlformats.org/officeDocument/2006/relationships/slideMaster" Target="../slideMasters/slideMaster6.xml"/><Relationship Id="rId5" Type="http://schemas.openxmlformats.org/officeDocument/2006/relationships/oleObject" Target="../embeddings/oleObject25.bin"/><Relationship Id="rId6" Type="http://schemas.openxmlformats.org/officeDocument/2006/relationships/image" Target="../media/image1.jpeg"/><Relationship Id="rId7" Type="http://schemas.openxmlformats.org/officeDocument/2006/relationships/image" Target="../media/image2.jpeg"/><Relationship Id="rId1" Type="http://schemas.openxmlformats.org/officeDocument/2006/relationships/vmlDrawing" Target="../drawings/vmlDrawing24.vml"/><Relationship Id="rId2" Type="http://schemas.openxmlformats.org/officeDocument/2006/relationships/tags" Target="../tags/tag124.xml"/></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6.xml"/><Relationship Id="rId4" Type="http://schemas.openxmlformats.org/officeDocument/2006/relationships/slideMaster" Target="../slideMasters/slideMaster1.xml"/><Relationship Id="rId5" Type="http://schemas.openxmlformats.org/officeDocument/2006/relationships/oleObject" Target="../embeddings/oleObject2.bin"/><Relationship Id="rId6" Type="http://schemas.openxmlformats.org/officeDocument/2006/relationships/image" Target="../media/image1.jpeg"/><Relationship Id="rId1" Type="http://schemas.openxmlformats.org/officeDocument/2006/relationships/vmlDrawing" Target="../drawings/vmlDrawing2.vml"/><Relationship Id="rId2"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8.xml"/><Relationship Id="rId4" Type="http://schemas.openxmlformats.org/officeDocument/2006/relationships/slideMaster" Target="../slideMasters/slideMaster1.xml"/><Relationship Id="rId5" Type="http://schemas.openxmlformats.org/officeDocument/2006/relationships/oleObject" Target="../embeddings/oleObject3.bin"/><Relationship Id="rId6" Type="http://schemas.openxmlformats.org/officeDocument/2006/relationships/image" Target="../media/image1.jpeg"/><Relationship Id="rId7" Type="http://schemas.openxmlformats.org/officeDocument/2006/relationships/image" Target="../media/image2.jpeg"/><Relationship Id="rId1" Type="http://schemas.openxmlformats.org/officeDocument/2006/relationships/vmlDrawing" Target="../drawings/vmlDrawing3.vml"/><Relationship Id="rId2" Type="http://schemas.openxmlformats.org/officeDocument/2006/relationships/tags" Target="../tags/tag17.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0.xml"/><Relationship Id="rId4" Type="http://schemas.openxmlformats.org/officeDocument/2006/relationships/slideMaster" Target="../slideMasters/slideMaster1.xml"/><Relationship Id="rId5" Type="http://schemas.openxmlformats.org/officeDocument/2006/relationships/oleObject" Target="../embeddings/oleObject4.bin"/><Relationship Id="rId6" Type="http://schemas.openxmlformats.org/officeDocument/2006/relationships/image" Target="../media/image1.jpeg"/><Relationship Id="rId7" Type="http://schemas.openxmlformats.org/officeDocument/2006/relationships/image" Target="../media/image2.jpeg"/><Relationship Id="rId1" Type="http://schemas.openxmlformats.org/officeDocument/2006/relationships/vmlDrawing" Target="../drawings/vmlDrawing4.vml"/><Relationship Id="rId2" Type="http://schemas.openxmlformats.org/officeDocument/2006/relationships/tags" Target="../tags/tag19.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2.xml"/><Relationship Id="rId4" Type="http://schemas.openxmlformats.org/officeDocument/2006/relationships/slideMaster" Target="../slideMasters/slideMaster1.xml"/><Relationship Id="rId5" Type="http://schemas.openxmlformats.org/officeDocument/2006/relationships/oleObject" Target="../embeddings/oleObject5.bin"/><Relationship Id="rId6" Type="http://schemas.openxmlformats.org/officeDocument/2006/relationships/image" Target="../media/image1.jpeg"/><Relationship Id="rId7" Type="http://schemas.openxmlformats.org/officeDocument/2006/relationships/image" Target="../media/image2.jpeg"/><Relationship Id="rId1" Type="http://schemas.openxmlformats.org/officeDocument/2006/relationships/vmlDrawing" Target="../drawings/vmlDrawing5.vml"/><Relationship Id="rId2" Type="http://schemas.openxmlformats.org/officeDocument/2006/relationships/tags" Target="../tags/tag2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4.xml"/><Relationship Id="rId4" Type="http://schemas.openxmlformats.org/officeDocument/2006/relationships/slideMaster" Target="../slideMasters/slideMaster1.xml"/><Relationship Id="rId5" Type="http://schemas.openxmlformats.org/officeDocument/2006/relationships/oleObject" Target="../embeddings/oleObject6.bin"/><Relationship Id="rId6" Type="http://schemas.openxmlformats.org/officeDocument/2006/relationships/image" Target="../media/image1.jpeg"/><Relationship Id="rId7" Type="http://schemas.openxmlformats.org/officeDocument/2006/relationships/oleObject" Target="../embeddings/oleObject7.bin"/><Relationship Id="rId8" Type="http://schemas.openxmlformats.org/officeDocument/2006/relationships/image" Target="../media/image3.emf"/><Relationship Id="rId1" Type="http://schemas.openxmlformats.org/officeDocument/2006/relationships/vmlDrawing" Target="../drawings/vmlDrawing6.vml"/><Relationship Id="rId2" Type="http://schemas.openxmlformats.org/officeDocument/2006/relationships/tags" Target="../tags/tag23.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8.bin"/><Relationship Id="rId5" Type="http://schemas.openxmlformats.org/officeDocument/2006/relationships/image" Target="../media/image1.jpeg"/><Relationship Id="rId6" Type="http://schemas.openxmlformats.org/officeDocument/2006/relationships/image" Target="../media/image4.png"/><Relationship Id="rId7" Type="http://schemas.openxmlformats.org/officeDocument/2006/relationships/image" Target="../media/image5.png"/><Relationship Id="rId8" Type="http://schemas.openxmlformats.org/officeDocument/2006/relationships/image" Target="../media/image6.png"/><Relationship Id="rId9" Type="http://schemas.openxmlformats.org/officeDocument/2006/relationships/image" Target="../media/image7.png"/><Relationship Id="rId10" Type="http://schemas.openxmlformats.org/officeDocument/2006/relationships/image" Target="../media/image8.png"/><Relationship Id="rId1" Type="http://schemas.openxmlformats.org/officeDocument/2006/relationships/vmlDrawing" Target="../drawings/vmlDrawing7.vml"/><Relationship Id="rId2" Type="http://schemas.openxmlformats.org/officeDocument/2006/relationships/tags" Target="../tags/tag25.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jpeg"/><Relationship Id="rId4" Type="http://schemas.openxmlformats.org/officeDocument/2006/relationships/image" Target="../media/image10.jpeg"/><Relationship Id="rId1" Type="http://schemas.openxmlformats.org/officeDocument/2006/relationships/slideMaster" Target="../slideMasters/slideMaster1.xml"/><Relationship Id="rId2" Type="http://schemas.openxmlformats.org/officeDocument/2006/relationships/image" Target="../media/image2.jpeg"/></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7.xml"/><Relationship Id="rId4" Type="http://schemas.openxmlformats.org/officeDocument/2006/relationships/slideMaster" Target="../slideMasters/slideMaster1.xml"/><Relationship Id="rId5" Type="http://schemas.openxmlformats.org/officeDocument/2006/relationships/oleObject" Target="../embeddings/oleObject9.bin"/><Relationship Id="rId6" Type="http://schemas.openxmlformats.org/officeDocument/2006/relationships/image" Target="../media/image1.jpeg"/><Relationship Id="rId7" Type="http://schemas.openxmlformats.org/officeDocument/2006/relationships/image" Target="../media/image2.jpeg"/><Relationship Id="rId1" Type="http://schemas.openxmlformats.org/officeDocument/2006/relationships/vmlDrawing" Target="../drawings/vmlDrawing8.vml"/><Relationship Id="rId2" Type="http://schemas.openxmlformats.org/officeDocument/2006/relationships/tags" Target="../tags/tag26.xml"/></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9.xml"/><Relationship Id="rId4" Type="http://schemas.openxmlformats.org/officeDocument/2006/relationships/slideMaster" Target="../slideMasters/slideMaster1.xml"/><Relationship Id="rId5" Type="http://schemas.openxmlformats.org/officeDocument/2006/relationships/oleObject" Target="../embeddings/oleObject10.bin"/><Relationship Id="rId6" Type="http://schemas.openxmlformats.org/officeDocument/2006/relationships/image" Target="../media/image1.jpeg"/><Relationship Id="rId7" Type="http://schemas.openxmlformats.org/officeDocument/2006/relationships/image" Target="../media/image2.jpeg"/><Relationship Id="rId1" Type="http://schemas.openxmlformats.org/officeDocument/2006/relationships/vmlDrawing" Target="../drawings/vmlDrawing9.vml"/><Relationship Id="rId2" Type="http://schemas.openxmlformats.org/officeDocument/2006/relationships/tags" Target="../tags/tag28.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1.xml"/><Relationship Id="rId4" Type="http://schemas.openxmlformats.org/officeDocument/2006/relationships/slideMaster" Target="../slideMasters/slideMaster1.xml"/><Relationship Id="rId5" Type="http://schemas.openxmlformats.org/officeDocument/2006/relationships/oleObject" Target="../embeddings/oleObject11.bin"/><Relationship Id="rId6" Type="http://schemas.openxmlformats.org/officeDocument/2006/relationships/image" Target="../media/image1.jpeg"/><Relationship Id="rId7" Type="http://schemas.openxmlformats.org/officeDocument/2006/relationships/image" Target="../media/image2.jpeg"/><Relationship Id="rId1" Type="http://schemas.openxmlformats.org/officeDocument/2006/relationships/vmlDrawing" Target="../drawings/vmlDrawing10.vml"/><Relationship Id="rId2" Type="http://schemas.openxmlformats.org/officeDocument/2006/relationships/tags" Target="../tags/tag3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47.xml"/><Relationship Id="rId4" Type="http://schemas.openxmlformats.org/officeDocument/2006/relationships/tags" Target="../tags/tag48.xml"/><Relationship Id="rId5" Type="http://schemas.openxmlformats.org/officeDocument/2006/relationships/slideMaster" Target="../slideMasters/slideMaster2.xml"/><Relationship Id="rId6" Type="http://schemas.openxmlformats.org/officeDocument/2006/relationships/oleObject" Target="../embeddings/oleObject13.bin"/><Relationship Id="rId7" Type="http://schemas.openxmlformats.org/officeDocument/2006/relationships/image" Target="../media/image11.jpeg"/><Relationship Id="rId8" Type="http://schemas.openxmlformats.org/officeDocument/2006/relationships/image" Target="../media/image1.jpeg"/><Relationship Id="rId1" Type="http://schemas.openxmlformats.org/officeDocument/2006/relationships/vmlDrawing" Target="../drawings/vmlDrawing12.vml"/><Relationship Id="rId2" Type="http://schemas.openxmlformats.org/officeDocument/2006/relationships/tags" Target="../tags/tag46.xml"/></Relationships>
</file>

<file path=ppt/slideLayouts/_rels/slideLayout35.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Master" Target="../slideMasters/slideMaster2.xml"/><Relationship Id="rId3" Type="http://schemas.openxmlformats.org/officeDocument/2006/relationships/image" Target="../media/image2.jpeg"/></Relationships>
</file>

<file path=ppt/slideLayouts/_rels/slideLayout36.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Master" Target="../slideMasters/slideMaster2.xml"/><Relationship Id="rId3" Type="http://schemas.openxmlformats.org/officeDocument/2006/relationships/image" Target="../media/image2.jpeg"/></Relationships>
</file>

<file path=ppt/slideLayouts/_rels/slideLayout37.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Master" Target="../slideMasters/slideMaster2.xml"/><Relationship Id="rId3" Type="http://schemas.openxmlformats.org/officeDocument/2006/relationships/image" Target="../media/image2.jpeg"/></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53.xml"/><Relationship Id="rId4" Type="http://schemas.openxmlformats.org/officeDocument/2006/relationships/tags" Target="../tags/tag54.xml"/><Relationship Id="rId5" Type="http://schemas.openxmlformats.org/officeDocument/2006/relationships/slideMaster" Target="../slideMasters/slideMaster2.xml"/><Relationship Id="rId6" Type="http://schemas.openxmlformats.org/officeDocument/2006/relationships/oleObject" Target="../embeddings/oleObject14.bin"/><Relationship Id="rId7" Type="http://schemas.openxmlformats.org/officeDocument/2006/relationships/image" Target="../media/image3.emf"/><Relationship Id="rId1" Type="http://schemas.openxmlformats.org/officeDocument/2006/relationships/vmlDrawing" Target="../drawings/vmlDrawing13.vml"/><Relationship Id="rId2" Type="http://schemas.openxmlformats.org/officeDocument/2006/relationships/tags" Target="../tags/tag5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6.png"/><Relationship Id="rId5" Type="http://schemas.openxmlformats.org/officeDocument/2006/relationships/image" Target="../media/image7.png"/><Relationship Id="rId6" Type="http://schemas.openxmlformats.org/officeDocument/2006/relationships/image" Target="../media/image8.png"/><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jpeg"/><Relationship Id="rId4" Type="http://schemas.openxmlformats.org/officeDocument/2006/relationships/image" Target="../media/image10.jpeg"/><Relationship Id="rId1" Type="http://schemas.openxmlformats.org/officeDocument/2006/relationships/slideMaster" Target="../slideMasters/slideMaster2.xml"/><Relationship Id="rId2" Type="http://schemas.openxmlformats.org/officeDocument/2006/relationships/image" Target="../media/image2.jpe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tags" Target="../tags/tag66.xml"/><Relationship Id="rId2"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tags" Target="../tags/tag67.xml"/><Relationship Id="rId2"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tags" Target="../tags/tag68.xml"/><Relationship Id="rId2"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70.xml"/><Relationship Id="rId4" Type="http://schemas.openxmlformats.org/officeDocument/2006/relationships/slideMaster" Target="../slideMasters/slideMaster3.xml"/><Relationship Id="rId5" Type="http://schemas.openxmlformats.org/officeDocument/2006/relationships/oleObject" Target="../embeddings/oleObject16.bin"/><Relationship Id="rId6" Type="http://schemas.openxmlformats.org/officeDocument/2006/relationships/image" Target="../media/image11.jpeg"/><Relationship Id="rId1" Type="http://schemas.openxmlformats.org/officeDocument/2006/relationships/vmlDrawing" Target="../drawings/vmlDrawing15.vml"/><Relationship Id="rId2" Type="http://schemas.openxmlformats.org/officeDocument/2006/relationships/tags" Target="../tags/tag69.xml"/></Relationships>
</file>

<file path=ppt/slideLayouts/_rels/slideLayout54.xml.rels><?xml version="1.0" encoding="UTF-8" standalone="yes"?>
<Relationships xmlns="http://schemas.openxmlformats.org/package/2006/relationships"><Relationship Id="rId1" Type="http://schemas.openxmlformats.org/officeDocument/2006/relationships/tags" Target="../tags/tag71.xml"/><Relationship Id="rId2" Type="http://schemas.openxmlformats.org/officeDocument/2006/relationships/slideMaster" Target="../slideMasters/slideMaster3.xml"/><Relationship Id="rId3" Type="http://schemas.openxmlformats.org/officeDocument/2006/relationships/image" Target="../media/image2.jpeg"/></Relationships>
</file>

<file path=ppt/slideLayouts/_rels/slideLayout55.xml.rels><?xml version="1.0" encoding="UTF-8" standalone="yes"?>
<Relationships xmlns="http://schemas.openxmlformats.org/package/2006/relationships"><Relationship Id="rId1" Type="http://schemas.openxmlformats.org/officeDocument/2006/relationships/tags" Target="../tags/tag72.xml"/><Relationship Id="rId2" Type="http://schemas.openxmlformats.org/officeDocument/2006/relationships/slideMaster" Target="../slideMasters/slideMaster3.xml"/><Relationship Id="rId3" Type="http://schemas.openxmlformats.org/officeDocument/2006/relationships/image" Target="../media/image2.jpeg"/></Relationships>
</file>

<file path=ppt/slideLayouts/_rels/slideLayout56.xml.rels><?xml version="1.0" encoding="UTF-8" standalone="yes"?>
<Relationships xmlns="http://schemas.openxmlformats.org/package/2006/relationships"><Relationship Id="rId1" Type="http://schemas.openxmlformats.org/officeDocument/2006/relationships/tags" Target="../tags/tag73.xml"/><Relationship Id="rId2" Type="http://schemas.openxmlformats.org/officeDocument/2006/relationships/slideMaster" Target="../slideMasters/slideMaster3.xml"/><Relationship Id="rId3" Type="http://schemas.openxmlformats.org/officeDocument/2006/relationships/image" Target="../media/image2.jpeg"/></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75.xml"/><Relationship Id="rId4" Type="http://schemas.openxmlformats.org/officeDocument/2006/relationships/tags" Target="../tags/tag76.xml"/><Relationship Id="rId5" Type="http://schemas.openxmlformats.org/officeDocument/2006/relationships/slideMaster" Target="../slideMasters/slideMaster3.xml"/><Relationship Id="rId6" Type="http://schemas.openxmlformats.org/officeDocument/2006/relationships/oleObject" Target="../embeddings/oleObject17.bin"/><Relationship Id="rId7" Type="http://schemas.openxmlformats.org/officeDocument/2006/relationships/image" Target="../media/image3.emf"/><Relationship Id="rId1" Type="http://schemas.openxmlformats.org/officeDocument/2006/relationships/vmlDrawing" Target="../drawings/vmlDrawing16.vml"/><Relationship Id="rId2" Type="http://schemas.openxmlformats.org/officeDocument/2006/relationships/tags" Target="../tags/tag7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6.png"/><Relationship Id="rId5" Type="http://schemas.openxmlformats.org/officeDocument/2006/relationships/image" Target="../media/image7.png"/><Relationship Id="rId6" Type="http://schemas.openxmlformats.org/officeDocument/2006/relationships/image" Target="../media/image8.png"/><Relationship Id="rId1" Type="http://schemas.openxmlformats.org/officeDocument/2006/relationships/slideMaster" Target="../slideMasters/slideMaster3.xml"/><Relationship Id="rId2" Type="http://schemas.openxmlformats.org/officeDocument/2006/relationships/image" Target="../media/image4.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tags" Target="../tags/tag81.xml"/><Relationship Id="rId2"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tags" Target="../tags/tag82.xml"/><Relationship Id="rId2"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tags" Target="../tags/tag83.xml"/><Relationship Id="rId2"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tags" Target="../tags/tag84.xml"/><Relationship Id="rId2"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tags" Target="../tags/tag85.xml"/><Relationship Id="rId2"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tags" Target="../tags/tag86.xml"/><Relationship Id="rId2"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tags" Target="../tags/tag87.xml"/><Relationship Id="rId2"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tags" Target="../tags/tag88.xml"/><Relationship Id="rId2"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tags" Target="../tags/tag89.xml"/><Relationship Id="rId2"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tags" Target="../tags/tag90.xml"/><Relationship Id="rId2"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92.xml"/><Relationship Id="rId4" Type="http://schemas.openxmlformats.org/officeDocument/2006/relationships/tags" Target="../tags/tag93.xml"/><Relationship Id="rId5" Type="http://schemas.openxmlformats.org/officeDocument/2006/relationships/slideMaster" Target="../slideMasters/slideMaster4.xml"/><Relationship Id="rId6" Type="http://schemas.openxmlformats.org/officeDocument/2006/relationships/oleObject" Target="../embeddings/oleObject19.bin"/><Relationship Id="rId7" Type="http://schemas.openxmlformats.org/officeDocument/2006/relationships/image" Target="../media/image11.jpeg"/><Relationship Id="rId8" Type="http://schemas.openxmlformats.org/officeDocument/2006/relationships/image" Target="../media/image1.jpeg"/><Relationship Id="rId1" Type="http://schemas.openxmlformats.org/officeDocument/2006/relationships/vmlDrawing" Target="../drawings/vmlDrawing18.vml"/><Relationship Id="rId2" Type="http://schemas.openxmlformats.org/officeDocument/2006/relationships/tags" Target="../tags/tag91.xml"/></Relationships>
</file>

<file path=ppt/slideLayouts/_rels/slideLayout71.xml.rels><?xml version="1.0" encoding="UTF-8" standalone="yes"?>
<Relationships xmlns="http://schemas.openxmlformats.org/package/2006/relationships"><Relationship Id="rId1" Type="http://schemas.openxmlformats.org/officeDocument/2006/relationships/tags" Target="../tags/tag94.xml"/><Relationship Id="rId2" Type="http://schemas.openxmlformats.org/officeDocument/2006/relationships/slideMaster" Target="../slideMasters/slideMaster4.xml"/><Relationship Id="rId3" Type="http://schemas.openxmlformats.org/officeDocument/2006/relationships/image" Target="../media/image2.jpeg"/></Relationships>
</file>

<file path=ppt/slideLayouts/_rels/slideLayout72.xml.rels><?xml version="1.0" encoding="UTF-8" standalone="yes"?>
<Relationships xmlns="http://schemas.openxmlformats.org/package/2006/relationships"><Relationship Id="rId1" Type="http://schemas.openxmlformats.org/officeDocument/2006/relationships/tags" Target="../tags/tag95.xml"/><Relationship Id="rId2" Type="http://schemas.openxmlformats.org/officeDocument/2006/relationships/slideMaster" Target="../slideMasters/slideMaster4.xml"/><Relationship Id="rId3" Type="http://schemas.openxmlformats.org/officeDocument/2006/relationships/image" Target="../media/image2.jpeg"/></Relationships>
</file>

<file path=ppt/slideLayouts/_rels/slideLayout73.xml.rels><?xml version="1.0" encoding="UTF-8" standalone="yes"?>
<Relationships xmlns="http://schemas.openxmlformats.org/package/2006/relationships"><Relationship Id="rId1" Type="http://schemas.openxmlformats.org/officeDocument/2006/relationships/tags" Target="../tags/tag96.xml"/><Relationship Id="rId2" Type="http://schemas.openxmlformats.org/officeDocument/2006/relationships/slideMaster" Target="../slideMasters/slideMaster4.xml"/><Relationship Id="rId3" Type="http://schemas.openxmlformats.org/officeDocument/2006/relationships/image" Target="../media/image2.jpeg"/></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98.xml"/><Relationship Id="rId4" Type="http://schemas.openxmlformats.org/officeDocument/2006/relationships/tags" Target="../tags/tag99.xml"/><Relationship Id="rId5" Type="http://schemas.openxmlformats.org/officeDocument/2006/relationships/slideMaster" Target="../slideMasters/slideMaster4.xml"/><Relationship Id="rId6" Type="http://schemas.openxmlformats.org/officeDocument/2006/relationships/oleObject" Target="../embeddings/oleObject20.bin"/><Relationship Id="rId7" Type="http://schemas.openxmlformats.org/officeDocument/2006/relationships/image" Target="../media/image3.emf"/><Relationship Id="rId1" Type="http://schemas.openxmlformats.org/officeDocument/2006/relationships/vmlDrawing" Target="../drawings/vmlDrawing19.vml"/><Relationship Id="rId2" Type="http://schemas.openxmlformats.org/officeDocument/2006/relationships/tags" Target="../tags/tag97.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6.png"/><Relationship Id="rId5" Type="http://schemas.openxmlformats.org/officeDocument/2006/relationships/image" Target="../media/image7.png"/><Relationship Id="rId6" Type="http://schemas.openxmlformats.org/officeDocument/2006/relationships/image" Target="../media/image8.png"/><Relationship Id="rId1" Type="http://schemas.openxmlformats.org/officeDocument/2006/relationships/slideMaster" Target="../slideMasters/slideMaster4.xml"/><Relationship Id="rId2" Type="http://schemas.openxmlformats.org/officeDocument/2006/relationships/image" Target="../media/image4.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9.jpeg"/><Relationship Id="rId3" Type="http://schemas.openxmlformats.org/officeDocument/2006/relationships/image" Target="../media/image10.jpe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tags" Target="../tags/tag104.xml"/><Relationship Id="rId2"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tags" Target="../tags/tag105.xml"/><Relationship Id="rId2"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tags" Target="../tags/tag106.xml"/><Relationship Id="rId2"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tags" Target="../tags/tag107.xml"/><Relationship Id="rId2"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tags" Target="../tags/tag108.xml"/><Relationship Id="rId2"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tags" Target="../tags/tag110.xml"/><Relationship Id="rId2"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tags" Target="../tags/tag111.xml"/><Relationship Id="rId2"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tags" Target="../tags/tag112.xml"/><Relationship Id="rId2"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15.xml"/><Relationship Id="rId4" Type="http://schemas.openxmlformats.org/officeDocument/2006/relationships/slideMaster" Target="../slideMasters/slideMaster5.xml"/><Relationship Id="rId5" Type="http://schemas.openxmlformats.org/officeDocument/2006/relationships/oleObject" Target="../embeddings/oleObject22.bin"/><Relationship Id="rId6" Type="http://schemas.openxmlformats.org/officeDocument/2006/relationships/image" Target="../media/image11.jpeg"/><Relationship Id="rId1" Type="http://schemas.openxmlformats.org/officeDocument/2006/relationships/vmlDrawing" Target="../drawings/vmlDrawing21.vml"/><Relationship Id="rId2" Type="http://schemas.openxmlformats.org/officeDocument/2006/relationships/tags" Target="../tags/tag114.xml"/></Relationships>
</file>

<file path=ppt/slideLayouts/_rels/slideLayout89.xml.rels><?xml version="1.0" encoding="UTF-8" standalone="yes"?>
<Relationships xmlns="http://schemas.openxmlformats.org/package/2006/relationships"><Relationship Id="rId1" Type="http://schemas.openxmlformats.org/officeDocument/2006/relationships/tags" Target="../tags/tag116.xml"/><Relationship Id="rId2" Type="http://schemas.openxmlformats.org/officeDocument/2006/relationships/slideMaster" Target="../slideMasters/slideMaster5.xml"/><Relationship Id="rId3" Type="http://schemas.openxmlformats.org/officeDocument/2006/relationships/image" Target="../media/image2.jpeg"/></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tags" Target="../tags/tag117.xml"/><Relationship Id="rId2" Type="http://schemas.openxmlformats.org/officeDocument/2006/relationships/slideMaster" Target="../slideMasters/slideMaster5.xml"/><Relationship Id="rId3" Type="http://schemas.openxmlformats.org/officeDocument/2006/relationships/image" Target="../media/image2.jpeg"/></Relationships>
</file>

<file path=ppt/slideLayouts/_rels/slideLayout91.xml.rels><?xml version="1.0" encoding="UTF-8" standalone="yes"?>
<Relationships xmlns="http://schemas.openxmlformats.org/package/2006/relationships"><Relationship Id="rId1" Type="http://schemas.openxmlformats.org/officeDocument/2006/relationships/tags" Target="../tags/tag118.xml"/><Relationship Id="rId2" Type="http://schemas.openxmlformats.org/officeDocument/2006/relationships/slideMaster" Target="../slideMasters/slideMaster5.xml"/><Relationship Id="rId3" Type="http://schemas.openxmlformats.org/officeDocument/2006/relationships/image" Target="../media/image2.jpeg"/></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120.xml"/><Relationship Id="rId4" Type="http://schemas.openxmlformats.org/officeDocument/2006/relationships/tags" Target="../tags/tag121.xml"/><Relationship Id="rId5" Type="http://schemas.openxmlformats.org/officeDocument/2006/relationships/slideMaster" Target="../slideMasters/slideMaster5.xml"/><Relationship Id="rId6" Type="http://schemas.openxmlformats.org/officeDocument/2006/relationships/oleObject" Target="../embeddings/oleObject23.bin"/><Relationship Id="rId7" Type="http://schemas.openxmlformats.org/officeDocument/2006/relationships/image" Target="../media/image3.emf"/><Relationship Id="rId1" Type="http://schemas.openxmlformats.org/officeDocument/2006/relationships/vmlDrawing" Target="../drawings/vmlDrawing22.vml"/><Relationship Id="rId2" Type="http://schemas.openxmlformats.org/officeDocument/2006/relationships/tags" Target="../tags/tag119.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6.png"/><Relationship Id="rId5" Type="http://schemas.openxmlformats.org/officeDocument/2006/relationships/image" Target="../media/image7.png"/><Relationship Id="rId6" Type="http://schemas.openxmlformats.org/officeDocument/2006/relationships/image" Target="../media/image8.png"/><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BAD10719-4019-4625-A15D-5AB085EFB79A}"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D6832674-AE60-413F-BD97-1CB2E5EBF967}" type="datetimeFigureOut">
              <a:rPr lang="es-CL" smtClean="0"/>
              <a:t>5/30/16</a:t>
            </a:fld>
            <a:endParaRPr lang="es-CL"/>
          </a:p>
        </p:txBody>
      </p:sp>
      <p:sp>
        <p:nvSpPr>
          <p:cNvPr id="3" name="2 Marcador de pie de página"/>
          <p:cNvSpPr>
            <a:spLocks noGrp="1"/>
          </p:cNvSpPr>
          <p:nvPr>
            <p:ph type="ftr" sz="quarter" idx="11"/>
          </p:nvPr>
        </p:nvSpPr>
        <p:spPr/>
        <p:txBody>
          <a:bodyPr/>
          <a:lstStyle/>
          <a:p>
            <a:endParaRPr lang="es-CL"/>
          </a:p>
        </p:txBody>
      </p:sp>
      <p:sp>
        <p:nvSpPr>
          <p:cNvPr id="4" name="3 Marcador de número de diapositiva"/>
          <p:cNvSpPr>
            <a:spLocks noGrp="1"/>
          </p:cNvSpPr>
          <p:nvPr>
            <p:ph type="sldNum" sz="quarter" idx="12"/>
          </p:nvPr>
        </p:nvSpPr>
        <p:spPr/>
        <p:txBody>
          <a:bodyPr/>
          <a:lstStyle/>
          <a:p>
            <a:pPr>
              <a:defRPr/>
            </a:pPr>
            <a:fld id="{369AF959-3F19-45C0-BDE8-016007A35A46}" type="slidenum">
              <a:rPr lang="en-US" altLang="en-US" smtClean="0"/>
              <a:pPr>
                <a:defRPr/>
              </a:pPr>
              <a:t>‹#›</a:t>
            </a:fld>
            <a:endParaRPr lang="en-US" altLang="en-US"/>
          </a:p>
        </p:txBody>
      </p:sp>
    </p:spTree>
    <p:extLst>
      <p:ext uri="{BB962C8B-B14F-4D97-AF65-F5344CB8AC3E}">
        <p14:creationId xmlns:p14="http://schemas.microsoft.com/office/powerpoint/2010/main" val="398912236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hf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s-CL"/>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4 Marcador de fecha"/>
          <p:cNvSpPr>
            <a:spLocks noGrp="1"/>
          </p:cNvSpPr>
          <p:nvPr>
            <p:ph type="dt" sz="half" idx="10"/>
          </p:nvPr>
        </p:nvSpPr>
        <p:spPr/>
        <p:txBody>
          <a:bodyPr/>
          <a:lstStyle/>
          <a:p>
            <a:fld id="{D6832674-AE60-413F-BD97-1CB2E5EBF967}" type="datetimeFigureOut">
              <a:rPr lang="es-CL" smtClean="0"/>
              <a:t>5/30/16</a:t>
            </a:fld>
            <a:endParaRPr lang="es-CL"/>
          </a:p>
        </p:txBody>
      </p:sp>
      <p:sp>
        <p:nvSpPr>
          <p:cNvPr id="6" name="5 Marcador de pie de página"/>
          <p:cNvSpPr>
            <a:spLocks noGrp="1"/>
          </p:cNvSpPr>
          <p:nvPr>
            <p:ph type="ftr" sz="quarter" idx="11"/>
          </p:nvPr>
        </p:nvSpPr>
        <p:spPr/>
        <p:txBody>
          <a:bodyPr/>
          <a:lstStyle/>
          <a:p>
            <a:endParaRPr lang="es-CL"/>
          </a:p>
        </p:txBody>
      </p:sp>
      <p:sp>
        <p:nvSpPr>
          <p:cNvPr id="7" name="6 Marcador de número de diapositiva"/>
          <p:cNvSpPr>
            <a:spLocks noGrp="1"/>
          </p:cNvSpPr>
          <p:nvPr>
            <p:ph type="sldNum" sz="quarter" idx="12"/>
          </p:nvPr>
        </p:nvSpPr>
        <p:spPr/>
        <p:txBody>
          <a:bodyPr/>
          <a:lstStyle/>
          <a:p>
            <a:pPr>
              <a:defRPr/>
            </a:pPr>
            <a:fld id="{369AF959-3F19-45C0-BDE8-016007A35A46}" type="slidenum">
              <a:rPr lang="en-US" altLang="en-US" smtClean="0"/>
              <a:pPr>
                <a:defRPr/>
              </a:pPr>
              <a:t>‹#›</a:t>
            </a:fld>
            <a:endParaRPr lang="en-US" altLang="en-US"/>
          </a:p>
        </p:txBody>
      </p:sp>
    </p:spTree>
    <p:extLst>
      <p:ext uri="{BB962C8B-B14F-4D97-AF65-F5344CB8AC3E}">
        <p14:creationId xmlns:p14="http://schemas.microsoft.com/office/powerpoint/2010/main" val="330108005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hf hdr="0" ftr="0" dt="0"/>
</p:sldLayout>
</file>

<file path=ppt/slideLayouts/slideLayout102.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s-CL"/>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s-CL"/>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4 Marcador de fecha"/>
          <p:cNvSpPr>
            <a:spLocks noGrp="1"/>
          </p:cNvSpPr>
          <p:nvPr>
            <p:ph type="dt" sz="half" idx="10"/>
          </p:nvPr>
        </p:nvSpPr>
        <p:spPr/>
        <p:txBody>
          <a:bodyPr/>
          <a:lstStyle/>
          <a:p>
            <a:fld id="{D6832674-AE60-413F-BD97-1CB2E5EBF967}" type="datetimeFigureOut">
              <a:rPr lang="es-CL" smtClean="0"/>
              <a:t>5/30/16</a:t>
            </a:fld>
            <a:endParaRPr lang="es-CL"/>
          </a:p>
        </p:txBody>
      </p:sp>
      <p:sp>
        <p:nvSpPr>
          <p:cNvPr id="6" name="5 Marcador de pie de página"/>
          <p:cNvSpPr>
            <a:spLocks noGrp="1"/>
          </p:cNvSpPr>
          <p:nvPr>
            <p:ph type="ftr" sz="quarter" idx="11"/>
          </p:nvPr>
        </p:nvSpPr>
        <p:spPr/>
        <p:txBody>
          <a:bodyPr/>
          <a:lstStyle/>
          <a:p>
            <a:endParaRPr lang="es-CL"/>
          </a:p>
        </p:txBody>
      </p:sp>
      <p:sp>
        <p:nvSpPr>
          <p:cNvPr id="7" name="6 Marcador de número de diapositiva"/>
          <p:cNvSpPr>
            <a:spLocks noGrp="1"/>
          </p:cNvSpPr>
          <p:nvPr>
            <p:ph type="sldNum" sz="quarter" idx="12"/>
          </p:nvPr>
        </p:nvSpPr>
        <p:spPr/>
        <p:txBody>
          <a:bodyPr/>
          <a:lstStyle/>
          <a:p>
            <a:pPr>
              <a:defRPr/>
            </a:pPr>
            <a:fld id="{369AF959-3F19-45C0-BDE8-016007A35A46}" type="slidenum">
              <a:rPr lang="en-US" altLang="en-US" smtClean="0"/>
              <a:pPr>
                <a:defRPr/>
              </a:pPr>
              <a:t>‹#›</a:t>
            </a:fld>
            <a:endParaRPr lang="en-US" altLang="en-US"/>
          </a:p>
        </p:txBody>
      </p:sp>
    </p:spTree>
    <p:extLst>
      <p:ext uri="{BB962C8B-B14F-4D97-AF65-F5344CB8AC3E}">
        <p14:creationId xmlns:p14="http://schemas.microsoft.com/office/powerpoint/2010/main" val="150471453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hf hdr="0" ftr="0" dt="0"/>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smtClean="0"/>
              <a:t>Click to edit Master title style</a:t>
            </a:r>
            <a:endParaRPr lang="es-CL"/>
          </a:p>
        </p:txBody>
      </p:sp>
      <p:sp>
        <p:nvSpPr>
          <p:cNvPr id="3" name="2 Marcador de texto vertical"/>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3 Marcador de fecha"/>
          <p:cNvSpPr>
            <a:spLocks noGrp="1"/>
          </p:cNvSpPr>
          <p:nvPr>
            <p:ph type="dt" sz="half" idx="10"/>
          </p:nvPr>
        </p:nvSpPr>
        <p:spPr/>
        <p:txBody>
          <a:bodyPr/>
          <a:lstStyle/>
          <a:p>
            <a:fld id="{D6832674-AE60-413F-BD97-1CB2E5EBF967}" type="datetimeFigureOut">
              <a:rPr lang="es-CL" smtClean="0"/>
              <a:t>5/30/16</a:t>
            </a:fld>
            <a:endParaRPr lang="es-CL"/>
          </a:p>
        </p:txBody>
      </p:sp>
      <p:sp>
        <p:nvSpPr>
          <p:cNvPr id="5" name="4 Marcador de pie de página"/>
          <p:cNvSpPr>
            <a:spLocks noGrp="1"/>
          </p:cNvSpPr>
          <p:nvPr>
            <p:ph type="ftr" sz="quarter" idx="11"/>
          </p:nvPr>
        </p:nvSpPr>
        <p:spPr/>
        <p:txBody>
          <a:bodyPr/>
          <a:lstStyle/>
          <a:p>
            <a:endParaRPr lang="es-CL"/>
          </a:p>
        </p:txBody>
      </p:sp>
      <p:sp>
        <p:nvSpPr>
          <p:cNvPr id="6" name="5 Marcador de número de diapositiva"/>
          <p:cNvSpPr>
            <a:spLocks noGrp="1"/>
          </p:cNvSpPr>
          <p:nvPr>
            <p:ph type="sldNum" sz="quarter" idx="12"/>
          </p:nvPr>
        </p:nvSpPr>
        <p:spPr/>
        <p:txBody>
          <a:bodyPr/>
          <a:lstStyle/>
          <a:p>
            <a:pPr>
              <a:defRPr/>
            </a:pPr>
            <a:fld id="{369AF959-3F19-45C0-BDE8-016007A35A46}" type="slidenum">
              <a:rPr lang="en-US" altLang="en-US" smtClean="0"/>
              <a:pPr>
                <a:defRPr/>
              </a:pPr>
              <a:t>‹#›</a:t>
            </a:fld>
            <a:endParaRPr lang="en-US" altLang="en-US"/>
          </a:p>
        </p:txBody>
      </p:sp>
    </p:spTree>
    <p:extLst>
      <p:ext uri="{BB962C8B-B14F-4D97-AF65-F5344CB8AC3E}">
        <p14:creationId xmlns:p14="http://schemas.microsoft.com/office/powerpoint/2010/main" val="362129974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hf hdr="0" ftr="0" dt="0"/>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851525"/>
          </a:xfrm>
        </p:spPr>
        <p:txBody>
          <a:bodyPr vert="eaVert"/>
          <a:lstStyle/>
          <a:p>
            <a:r>
              <a:rPr lang="en-US" smtClean="0"/>
              <a:t>Click to edit Master title style</a:t>
            </a:r>
            <a:endParaRPr lang="es-CL"/>
          </a:p>
        </p:txBody>
      </p:sp>
      <p:sp>
        <p:nvSpPr>
          <p:cNvPr id="3" name="2 Marcador de texto vertical"/>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3 Marcador de fecha"/>
          <p:cNvSpPr>
            <a:spLocks noGrp="1"/>
          </p:cNvSpPr>
          <p:nvPr>
            <p:ph type="dt" sz="half" idx="10"/>
          </p:nvPr>
        </p:nvSpPr>
        <p:spPr/>
        <p:txBody>
          <a:bodyPr/>
          <a:lstStyle/>
          <a:p>
            <a:fld id="{D6832674-AE60-413F-BD97-1CB2E5EBF967}" type="datetimeFigureOut">
              <a:rPr lang="es-CL" smtClean="0"/>
              <a:t>5/30/16</a:t>
            </a:fld>
            <a:endParaRPr lang="es-CL"/>
          </a:p>
        </p:txBody>
      </p:sp>
      <p:sp>
        <p:nvSpPr>
          <p:cNvPr id="5" name="4 Marcador de pie de página"/>
          <p:cNvSpPr>
            <a:spLocks noGrp="1"/>
          </p:cNvSpPr>
          <p:nvPr>
            <p:ph type="ftr" sz="quarter" idx="11"/>
          </p:nvPr>
        </p:nvSpPr>
        <p:spPr/>
        <p:txBody>
          <a:bodyPr/>
          <a:lstStyle/>
          <a:p>
            <a:endParaRPr lang="es-CL"/>
          </a:p>
        </p:txBody>
      </p:sp>
      <p:sp>
        <p:nvSpPr>
          <p:cNvPr id="6" name="5 Marcador de número de diapositiva"/>
          <p:cNvSpPr>
            <a:spLocks noGrp="1"/>
          </p:cNvSpPr>
          <p:nvPr>
            <p:ph type="sldNum" sz="quarter" idx="12"/>
          </p:nvPr>
        </p:nvSpPr>
        <p:spPr/>
        <p:txBody>
          <a:bodyPr/>
          <a:lstStyle/>
          <a:p>
            <a:pPr>
              <a:defRPr/>
            </a:pPr>
            <a:fld id="{369AF959-3F19-45C0-BDE8-016007A35A46}" type="slidenum">
              <a:rPr lang="en-US" altLang="en-US" smtClean="0"/>
              <a:pPr>
                <a:defRPr/>
              </a:pPr>
              <a:t>‹#›</a:t>
            </a:fld>
            <a:endParaRPr lang="en-US" altLang="en-US"/>
          </a:p>
        </p:txBody>
      </p:sp>
    </p:spTree>
    <p:extLst>
      <p:ext uri="{BB962C8B-B14F-4D97-AF65-F5344CB8AC3E}">
        <p14:creationId xmlns:p14="http://schemas.microsoft.com/office/powerpoint/2010/main" val="33519693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hf hdr="0" ftr="0" dt="0"/>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2" name="AutoShape 23"/>
          <p:cNvGraphicFramePr>
            <a:graphicFrameLocks/>
          </p:cNvGraphicFramePr>
          <p:nvPr>
            <p:custDataLst>
              <p:tags r:id="rId2"/>
            </p:custDataLst>
          </p:nvPr>
        </p:nvGraphicFramePr>
        <p:xfrm>
          <a:off x="-1588" y="0"/>
          <a:ext cx="150813" cy="158750"/>
        </p:xfrm>
        <a:graphic>
          <a:graphicData uri="http://schemas.openxmlformats.org/presentationml/2006/ole">
            <mc:AlternateContent xmlns:mc="http://schemas.openxmlformats.org/markup-compatibility/2006">
              <mc:Choice xmlns:v="urn:schemas-microsoft-com:vml" Requires="v">
                <p:oleObj spid="_x0000_s78237" r:id="rId5" imgW="0" imgH="0" progId="">
                  <p:embed/>
                </p:oleObj>
              </mc:Choice>
              <mc:Fallback>
                <p:oleObj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50" descr="WhitePage_1"/>
          <p:cNvPicPr>
            <a:picLocks noChangeAspect="1" noChangeArrowheads="1"/>
          </p:cNvPicPr>
          <p:nvPr/>
        </p:nvPicPr>
        <p:blipFill>
          <a:blip r:embed="rId6" cstate="print"/>
          <a:srcRect/>
          <a:stretch>
            <a:fillRect/>
          </a:stretch>
        </p:blipFill>
        <p:spPr bwMode="auto">
          <a:xfrm>
            <a:off x="0" y="0"/>
            <a:ext cx="9144000" cy="6858000"/>
          </a:xfrm>
          <a:prstGeom prst="rect">
            <a:avLst/>
          </a:prstGeom>
          <a:noFill/>
          <a:ln w="9525">
            <a:noFill/>
            <a:miter lim="800000"/>
            <a:headEnd/>
            <a:tailEnd/>
          </a:ln>
        </p:spPr>
      </p:pic>
      <p:pic>
        <p:nvPicPr>
          <p:cNvPr id="4" name="Picture 9" descr="WhitePage_1a"/>
          <p:cNvPicPr>
            <a:picLocks noChangeAspect="1" noChangeArrowheads="1"/>
          </p:cNvPicPr>
          <p:nvPr userDrawn="1"/>
        </p:nvPicPr>
        <p:blipFill>
          <a:blip r:embed="rId7" cstate="print"/>
          <a:srcRect/>
          <a:stretch>
            <a:fillRect/>
          </a:stretch>
        </p:blipFill>
        <p:spPr bwMode="auto">
          <a:xfrm>
            <a:off x="0" y="0"/>
            <a:ext cx="9144000" cy="6858000"/>
          </a:xfrm>
          <a:prstGeom prst="rect">
            <a:avLst/>
          </a:prstGeom>
          <a:noFill/>
          <a:ln w="9525">
            <a:noFill/>
            <a:miter lim="800000"/>
            <a:headEnd/>
            <a:tailEnd/>
          </a:ln>
        </p:spPr>
      </p:pic>
      <p:sp>
        <p:nvSpPr>
          <p:cNvPr id="5" name="pg num"/>
          <p:cNvSpPr>
            <a:spLocks noGrp="1" noChangeArrowheads="1"/>
          </p:cNvSpPr>
          <p:nvPr>
            <p:ph type="sldNum" sz="quarter" idx="10"/>
            <p:custDataLst>
              <p:tags r:id="rId3"/>
            </p:custDataLst>
          </p:nvPr>
        </p:nvSpPr>
        <p:spPr>
          <a:xfrm>
            <a:off x="6553200" y="6505575"/>
            <a:ext cx="2133600" cy="123825"/>
          </a:xfrm>
        </p:spPr>
        <p:txBody>
          <a:bodyPr/>
          <a:lstStyle>
            <a:lvl1pPr>
              <a:defRPr/>
            </a:lvl1pPr>
          </a:lstStyle>
          <a:p>
            <a:pPr>
              <a:defRPr/>
            </a:pPr>
            <a:fld id="{C0014F1D-6C81-4BF2-8460-2CC12118F536}" type="slidenum">
              <a:rPr lang="en-US" altLang="en-US"/>
              <a:pPr>
                <a:defRPr/>
              </a:pPr>
              <a:t>‹#›</a:t>
            </a:fld>
            <a:endParaRPr lang="en-US" altLang="en-US" dirty="0"/>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2" name="Picture 9" descr="WhitePage_1a"/>
          <p:cNvPicPr>
            <a:picLocks noChangeAspect="1" noChangeArrowheads="1"/>
          </p:cNvPicPr>
          <p:nvPr userDrawn="1"/>
        </p:nvPicPr>
        <p:blipFill>
          <a:blip r:embed="rId2" cstate="print"/>
          <a:srcRect b="82222"/>
          <a:stretch>
            <a:fillRect/>
          </a:stretch>
        </p:blipFill>
        <p:spPr bwMode="auto">
          <a:xfrm>
            <a:off x="0" y="0"/>
            <a:ext cx="9144000" cy="1219200"/>
          </a:xfrm>
          <a:prstGeom prst="rect">
            <a:avLst/>
          </a:prstGeom>
          <a:noFill/>
        </p:spPr>
      </p:pic>
      <p:sp>
        <p:nvSpPr>
          <p:cNvPr id="10" name="Text Placeholder 11"/>
          <p:cNvSpPr>
            <a:spLocks noGrp="1"/>
          </p:cNvSpPr>
          <p:nvPr>
            <p:ph type="body" sz="quarter" idx="17" hasCustomPrompt="1"/>
          </p:nvPr>
        </p:nvSpPr>
        <p:spPr>
          <a:xfrm>
            <a:off x="442989" y="1506540"/>
            <a:ext cx="8265582" cy="4589461"/>
          </a:xfrm>
        </p:spPr>
        <p:txBody>
          <a:bodyPr/>
          <a:lstStyle>
            <a:lvl1pPr>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itle 13"/>
          <p:cNvSpPr>
            <a:spLocks noGrp="1"/>
          </p:cNvSpPr>
          <p:nvPr>
            <p:ph type="title" hasCustomPrompt="1"/>
          </p:nvPr>
        </p:nvSpPr>
        <p:spPr>
          <a:xfrm>
            <a:off x="297543" y="121920"/>
            <a:ext cx="6016171" cy="906780"/>
          </a:xfrm>
        </p:spPr>
        <p:txBody>
          <a:bodyPr/>
          <a:lstStyle>
            <a:lvl1pPr>
              <a:defRPr>
                <a:solidFill>
                  <a:schemeClr val="bg1"/>
                </a:solidFill>
              </a:defRPr>
            </a:lvl1pPr>
          </a:lstStyle>
          <a:p>
            <a:r>
              <a:rPr lang="en-US" dirty="0" smtClean="0"/>
              <a:t>Click to add title</a:t>
            </a:r>
            <a:endParaRPr lang="en-US" dirty="0"/>
          </a:p>
        </p:txBody>
      </p:sp>
    </p:spTree>
    <p:extLst>
      <p:ext uri="{BB962C8B-B14F-4D97-AF65-F5344CB8AC3E}">
        <p14:creationId xmlns:p14="http://schemas.microsoft.com/office/powerpoint/2010/main" val="3418545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graphicFrame>
        <p:nvGraphicFramePr>
          <p:cNvPr id="2" name="AutoShape 23"/>
          <p:cNvGraphicFramePr>
            <a:graphicFrameLocks/>
          </p:cNvGraphicFramePr>
          <p:nvPr>
            <p:custDataLst>
              <p:tags r:id="rId2"/>
            </p:custDataLst>
          </p:nvPr>
        </p:nvGraphicFramePr>
        <p:xfrm>
          <a:off x="-1588" y="0"/>
          <a:ext cx="150813" cy="158750"/>
        </p:xfrm>
        <a:graphic>
          <a:graphicData uri="http://schemas.openxmlformats.org/presentationml/2006/ole">
            <mc:AlternateContent xmlns:mc="http://schemas.openxmlformats.org/markup-compatibility/2006">
              <mc:Choice xmlns:v="urn:schemas-microsoft-com:vml" Requires="v">
                <p:oleObj spid="_x0000_s82977" r:id="rId5" imgW="0" imgH="0" progId="">
                  <p:embed/>
                </p:oleObj>
              </mc:Choice>
              <mc:Fallback>
                <p:oleObj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50" descr="WhitePage_1"/>
          <p:cNvPicPr>
            <a:picLocks noChangeAspect="1" noChangeArrowheads="1"/>
          </p:cNvPicPr>
          <p:nvPr/>
        </p:nvPicPr>
        <p:blipFill>
          <a:blip r:embed="rId6" cstate="print"/>
          <a:srcRect/>
          <a:stretch>
            <a:fillRect/>
          </a:stretch>
        </p:blipFill>
        <p:spPr bwMode="auto">
          <a:xfrm>
            <a:off x="0" y="0"/>
            <a:ext cx="9144000" cy="6858000"/>
          </a:xfrm>
          <a:prstGeom prst="rect">
            <a:avLst/>
          </a:prstGeom>
          <a:noFill/>
          <a:ln w="9525">
            <a:noFill/>
            <a:miter lim="800000"/>
            <a:headEnd/>
            <a:tailEnd/>
          </a:ln>
        </p:spPr>
      </p:pic>
      <p:pic>
        <p:nvPicPr>
          <p:cNvPr id="4" name="Picture 9" descr="WhitePage_1a"/>
          <p:cNvPicPr>
            <a:picLocks noChangeAspect="1" noChangeArrowheads="1"/>
          </p:cNvPicPr>
          <p:nvPr userDrawn="1"/>
        </p:nvPicPr>
        <p:blipFill>
          <a:blip r:embed="rId7" cstate="print"/>
          <a:srcRect/>
          <a:stretch>
            <a:fillRect/>
          </a:stretch>
        </p:blipFill>
        <p:spPr bwMode="auto">
          <a:xfrm>
            <a:off x="0" y="0"/>
            <a:ext cx="9144000" cy="6858000"/>
          </a:xfrm>
          <a:prstGeom prst="rect">
            <a:avLst/>
          </a:prstGeom>
          <a:noFill/>
          <a:ln w="9525">
            <a:noFill/>
            <a:miter lim="800000"/>
            <a:headEnd/>
            <a:tailEnd/>
          </a:ln>
        </p:spPr>
      </p:pic>
      <p:sp>
        <p:nvSpPr>
          <p:cNvPr id="5" name="pg num"/>
          <p:cNvSpPr>
            <a:spLocks noGrp="1" noChangeArrowheads="1"/>
          </p:cNvSpPr>
          <p:nvPr>
            <p:ph type="sldNum" sz="quarter" idx="10"/>
            <p:custDataLst>
              <p:tags r:id="rId3"/>
            </p:custDataLst>
          </p:nvPr>
        </p:nvSpPr>
        <p:spPr>
          <a:xfrm>
            <a:off x="6553200" y="6505575"/>
            <a:ext cx="2133600" cy="123825"/>
          </a:xfrm>
        </p:spPr>
        <p:txBody>
          <a:bodyPr/>
          <a:lstStyle>
            <a:lvl1pPr>
              <a:defRPr/>
            </a:lvl1pPr>
          </a:lstStyle>
          <a:p>
            <a:pPr>
              <a:defRPr/>
            </a:pPr>
            <a:fld id="{855D866C-3EC2-4478-81D8-D3BF3541B17A}" type="slidenum">
              <a:rPr lang="en-US" altLang="en-US"/>
              <a:pPr>
                <a:defRPr/>
              </a:pPr>
              <a:t>‹#›</a:t>
            </a:fld>
            <a:endParaRPr lang="en-US" altLang="en-US" dirty="0"/>
          </a:p>
        </p:txBody>
      </p:sp>
    </p:spTree>
    <p:extLst>
      <p:ext uri="{BB962C8B-B14F-4D97-AF65-F5344CB8AC3E}">
        <p14:creationId xmlns:p14="http://schemas.microsoft.com/office/powerpoint/2010/main" val="99919400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8225" y="152400"/>
            <a:ext cx="2127250" cy="6096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76656" y="152400"/>
            <a:ext cx="6236607" cy="6096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E0607BEF-01F9-4857-BF31-D91C7B240762}"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bl" preserve="1">
  <p:cSld name="Title and Table">
    <p:spTree>
      <p:nvGrpSpPr>
        <p:cNvPr id="1" name=""/>
        <p:cNvGrpSpPr/>
        <p:nvPr/>
      </p:nvGrpSpPr>
      <p:grpSpPr>
        <a:xfrm>
          <a:off x="0" y="0"/>
          <a:ext cx="0" cy="0"/>
          <a:chOff x="0" y="0"/>
          <a:chExt cx="0" cy="0"/>
        </a:xfrm>
      </p:grpSpPr>
      <p:graphicFrame>
        <p:nvGraphicFramePr>
          <p:cNvPr id="4" name="AutoShape 23"/>
          <p:cNvGraphicFramePr>
            <a:graphicFrameLocks/>
          </p:cNvGraphicFramePr>
          <p:nvPr>
            <p:custDataLst>
              <p:tags r:id="rId2"/>
            </p:custDataLst>
          </p:nvPr>
        </p:nvGraphicFramePr>
        <p:xfrm>
          <a:off x="-1588" y="0"/>
          <a:ext cx="150813" cy="158750"/>
        </p:xfrm>
        <a:graphic>
          <a:graphicData uri="http://schemas.openxmlformats.org/presentationml/2006/ole">
            <mc:AlternateContent xmlns:mc="http://schemas.openxmlformats.org/markup-compatibility/2006">
              <mc:Choice xmlns:v="urn:schemas-microsoft-com:vml" Requires="v">
                <p:oleObj spid="_x0000_s57826" r:id="rId5" imgW="0" imgH="0" progId="">
                  <p:embed/>
                </p:oleObj>
              </mc:Choice>
              <mc:Fallback>
                <p:oleObj r:id="rId5" imgW="0" imgH="0" progId="">
                  <p:embed/>
                  <p:pic>
                    <p:nvPicPr>
                      <p:cNvPr id="0" name="AutoShape 2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0" descr="WhitePage_1"/>
          <p:cNvPicPr>
            <a:picLocks noChangeAspect="1" noChangeArrowheads="1"/>
          </p:cNvPicPr>
          <p:nvPr userDrawn="1"/>
        </p:nvPicPr>
        <p:blipFill>
          <a:blip r:embed="rId6" cstate="print"/>
          <a:srcRect/>
          <a:stretch>
            <a:fillRect/>
          </a:stretch>
        </p:blipFill>
        <p:spPr bwMode="auto">
          <a:xfrm>
            <a:off x="0" y="0"/>
            <a:ext cx="9144000" cy="6858000"/>
          </a:xfrm>
          <a:prstGeom prst="rect">
            <a:avLst/>
          </a:prstGeom>
          <a:noFill/>
          <a:ln w="9525">
            <a:noFill/>
            <a:miter lim="800000"/>
            <a:headEnd/>
            <a:tailEnd/>
          </a:ln>
        </p:spPr>
      </p:pic>
      <p:sp>
        <p:nvSpPr>
          <p:cNvPr id="6" name="doc id"/>
          <p:cNvSpPr>
            <a:spLocks noChangeArrowheads="1"/>
          </p:cNvSpPr>
          <p:nvPr userDrawn="1">
            <p:custDataLst>
              <p:tags r:id="rId3"/>
            </p:custDataLst>
          </p:nvPr>
        </p:nvSpPr>
        <p:spPr bwMode="gray">
          <a:xfrm>
            <a:off x="217488" y="6597650"/>
            <a:ext cx="7927975" cy="107950"/>
          </a:xfrm>
          <a:prstGeom prst="rect">
            <a:avLst/>
          </a:prstGeom>
          <a:noFill/>
          <a:ln w="9525" algn="ctr">
            <a:noFill/>
            <a:miter lim="800000"/>
            <a:headEnd/>
            <a:tailEnd/>
          </a:ln>
          <a:effectLst/>
        </p:spPr>
        <p:txBody>
          <a:bodyPr lIns="0" tIns="0" rIns="0" bIns="0" anchor="b">
            <a:spAutoFit/>
          </a:bodyPr>
          <a:lstStyle/>
          <a:p>
            <a:pPr defTabSz="912813">
              <a:defRPr/>
            </a:pPr>
            <a:r>
              <a:rPr lang="en-US" sz="700">
                <a:solidFill>
                  <a:srgbClr val="007CC2"/>
                </a:solidFill>
                <a:cs typeface="+mn-cs"/>
              </a:rPr>
              <a:t>Confidential and Internal to Pfizer - subject to works council and/or union consultations and other legal requirements.</a:t>
            </a:r>
          </a:p>
        </p:txBody>
      </p:sp>
      <p:sp>
        <p:nvSpPr>
          <p:cNvPr id="2" name="Title 1"/>
          <p:cNvSpPr>
            <a:spLocks noGrp="1"/>
          </p:cNvSpPr>
          <p:nvPr>
            <p:ph type="title"/>
          </p:nvPr>
        </p:nvSpPr>
        <p:spPr>
          <a:xfrm>
            <a:off x="2565703" y="152400"/>
            <a:ext cx="6319762" cy="711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76727" y="1300170"/>
            <a:ext cx="8391071" cy="4948237"/>
          </a:xfrm>
        </p:spPr>
        <p:txBody>
          <a:bodyPr/>
          <a:lstStyle/>
          <a:p>
            <a:pPr lvl="0"/>
            <a:endParaRPr lang="en-US" noProof="0"/>
          </a:p>
        </p:txBody>
      </p:sp>
      <p:sp>
        <p:nvSpPr>
          <p:cNvPr id="7" name="Slide Number Placeholder 3"/>
          <p:cNvSpPr>
            <a:spLocks noGrp="1"/>
          </p:cNvSpPr>
          <p:nvPr>
            <p:ph type="sldNum" sz="quarter" idx="10"/>
          </p:nvPr>
        </p:nvSpPr>
        <p:spPr>
          <a:xfrm>
            <a:off x="8548688" y="6688138"/>
            <a:ext cx="355600" cy="122237"/>
          </a:xfrm>
        </p:spPr>
        <p:txBody>
          <a:bodyPr/>
          <a:lstStyle>
            <a:lvl1pPr>
              <a:defRPr/>
            </a:lvl1pPr>
          </a:lstStyle>
          <a:p>
            <a:pPr>
              <a:defRPr/>
            </a:pPr>
            <a:fld id="{AE280E88-2BA8-4B7C-9461-5FDC4B1DDC91}"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2_Title Slide">
    <p:spTree>
      <p:nvGrpSpPr>
        <p:cNvPr id="1" name=""/>
        <p:cNvGrpSpPr/>
        <p:nvPr/>
      </p:nvGrpSpPr>
      <p:grpSpPr>
        <a:xfrm>
          <a:off x="0" y="0"/>
          <a:ext cx="0" cy="0"/>
          <a:chOff x="0" y="0"/>
          <a:chExt cx="0" cy="0"/>
        </a:xfrm>
      </p:grpSpPr>
      <p:graphicFrame>
        <p:nvGraphicFramePr>
          <p:cNvPr id="4" name="AutoShape 23"/>
          <p:cNvGraphicFramePr>
            <a:graphicFrameLocks/>
          </p:cNvGraphicFramePr>
          <p:nvPr>
            <p:custDataLst>
              <p:tags r:id="rId2"/>
            </p:custDataLst>
          </p:nvPr>
        </p:nvGraphicFramePr>
        <p:xfrm>
          <a:off x="-1588" y="0"/>
          <a:ext cx="150813" cy="158750"/>
        </p:xfrm>
        <a:graphic>
          <a:graphicData uri="http://schemas.openxmlformats.org/presentationml/2006/ole">
            <mc:AlternateContent xmlns:mc="http://schemas.openxmlformats.org/markup-compatibility/2006">
              <mc:Choice xmlns:v="urn:schemas-microsoft-com:vml" Requires="v">
                <p:oleObj spid="_x0000_s58850" r:id="rId5" imgW="0" imgH="0" progId="">
                  <p:embed/>
                </p:oleObj>
              </mc:Choice>
              <mc:Fallback>
                <p:oleObj r:id="rId5" imgW="0" imgH="0" progId="">
                  <p:embed/>
                  <p:pic>
                    <p:nvPicPr>
                      <p:cNvPr id="0" name="AutoShape 2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0" descr="WhitePage_1"/>
          <p:cNvPicPr>
            <a:picLocks noChangeAspect="1" noChangeArrowheads="1"/>
          </p:cNvPicPr>
          <p:nvPr/>
        </p:nvPicPr>
        <p:blipFill>
          <a:blip r:embed="rId6" cstate="print"/>
          <a:srcRect/>
          <a:stretch>
            <a:fillRect/>
          </a:stretch>
        </p:blipFill>
        <p:spPr bwMode="auto">
          <a:xfrm>
            <a:off x="0" y="0"/>
            <a:ext cx="9144000" cy="6858000"/>
          </a:xfrm>
          <a:prstGeom prst="rect">
            <a:avLst/>
          </a:prstGeom>
          <a:noFill/>
          <a:ln w="9525">
            <a:noFill/>
            <a:miter lim="800000"/>
            <a:headEnd/>
            <a:tailEnd/>
          </a:ln>
        </p:spPr>
      </p:pic>
      <p:pic>
        <p:nvPicPr>
          <p:cNvPr id="6" name="Picture 9" descr="WhitePage_1a"/>
          <p:cNvPicPr>
            <a:picLocks noChangeAspect="1" noChangeArrowheads="1"/>
          </p:cNvPicPr>
          <p:nvPr userDrawn="1"/>
        </p:nvPicPr>
        <p:blipFill>
          <a:blip r:embed="rId7" cstate="print"/>
          <a:srcRect b="82222"/>
          <a:stretch>
            <a:fillRect/>
          </a:stretch>
        </p:blipFill>
        <p:spPr bwMode="auto">
          <a:xfrm>
            <a:off x="0" y="0"/>
            <a:ext cx="9144000" cy="1219200"/>
          </a:xfrm>
          <a:prstGeom prst="rect">
            <a:avLst/>
          </a:prstGeom>
          <a:noFill/>
          <a:ln w="9525">
            <a:noFill/>
            <a:miter lim="800000"/>
            <a:headEnd/>
            <a:tailEnd/>
          </a:ln>
        </p:spPr>
      </p:pic>
      <p:sp>
        <p:nvSpPr>
          <p:cNvPr id="10" name="Text Placeholder 11"/>
          <p:cNvSpPr>
            <a:spLocks noGrp="1"/>
          </p:cNvSpPr>
          <p:nvPr>
            <p:ph type="body" sz="quarter" idx="17"/>
          </p:nvPr>
        </p:nvSpPr>
        <p:spPr>
          <a:xfrm>
            <a:off x="442999" y="1506547"/>
            <a:ext cx="8265582" cy="4589461"/>
          </a:xfrm>
        </p:spPr>
        <p:txBody>
          <a:bodyPr/>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13"/>
          <p:cNvSpPr>
            <a:spLocks noGrp="1"/>
          </p:cNvSpPr>
          <p:nvPr>
            <p:ph type="title"/>
          </p:nvPr>
        </p:nvSpPr>
        <p:spPr>
          <a:xfrm>
            <a:off x="297543" y="121920"/>
            <a:ext cx="6016171" cy="906780"/>
          </a:xfrm>
        </p:spPr>
        <p:txBody>
          <a:bodyPr/>
          <a:lstStyle>
            <a:lvl1pPr>
              <a:defRPr>
                <a:solidFill>
                  <a:schemeClr val="bg1"/>
                </a:solidFill>
              </a:defRPr>
            </a:lvl1pPr>
          </a:lstStyle>
          <a:p>
            <a:r>
              <a:rPr lang="en-US" smtClean="0"/>
              <a:t>Click to edit Master title style</a:t>
            </a:r>
            <a:endParaRPr lang="en-US" dirty="0"/>
          </a:p>
        </p:txBody>
      </p:sp>
      <p:sp>
        <p:nvSpPr>
          <p:cNvPr id="7" name="pg num"/>
          <p:cNvSpPr>
            <a:spLocks noGrp="1" noChangeArrowheads="1"/>
          </p:cNvSpPr>
          <p:nvPr>
            <p:ph type="sldNum" sz="quarter" idx="18"/>
            <p:custDataLst>
              <p:tags r:id="rId3"/>
            </p:custDataLst>
          </p:nvPr>
        </p:nvSpPr>
        <p:spPr/>
        <p:txBody>
          <a:bodyPr/>
          <a:lstStyle>
            <a:lvl1pPr>
              <a:defRPr/>
            </a:lvl1pPr>
          </a:lstStyle>
          <a:p>
            <a:pPr>
              <a:defRPr/>
            </a:pPr>
            <a:fld id="{A3FCBC10-4179-4BBD-BB20-FF60559BA489}"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5_Title Slide">
    <p:spTree>
      <p:nvGrpSpPr>
        <p:cNvPr id="1" name=""/>
        <p:cNvGrpSpPr/>
        <p:nvPr/>
      </p:nvGrpSpPr>
      <p:grpSpPr>
        <a:xfrm>
          <a:off x="0" y="0"/>
          <a:ext cx="0" cy="0"/>
          <a:chOff x="0" y="0"/>
          <a:chExt cx="0" cy="0"/>
        </a:xfrm>
      </p:grpSpPr>
      <p:graphicFrame>
        <p:nvGraphicFramePr>
          <p:cNvPr id="4" name="AutoShape 23"/>
          <p:cNvGraphicFramePr>
            <a:graphicFrameLocks/>
          </p:cNvGraphicFramePr>
          <p:nvPr>
            <p:custDataLst>
              <p:tags r:id="rId2"/>
            </p:custDataLst>
          </p:nvPr>
        </p:nvGraphicFramePr>
        <p:xfrm>
          <a:off x="-1588" y="0"/>
          <a:ext cx="150813" cy="158750"/>
        </p:xfrm>
        <a:graphic>
          <a:graphicData uri="http://schemas.openxmlformats.org/presentationml/2006/ole">
            <mc:AlternateContent xmlns:mc="http://schemas.openxmlformats.org/markup-compatibility/2006">
              <mc:Choice xmlns:v="urn:schemas-microsoft-com:vml" Requires="v">
                <p:oleObj spid="_x0000_s59874" r:id="rId5" imgW="0" imgH="0" progId="">
                  <p:embed/>
                </p:oleObj>
              </mc:Choice>
              <mc:Fallback>
                <p:oleObj r:id="rId5" imgW="0" imgH="0" progId="">
                  <p:embed/>
                  <p:pic>
                    <p:nvPicPr>
                      <p:cNvPr id="0" name="AutoShape 2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0" descr="WhitePage_1"/>
          <p:cNvPicPr>
            <a:picLocks noChangeAspect="1" noChangeArrowheads="1"/>
          </p:cNvPicPr>
          <p:nvPr/>
        </p:nvPicPr>
        <p:blipFill>
          <a:blip r:embed="rId6" cstate="print"/>
          <a:srcRect/>
          <a:stretch>
            <a:fillRect/>
          </a:stretch>
        </p:blipFill>
        <p:spPr bwMode="auto">
          <a:xfrm>
            <a:off x="0" y="0"/>
            <a:ext cx="9144000" cy="6858000"/>
          </a:xfrm>
          <a:prstGeom prst="rect">
            <a:avLst/>
          </a:prstGeom>
          <a:noFill/>
          <a:ln w="9525">
            <a:noFill/>
            <a:miter lim="800000"/>
            <a:headEnd/>
            <a:tailEnd/>
          </a:ln>
        </p:spPr>
      </p:pic>
      <p:pic>
        <p:nvPicPr>
          <p:cNvPr id="6" name="Picture 9" descr="WhitePage_1a"/>
          <p:cNvPicPr>
            <a:picLocks noChangeAspect="1" noChangeArrowheads="1"/>
          </p:cNvPicPr>
          <p:nvPr userDrawn="1"/>
        </p:nvPicPr>
        <p:blipFill>
          <a:blip r:embed="rId7" cstate="print"/>
          <a:srcRect b="82222"/>
          <a:stretch>
            <a:fillRect/>
          </a:stretch>
        </p:blipFill>
        <p:spPr bwMode="auto">
          <a:xfrm>
            <a:off x="0" y="0"/>
            <a:ext cx="9144000" cy="1219200"/>
          </a:xfrm>
          <a:prstGeom prst="rect">
            <a:avLst/>
          </a:prstGeom>
          <a:noFill/>
          <a:ln w="9525">
            <a:noFill/>
            <a:miter lim="800000"/>
            <a:headEnd/>
            <a:tailEnd/>
          </a:ln>
        </p:spPr>
      </p:pic>
      <p:sp>
        <p:nvSpPr>
          <p:cNvPr id="10" name="Text Placeholder 11"/>
          <p:cNvSpPr>
            <a:spLocks noGrp="1"/>
          </p:cNvSpPr>
          <p:nvPr>
            <p:ph type="body" sz="quarter" idx="17"/>
          </p:nvPr>
        </p:nvSpPr>
        <p:spPr>
          <a:xfrm>
            <a:off x="442999" y="1506547"/>
            <a:ext cx="8265582" cy="4589461"/>
          </a:xfrm>
        </p:spPr>
        <p:txBody>
          <a:bodyPr/>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13"/>
          <p:cNvSpPr>
            <a:spLocks noGrp="1"/>
          </p:cNvSpPr>
          <p:nvPr>
            <p:ph type="title"/>
          </p:nvPr>
        </p:nvSpPr>
        <p:spPr>
          <a:xfrm>
            <a:off x="297543" y="121920"/>
            <a:ext cx="6016171" cy="906780"/>
          </a:xfrm>
        </p:spPr>
        <p:txBody>
          <a:bodyPr/>
          <a:lstStyle>
            <a:lvl1pPr>
              <a:defRPr>
                <a:solidFill>
                  <a:schemeClr val="bg1"/>
                </a:solidFill>
              </a:defRPr>
            </a:lvl1pPr>
          </a:lstStyle>
          <a:p>
            <a:r>
              <a:rPr lang="en-US" smtClean="0"/>
              <a:t>Click to edit Master title style</a:t>
            </a:r>
            <a:endParaRPr lang="en-US" dirty="0"/>
          </a:p>
        </p:txBody>
      </p:sp>
      <p:sp>
        <p:nvSpPr>
          <p:cNvPr id="7" name="pg num"/>
          <p:cNvSpPr>
            <a:spLocks noGrp="1" noChangeArrowheads="1"/>
          </p:cNvSpPr>
          <p:nvPr>
            <p:ph type="sldNum" sz="quarter" idx="18"/>
            <p:custDataLst>
              <p:tags r:id="rId3"/>
            </p:custDataLst>
          </p:nvPr>
        </p:nvSpPr>
        <p:spPr/>
        <p:txBody>
          <a:bodyPr/>
          <a:lstStyle>
            <a:lvl1pPr>
              <a:defRPr/>
            </a:lvl1pPr>
          </a:lstStyle>
          <a:p>
            <a:pPr>
              <a:defRPr/>
            </a:pPr>
            <a:fld id="{857139A0-71AB-4319-B32B-7830310B9084}"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2" name="AutoShape 23"/>
          <p:cNvGraphicFramePr>
            <a:graphicFrameLocks/>
          </p:cNvGraphicFramePr>
          <p:nvPr>
            <p:custDataLst>
              <p:tags r:id="rId2"/>
            </p:custDataLst>
          </p:nvPr>
        </p:nvGraphicFramePr>
        <p:xfrm>
          <a:off x="-1588" y="0"/>
          <a:ext cx="150813" cy="158750"/>
        </p:xfrm>
        <a:graphic>
          <a:graphicData uri="http://schemas.openxmlformats.org/presentationml/2006/ole">
            <mc:AlternateContent xmlns:mc="http://schemas.openxmlformats.org/markup-compatibility/2006">
              <mc:Choice xmlns:v="urn:schemas-microsoft-com:vml" Requires="v">
                <p:oleObj spid="_x0000_s60898" r:id="rId5" imgW="0" imgH="0" progId="">
                  <p:embed/>
                </p:oleObj>
              </mc:Choice>
              <mc:Fallback>
                <p:oleObj r:id="rId5" imgW="0" imgH="0" progId="">
                  <p:embed/>
                  <p:pic>
                    <p:nvPicPr>
                      <p:cNvPr id="0" name="AutoShape 2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50" descr="WhitePage_1"/>
          <p:cNvPicPr>
            <a:picLocks noChangeAspect="1" noChangeArrowheads="1"/>
          </p:cNvPicPr>
          <p:nvPr/>
        </p:nvPicPr>
        <p:blipFill>
          <a:blip r:embed="rId6" cstate="print"/>
          <a:srcRect/>
          <a:stretch>
            <a:fillRect/>
          </a:stretch>
        </p:blipFill>
        <p:spPr bwMode="auto">
          <a:xfrm>
            <a:off x="0" y="0"/>
            <a:ext cx="9144000" cy="6858000"/>
          </a:xfrm>
          <a:prstGeom prst="rect">
            <a:avLst/>
          </a:prstGeom>
          <a:noFill/>
          <a:ln w="9525">
            <a:noFill/>
            <a:miter lim="800000"/>
            <a:headEnd/>
            <a:tailEnd/>
          </a:ln>
        </p:spPr>
      </p:pic>
      <p:pic>
        <p:nvPicPr>
          <p:cNvPr id="4" name="Picture 9" descr="WhitePage_1a"/>
          <p:cNvPicPr>
            <a:picLocks noChangeAspect="1" noChangeArrowheads="1"/>
          </p:cNvPicPr>
          <p:nvPr userDrawn="1"/>
        </p:nvPicPr>
        <p:blipFill>
          <a:blip r:embed="rId7" cstate="print"/>
          <a:srcRect/>
          <a:stretch>
            <a:fillRect/>
          </a:stretch>
        </p:blipFill>
        <p:spPr bwMode="auto">
          <a:xfrm>
            <a:off x="0" y="0"/>
            <a:ext cx="9144000" cy="6858000"/>
          </a:xfrm>
          <a:prstGeom prst="rect">
            <a:avLst/>
          </a:prstGeom>
          <a:noFill/>
          <a:ln w="9525">
            <a:noFill/>
            <a:miter lim="800000"/>
            <a:headEnd/>
            <a:tailEnd/>
          </a:ln>
        </p:spPr>
      </p:pic>
      <p:sp>
        <p:nvSpPr>
          <p:cNvPr id="5" name="pg num"/>
          <p:cNvSpPr>
            <a:spLocks noGrp="1" noChangeArrowheads="1"/>
          </p:cNvSpPr>
          <p:nvPr>
            <p:ph type="sldNum" sz="quarter" idx="10"/>
            <p:custDataLst>
              <p:tags r:id="rId3"/>
            </p:custDataLst>
          </p:nvPr>
        </p:nvSpPr>
        <p:spPr>
          <a:xfrm>
            <a:off x="6553200" y="6505575"/>
            <a:ext cx="2133600" cy="123825"/>
          </a:xfrm>
        </p:spPr>
        <p:txBody>
          <a:bodyPr/>
          <a:lstStyle>
            <a:lvl1pPr>
              <a:defRPr/>
            </a:lvl1pPr>
          </a:lstStyle>
          <a:p>
            <a:pPr>
              <a:defRPr/>
            </a:pPr>
            <a:fld id="{C0014F1D-6C81-4BF2-8460-2CC12118F536}" type="slidenum">
              <a:rPr lang="en-US" altLang="en-US"/>
              <a:pPr>
                <a:defRPr/>
              </a:pPr>
              <a:t>‹#›</a:t>
            </a:fld>
            <a:endParaRPr lang="en-US" altLang="en-US" dirty="0"/>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and Text">
    <p:spTree>
      <p:nvGrpSpPr>
        <p:cNvPr id="1" name=""/>
        <p:cNvGrpSpPr/>
        <p:nvPr/>
      </p:nvGrpSpPr>
      <p:grpSpPr>
        <a:xfrm>
          <a:off x="0" y="0"/>
          <a:ext cx="0" cy="0"/>
          <a:chOff x="0" y="0"/>
          <a:chExt cx="0" cy="0"/>
        </a:xfrm>
      </p:grpSpPr>
      <p:graphicFrame>
        <p:nvGraphicFramePr>
          <p:cNvPr id="4" name="AutoShape 23"/>
          <p:cNvGraphicFramePr>
            <a:graphicFrameLocks/>
          </p:cNvGraphicFramePr>
          <p:nvPr>
            <p:custDataLst>
              <p:tags r:id="rId2"/>
            </p:custDataLst>
          </p:nvPr>
        </p:nvGraphicFramePr>
        <p:xfrm>
          <a:off x="-1588" y="0"/>
          <a:ext cx="150813" cy="158750"/>
        </p:xfrm>
        <a:graphic>
          <a:graphicData uri="http://schemas.openxmlformats.org/presentationml/2006/ole">
            <mc:AlternateContent xmlns:mc="http://schemas.openxmlformats.org/markup-compatibility/2006">
              <mc:Choice xmlns:v="urn:schemas-microsoft-com:vml" Requires="v">
                <p:oleObj spid="_x0000_s62400" r:id="rId5" imgW="0" imgH="0" progId="">
                  <p:embed/>
                </p:oleObj>
              </mc:Choice>
              <mc:Fallback>
                <p:oleObj r:id="rId5" imgW="0" imgH="0" progId="">
                  <p:embed/>
                  <p:pic>
                    <p:nvPicPr>
                      <p:cNvPr id="0" name="AutoShape 2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0" descr="WhitePage_1"/>
          <p:cNvPicPr>
            <a:picLocks noChangeAspect="1" noChangeArrowheads="1"/>
          </p:cNvPicPr>
          <p:nvPr/>
        </p:nvPicPr>
        <p:blipFill>
          <a:blip r:embed="rId6" cstate="print"/>
          <a:srcRect/>
          <a:stretch>
            <a:fillRect/>
          </a:stretch>
        </p:blipFill>
        <p:spPr bwMode="auto">
          <a:xfrm>
            <a:off x="0" y="0"/>
            <a:ext cx="9144000" cy="6858000"/>
          </a:xfrm>
          <a:prstGeom prst="rect">
            <a:avLst/>
          </a:prstGeom>
          <a:noFill/>
          <a:ln w="9525">
            <a:noFill/>
            <a:miter lim="800000"/>
            <a:headEnd/>
            <a:tailEnd/>
          </a:ln>
        </p:spPr>
      </p:pic>
      <p:graphicFrame>
        <p:nvGraphicFramePr>
          <p:cNvPr id="7" name="Object 10"/>
          <p:cNvGraphicFramePr>
            <a:graphicFrameLocks noChangeAspect="1"/>
          </p:cNvGraphicFramePr>
          <p:nvPr>
            <p:custDataLst>
              <p:tags r:id="rId3"/>
            </p:custDataLst>
          </p:nvPr>
        </p:nvGraphicFramePr>
        <p:xfrm>
          <a:off x="0" y="0"/>
          <a:ext cx="150813" cy="158750"/>
        </p:xfrm>
        <a:graphic>
          <a:graphicData uri="http://schemas.openxmlformats.org/presentationml/2006/ole">
            <mc:AlternateContent xmlns:mc="http://schemas.openxmlformats.org/markup-compatibility/2006">
              <mc:Choice xmlns:v="urn:schemas-microsoft-com:vml" Requires="v">
                <p:oleObj spid="_x0000_s62401" name="think-cell Slide" r:id="rId7" imgW="360" imgH="360" progId="">
                  <p:embed/>
                </p:oleObj>
              </mc:Choice>
              <mc:Fallback>
                <p:oleObj name="think-cell Slide" r:id="rId7" imgW="360" imgH="360" progId="">
                  <p:embed/>
                  <p:pic>
                    <p:nvPicPr>
                      <p:cNvPr id="0" name="Object 1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5" name="Text Placeholder 4"/>
          <p:cNvSpPr>
            <a:spLocks noGrp="1"/>
          </p:cNvSpPr>
          <p:nvPr>
            <p:ph type="body" sz="quarter" idx="13"/>
          </p:nvPr>
        </p:nvSpPr>
        <p:spPr>
          <a:xfrm>
            <a:off x="435356" y="1508400"/>
            <a:ext cx="8275203" cy="4615200"/>
          </a:xfrm>
        </p:spPr>
        <p:txBody>
          <a:bodyPr/>
          <a:lstStyle>
            <a:lvl1pPr>
              <a:defRPr/>
            </a:lvl1pPr>
            <a:lvl2pPr>
              <a:defRPr/>
            </a:lvl2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meline">
    <p:spTree>
      <p:nvGrpSpPr>
        <p:cNvPr id="1" name=""/>
        <p:cNvGrpSpPr/>
        <p:nvPr/>
      </p:nvGrpSpPr>
      <p:grpSpPr>
        <a:xfrm>
          <a:off x="0" y="0"/>
          <a:ext cx="0" cy="0"/>
          <a:chOff x="0" y="0"/>
          <a:chExt cx="0" cy="0"/>
        </a:xfrm>
      </p:grpSpPr>
      <p:graphicFrame>
        <p:nvGraphicFramePr>
          <p:cNvPr id="12" name="AutoShape 23"/>
          <p:cNvGraphicFramePr>
            <a:graphicFrameLocks/>
          </p:cNvGraphicFramePr>
          <p:nvPr>
            <p:custDataLst>
              <p:tags r:id="rId2"/>
            </p:custDataLst>
          </p:nvPr>
        </p:nvGraphicFramePr>
        <p:xfrm>
          <a:off x="-1588" y="0"/>
          <a:ext cx="150813" cy="158750"/>
        </p:xfrm>
        <a:graphic>
          <a:graphicData uri="http://schemas.openxmlformats.org/presentationml/2006/ole">
            <mc:AlternateContent xmlns:mc="http://schemas.openxmlformats.org/markup-compatibility/2006">
              <mc:Choice xmlns:v="urn:schemas-microsoft-com:vml" Requires="v">
                <p:oleObj spid="_x0000_s62946" r:id="rId4" imgW="0" imgH="0" progId="">
                  <p:embed/>
                </p:oleObj>
              </mc:Choice>
              <mc:Fallback>
                <p:oleObj r:id="rId4" imgW="0" imgH="0" progId="">
                  <p:embed/>
                  <p:pic>
                    <p:nvPicPr>
                      <p:cNvPr id="0" name="AutoShape 2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 name="Picture 50" descr="WhitePage_1"/>
          <p:cNvPicPr>
            <a:picLocks noChangeAspect="1" noChangeArrowheads="1"/>
          </p:cNvPicPr>
          <p:nvPr/>
        </p:nvPicPr>
        <p:blipFill>
          <a:blip r:embed="rId5" cstate="print"/>
          <a:srcRect/>
          <a:stretch>
            <a:fillRect/>
          </a:stretch>
        </p:blipFill>
        <p:spPr bwMode="auto">
          <a:xfrm>
            <a:off x="0" y="0"/>
            <a:ext cx="9144000" cy="6858000"/>
          </a:xfrm>
          <a:prstGeom prst="rect">
            <a:avLst/>
          </a:prstGeom>
          <a:noFill/>
          <a:ln w="9525">
            <a:noFill/>
            <a:miter lim="800000"/>
            <a:headEnd/>
            <a:tailEnd/>
          </a:ln>
        </p:spPr>
      </p:pic>
      <p:grpSp>
        <p:nvGrpSpPr>
          <p:cNvPr id="14" name="Group 13"/>
          <p:cNvGrpSpPr>
            <a:grpSpLocks/>
          </p:cNvGrpSpPr>
          <p:nvPr/>
        </p:nvGrpSpPr>
        <p:grpSpPr bwMode="auto">
          <a:xfrm>
            <a:off x="457200" y="2057400"/>
            <a:ext cx="8229600" cy="4800600"/>
            <a:chOff x="609600" y="0"/>
            <a:chExt cx="10972800" cy="6858000"/>
          </a:xfrm>
        </p:grpSpPr>
        <p:cxnSp>
          <p:nvCxnSpPr>
            <p:cNvPr id="15" name="Straight Connector 14"/>
            <p:cNvCxnSpPr/>
            <p:nvPr/>
          </p:nvCxnSpPr>
          <p:spPr>
            <a:xfrm>
              <a:off x="593344"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202944"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812544"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422144"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031744"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641344"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4250944"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6079744"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860544"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5470144"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689344"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298944"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7908544"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8518144"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9127744"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9737344"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0346944"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0956544"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1566144"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grpSp>
      <p:grpSp>
        <p:nvGrpSpPr>
          <p:cNvPr id="34" name="Group 33"/>
          <p:cNvGrpSpPr>
            <a:grpSpLocks/>
          </p:cNvGrpSpPr>
          <p:nvPr/>
        </p:nvGrpSpPr>
        <p:grpSpPr bwMode="auto">
          <a:xfrm>
            <a:off x="92075" y="5934075"/>
            <a:ext cx="8959850" cy="695325"/>
            <a:chOff x="121920" y="6553200"/>
            <a:chExt cx="11948160" cy="304800"/>
          </a:xfrm>
        </p:grpSpPr>
        <p:grpSp>
          <p:nvGrpSpPr>
            <p:cNvPr id="35" name="Group 34"/>
            <p:cNvGrpSpPr>
              <a:grpSpLocks/>
            </p:cNvGrpSpPr>
            <p:nvPr/>
          </p:nvGrpSpPr>
          <p:grpSpPr bwMode="auto">
            <a:xfrm>
              <a:off x="121920" y="6553200"/>
              <a:ext cx="5852160" cy="304800"/>
              <a:chOff x="121920" y="6553200"/>
              <a:chExt cx="5852160" cy="304800"/>
            </a:xfrm>
          </p:grpSpPr>
          <p:grpSp>
            <p:nvGrpSpPr>
              <p:cNvPr id="87" name="Group 86"/>
              <p:cNvGrpSpPr>
                <a:grpSpLocks/>
              </p:cNvGrpSpPr>
              <p:nvPr/>
            </p:nvGrpSpPr>
            <p:grpSpPr bwMode="auto">
              <a:xfrm>
                <a:off x="731520" y="6553200"/>
                <a:ext cx="365760" cy="304800"/>
                <a:chOff x="-2819400" y="0"/>
                <a:chExt cx="1828800" cy="6858000"/>
              </a:xfrm>
            </p:grpSpPr>
            <p:cxnSp>
              <p:nvCxnSpPr>
                <p:cNvPr id="133" name="Straight Connector 132"/>
                <p:cNvCxnSpPr/>
                <p:nvPr/>
              </p:nvCxnSpPr>
              <p:spPr>
                <a:xfrm>
                  <a:off x="-2818967"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2205046"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601707"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987786"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88" name="Group 87"/>
              <p:cNvGrpSpPr>
                <a:grpSpLocks/>
              </p:cNvGrpSpPr>
              <p:nvPr/>
            </p:nvGrpSpPr>
            <p:grpSpPr bwMode="auto">
              <a:xfrm>
                <a:off x="1341120" y="6553200"/>
                <a:ext cx="365760" cy="304800"/>
                <a:chOff x="-2819400" y="0"/>
                <a:chExt cx="1828800" cy="6858000"/>
              </a:xfrm>
            </p:grpSpPr>
            <p:cxnSp>
              <p:nvCxnSpPr>
                <p:cNvPr id="129" name="Straight Connector 128"/>
                <p:cNvCxnSpPr/>
                <p:nvPr/>
              </p:nvCxnSpPr>
              <p:spPr>
                <a:xfrm>
                  <a:off x="-2818533"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2204613"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601273"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987353"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89" name="Group 88"/>
              <p:cNvGrpSpPr>
                <a:grpSpLocks/>
              </p:cNvGrpSpPr>
              <p:nvPr/>
            </p:nvGrpSpPr>
            <p:grpSpPr bwMode="auto">
              <a:xfrm>
                <a:off x="1950720" y="6553200"/>
                <a:ext cx="365760" cy="304800"/>
                <a:chOff x="-2819400" y="0"/>
                <a:chExt cx="1828800" cy="6858000"/>
              </a:xfrm>
            </p:grpSpPr>
            <p:cxnSp>
              <p:nvCxnSpPr>
                <p:cNvPr id="125" name="Straight Connector 124"/>
                <p:cNvCxnSpPr/>
                <p:nvPr/>
              </p:nvCxnSpPr>
              <p:spPr>
                <a:xfrm>
                  <a:off x="-2818106"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2204186"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600847"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986926"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90" name="Group 89"/>
              <p:cNvGrpSpPr>
                <a:grpSpLocks/>
              </p:cNvGrpSpPr>
              <p:nvPr/>
            </p:nvGrpSpPr>
            <p:grpSpPr bwMode="auto">
              <a:xfrm>
                <a:off x="2560320" y="6553200"/>
                <a:ext cx="365760" cy="304800"/>
                <a:chOff x="-2819400" y="0"/>
                <a:chExt cx="1828800" cy="6858000"/>
              </a:xfrm>
            </p:grpSpPr>
            <p:cxnSp>
              <p:nvCxnSpPr>
                <p:cNvPr id="121" name="Straight Connector 120"/>
                <p:cNvCxnSpPr/>
                <p:nvPr/>
              </p:nvCxnSpPr>
              <p:spPr>
                <a:xfrm>
                  <a:off x="-2817673"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2214334"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600413"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997081"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91" name="Group 90"/>
              <p:cNvGrpSpPr>
                <a:grpSpLocks/>
              </p:cNvGrpSpPr>
              <p:nvPr/>
            </p:nvGrpSpPr>
            <p:grpSpPr bwMode="auto">
              <a:xfrm>
                <a:off x="121920" y="6553200"/>
                <a:ext cx="365760" cy="304800"/>
                <a:chOff x="-2819400" y="0"/>
                <a:chExt cx="1828800" cy="6858000"/>
              </a:xfrm>
            </p:grpSpPr>
            <p:cxnSp>
              <p:nvCxnSpPr>
                <p:cNvPr id="117" name="Straight Connector 116"/>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2205479"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60214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98822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92" name="Group 91"/>
              <p:cNvGrpSpPr>
                <a:grpSpLocks/>
              </p:cNvGrpSpPr>
              <p:nvPr/>
            </p:nvGrpSpPr>
            <p:grpSpPr bwMode="auto">
              <a:xfrm>
                <a:off x="3779520" y="6553200"/>
                <a:ext cx="365760" cy="304800"/>
                <a:chOff x="-2819400" y="0"/>
                <a:chExt cx="1828800" cy="6858000"/>
              </a:xfrm>
            </p:grpSpPr>
            <p:cxnSp>
              <p:nvCxnSpPr>
                <p:cNvPr id="113" name="Straight Connector 112"/>
                <p:cNvCxnSpPr/>
                <p:nvPr/>
              </p:nvCxnSpPr>
              <p:spPr>
                <a:xfrm>
                  <a:off x="-2816806"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2213467"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1599547"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996214"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93" name="Group 92"/>
              <p:cNvGrpSpPr>
                <a:grpSpLocks/>
              </p:cNvGrpSpPr>
              <p:nvPr/>
            </p:nvGrpSpPr>
            <p:grpSpPr bwMode="auto">
              <a:xfrm>
                <a:off x="4389120" y="6553200"/>
                <a:ext cx="365760" cy="304800"/>
                <a:chOff x="-2819400" y="0"/>
                <a:chExt cx="1828800" cy="6858000"/>
              </a:xfrm>
            </p:grpSpPr>
            <p:cxnSp>
              <p:nvCxnSpPr>
                <p:cNvPr id="109" name="Straight Connector 108"/>
                <p:cNvCxnSpPr/>
                <p:nvPr/>
              </p:nvCxnSpPr>
              <p:spPr>
                <a:xfrm>
                  <a:off x="-2826954"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2213034"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1609701"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995781"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94" name="Group 93"/>
              <p:cNvGrpSpPr>
                <a:grpSpLocks/>
              </p:cNvGrpSpPr>
              <p:nvPr/>
            </p:nvGrpSpPr>
            <p:grpSpPr bwMode="auto">
              <a:xfrm>
                <a:off x="4998720" y="6553200"/>
                <a:ext cx="365760" cy="304800"/>
                <a:chOff x="-2819400" y="0"/>
                <a:chExt cx="1828800" cy="6858000"/>
              </a:xfrm>
            </p:grpSpPr>
            <p:cxnSp>
              <p:nvCxnSpPr>
                <p:cNvPr id="105" name="Straight Connector 104"/>
                <p:cNvCxnSpPr/>
                <p:nvPr/>
              </p:nvCxnSpPr>
              <p:spPr>
                <a:xfrm>
                  <a:off x="-2826528"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2212607"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1609275"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995354"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95" name="Group 94"/>
              <p:cNvGrpSpPr>
                <a:grpSpLocks/>
              </p:cNvGrpSpPr>
              <p:nvPr/>
            </p:nvGrpSpPr>
            <p:grpSpPr bwMode="auto">
              <a:xfrm>
                <a:off x="5608320" y="6553200"/>
                <a:ext cx="365760" cy="304800"/>
                <a:chOff x="-2819400" y="0"/>
                <a:chExt cx="1828800" cy="6858000"/>
              </a:xfrm>
            </p:grpSpPr>
            <p:cxnSp>
              <p:nvCxnSpPr>
                <p:cNvPr id="101" name="Straight Connector 100"/>
                <p:cNvCxnSpPr/>
                <p:nvPr/>
              </p:nvCxnSpPr>
              <p:spPr>
                <a:xfrm>
                  <a:off x="-2826094"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2212174"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608841"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994921"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96" name="Group 95"/>
              <p:cNvGrpSpPr>
                <a:grpSpLocks/>
              </p:cNvGrpSpPr>
              <p:nvPr/>
            </p:nvGrpSpPr>
            <p:grpSpPr bwMode="auto">
              <a:xfrm>
                <a:off x="3169920" y="6553200"/>
                <a:ext cx="365760" cy="304800"/>
                <a:chOff x="-2819400" y="0"/>
                <a:chExt cx="1828800" cy="6858000"/>
              </a:xfrm>
            </p:grpSpPr>
            <p:cxnSp>
              <p:nvCxnSpPr>
                <p:cNvPr id="97" name="Straight Connector 96"/>
                <p:cNvCxnSpPr/>
                <p:nvPr/>
              </p:nvCxnSpPr>
              <p:spPr>
                <a:xfrm>
                  <a:off x="-281724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2213901"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59998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996648"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grpSp>
          <p:nvGrpSpPr>
            <p:cNvPr id="36" name="Group 28"/>
            <p:cNvGrpSpPr>
              <a:grpSpLocks/>
            </p:cNvGrpSpPr>
            <p:nvPr/>
          </p:nvGrpSpPr>
          <p:grpSpPr bwMode="auto">
            <a:xfrm>
              <a:off x="6217920" y="6553200"/>
              <a:ext cx="5852160" cy="304800"/>
              <a:chOff x="121920" y="6553200"/>
              <a:chExt cx="5852160" cy="304800"/>
            </a:xfrm>
          </p:grpSpPr>
          <p:grpSp>
            <p:nvGrpSpPr>
              <p:cNvPr id="37" name="Group 29"/>
              <p:cNvGrpSpPr>
                <a:grpSpLocks/>
              </p:cNvGrpSpPr>
              <p:nvPr/>
            </p:nvGrpSpPr>
            <p:grpSpPr bwMode="auto">
              <a:xfrm>
                <a:off x="731520" y="6553200"/>
                <a:ext cx="365760" cy="304800"/>
                <a:chOff x="-2819400" y="0"/>
                <a:chExt cx="1828800" cy="6858000"/>
              </a:xfrm>
            </p:grpSpPr>
            <p:cxnSp>
              <p:nvCxnSpPr>
                <p:cNvPr id="83" name="Straight Connector 82"/>
                <p:cNvCxnSpPr/>
                <p:nvPr/>
              </p:nvCxnSpPr>
              <p:spPr>
                <a:xfrm>
                  <a:off x="-2814646"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2200725"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597386"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983466"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38" name="Group 30"/>
              <p:cNvGrpSpPr>
                <a:grpSpLocks/>
              </p:cNvGrpSpPr>
              <p:nvPr/>
            </p:nvGrpSpPr>
            <p:grpSpPr bwMode="auto">
              <a:xfrm>
                <a:off x="1341120" y="6553200"/>
                <a:ext cx="365760" cy="304800"/>
                <a:chOff x="-2819400" y="0"/>
                <a:chExt cx="1828800" cy="6858000"/>
              </a:xfrm>
            </p:grpSpPr>
            <p:cxnSp>
              <p:nvCxnSpPr>
                <p:cNvPr id="79" name="Straight Connector 78"/>
                <p:cNvCxnSpPr/>
                <p:nvPr/>
              </p:nvCxnSpPr>
              <p:spPr>
                <a:xfrm>
                  <a:off x="-2814213"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2200292"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596953"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983032"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39" name="Group 31"/>
              <p:cNvGrpSpPr>
                <a:grpSpLocks/>
              </p:cNvGrpSpPr>
              <p:nvPr/>
            </p:nvGrpSpPr>
            <p:grpSpPr bwMode="auto">
              <a:xfrm>
                <a:off x="1950720" y="6553200"/>
                <a:ext cx="365760" cy="304800"/>
                <a:chOff x="-2819400" y="0"/>
                <a:chExt cx="1828800" cy="6858000"/>
              </a:xfrm>
            </p:grpSpPr>
            <p:cxnSp>
              <p:nvCxnSpPr>
                <p:cNvPr id="75" name="Straight Connector 74"/>
                <p:cNvCxnSpPr/>
                <p:nvPr/>
              </p:nvCxnSpPr>
              <p:spPr>
                <a:xfrm>
                  <a:off x="-2813786"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199865"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1596526"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982606"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0" name="Group 32"/>
              <p:cNvGrpSpPr>
                <a:grpSpLocks/>
              </p:cNvGrpSpPr>
              <p:nvPr/>
            </p:nvGrpSpPr>
            <p:grpSpPr bwMode="auto">
              <a:xfrm>
                <a:off x="2560320" y="6553200"/>
                <a:ext cx="365760" cy="304800"/>
                <a:chOff x="-2819400" y="0"/>
                <a:chExt cx="1828800" cy="6858000"/>
              </a:xfrm>
            </p:grpSpPr>
            <p:cxnSp>
              <p:nvCxnSpPr>
                <p:cNvPr id="71" name="Straight Connector 70"/>
                <p:cNvCxnSpPr/>
                <p:nvPr/>
              </p:nvCxnSpPr>
              <p:spPr>
                <a:xfrm>
                  <a:off x="-2813352"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210013"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1596093"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99276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1" name="Group 33"/>
              <p:cNvGrpSpPr>
                <a:grpSpLocks/>
              </p:cNvGrpSpPr>
              <p:nvPr/>
            </p:nvGrpSpPr>
            <p:grpSpPr bwMode="auto">
              <a:xfrm>
                <a:off x="121920" y="6553200"/>
                <a:ext cx="365760" cy="304800"/>
                <a:chOff x="-2819400" y="0"/>
                <a:chExt cx="1828800" cy="6858000"/>
              </a:xfrm>
            </p:grpSpPr>
            <p:cxnSp>
              <p:nvCxnSpPr>
                <p:cNvPr id="67" name="Straight Connector 66"/>
                <p:cNvCxnSpPr/>
                <p:nvPr/>
              </p:nvCxnSpPr>
              <p:spPr>
                <a:xfrm>
                  <a:off x="-2815079"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2201159"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159782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983899"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2" name="Group 34"/>
              <p:cNvGrpSpPr>
                <a:grpSpLocks/>
              </p:cNvGrpSpPr>
              <p:nvPr/>
            </p:nvGrpSpPr>
            <p:grpSpPr bwMode="auto">
              <a:xfrm>
                <a:off x="3779520" y="6553200"/>
                <a:ext cx="365760" cy="304800"/>
                <a:chOff x="-2819400" y="0"/>
                <a:chExt cx="1828800" cy="6858000"/>
              </a:xfrm>
            </p:grpSpPr>
            <p:cxnSp>
              <p:nvCxnSpPr>
                <p:cNvPr id="63" name="Straight Connector 62"/>
                <p:cNvCxnSpPr/>
                <p:nvPr/>
              </p:nvCxnSpPr>
              <p:spPr>
                <a:xfrm>
                  <a:off x="-2812486"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2209147"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1595226"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991894"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3" name="Group 35"/>
              <p:cNvGrpSpPr>
                <a:grpSpLocks/>
              </p:cNvGrpSpPr>
              <p:nvPr/>
            </p:nvGrpSpPr>
            <p:grpSpPr bwMode="auto">
              <a:xfrm>
                <a:off x="4389120" y="6553200"/>
                <a:ext cx="365760" cy="304800"/>
                <a:chOff x="-2819400" y="0"/>
                <a:chExt cx="1828800" cy="6858000"/>
              </a:xfrm>
            </p:grpSpPr>
            <p:cxnSp>
              <p:nvCxnSpPr>
                <p:cNvPr id="59" name="Straight Connector 58"/>
                <p:cNvCxnSpPr/>
                <p:nvPr/>
              </p:nvCxnSpPr>
              <p:spPr>
                <a:xfrm>
                  <a:off x="-2822634"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208713"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1605381"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99146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4" name="Group 36"/>
              <p:cNvGrpSpPr>
                <a:grpSpLocks/>
              </p:cNvGrpSpPr>
              <p:nvPr/>
            </p:nvGrpSpPr>
            <p:grpSpPr bwMode="auto">
              <a:xfrm>
                <a:off x="4998720" y="6553200"/>
                <a:ext cx="365760" cy="304800"/>
                <a:chOff x="-2819400" y="0"/>
                <a:chExt cx="1828800" cy="6858000"/>
              </a:xfrm>
            </p:grpSpPr>
            <p:cxnSp>
              <p:nvCxnSpPr>
                <p:cNvPr id="55" name="Straight Connector 54"/>
                <p:cNvCxnSpPr/>
                <p:nvPr/>
              </p:nvCxnSpPr>
              <p:spPr>
                <a:xfrm>
                  <a:off x="-2822207"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2208286"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604954"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991033"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5" name="Group 37"/>
              <p:cNvGrpSpPr>
                <a:grpSpLocks/>
              </p:cNvGrpSpPr>
              <p:nvPr/>
            </p:nvGrpSpPr>
            <p:grpSpPr bwMode="auto">
              <a:xfrm>
                <a:off x="5608320" y="6553200"/>
                <a:ext cx="365760" cy="304800"/>
                <a:chOff x="-2819400" y="0"/>
                <a:chExt cx="1828800" cy="6858000"/>
              </a:xfrm>
            </p:grpSpPr>
            <p:cxnSp>
              <p:nvCxnSpPr>
                <p:cNvPr id="51" name="Straight Connector 50"/>
                <p:cNvCxnSpPr/>
                <p:nvPr/>
              </p:nvCxnSpPr>
              <p:spPr>
                <a:xfrm>
                  <a:off x="-2821774"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2207853"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604521"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6" name="Group 38"/>
              <p:cNvGrpSpPr>
                <a:grpSpLocks/>
              </p:cNvGrpSpPr>
              <p:nvPr/>
            </p:nvGrpSpPr>
            <p:grpSpPr bwMode="auto">
              <a:xfrm>
                <a:off x="3169920" y="6553200"/>
                <a:ext cx="365760" cy="304800"/>
                <a:chOff x="-2819400" y="0"/>
                <a:chExt cx="1828800" cy="6858000"/>
              </a:xfrm>
            </p:grpSpPr>
            <p:cxnSp>
              <p:nvCxnSpPr>
                <p:cNvPr id="47" name="Straight Connector 46"/>
                <p:cNvCxnSpPr/>
                <p:nvPr/>
              </p:nvCxnSpPr>
              <p:spPr>
                <a:xfrm>
                  <a:off x="-2812919"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220958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595659"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992327"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grpSp>
      <p:pic>
        <p:nvPicPr>
          <p:cNvPr id="137" name="Picture 129" descr="HD-ShadowLong.png"/>
          <p:cNvPicPr>
            <a:picLocks noChangeAspect="1"/>
          </p:cNvPicPr>
          <p:nvPr/>
        </p:nvPicPr>
        <p:blipFill>
          <a:blip r:embed="rId6" cstate="print"/>
          <a:srcRect/>
          <a:stretch>
            <a:fillRect/>
          </a:stretch>
        </p:blipFill>
        <p:spPr bwMode="auto">
          <a:xfrm>
            <a:off x="0" y="1970088"/>
            <a:ext cx="7827963" cy="320675"/>
          </a:xfrm>
          <a:prstGeom prst="rect">
            <a:avLst/>
          </a:prstGeom>
          <a:noFill/>
          <a:ln w="9525">
            <a:noFill/>
            <a:miter lim="800000"/>
            <a:headEnd/>
            <a:tailEnd/>
          </a:ln>
        </p:spPr>
      </p:pic>
      <p:pic>
        <p:nvPicPr>
          <p:cNvPr id="142" name="Picture 130" descr="HD-ShadowShort.png"/>
          <p:cNvPicPr>
            <a:picLocks noChangeAspect="1"/>
          </p:cNvPicPr>
          <p:nvPr/>
        </p:nvPicPr>
        <p:blipFill>
          <a:blip r:embed="rId7" cstate="print"/>
          <a:srcRect/>
          <a:stretch>
            <a:fillRect/>
          </a:stretch>
        </p:blipFill>
        <p:spPr bwMode="auto">
          <a:xfrm>
            <a:off x="7939088" y="1971675"/>
            <a:ext cx="1201737" cy="144463"/>
          </a:xfrm>
          <a:prstGeom prst="rect">
            <a:avLst/>
          </a:prstGeom>
          <a:noFill/>
          <a:ln w="9525">
            <a:noFill/>
            <a:miter lim="800000"/>
            <a:headEnd/>
            <a:tailEnd/>
          </a:ln>
        </p:spPr>
      </p:pic>
      <p:sp>
        <p:nvSpPr>
          <p:cNvPr id="138" name="Text Placeholder 137"/>
          <p:cNvSpPr>
            <a:spLocks noGrp="1"/>
          </p:cNvSpPr>
          <p:nvPr>
            <p:ph type="body" sz="quarter" idx="10"/>
          </p:nvPr>
        </p:nvSpPr>
        <p:spPr>
          <a:xfrm rot="16200000">
            <a:off x="-17096" y="6123620"/>
            <a:ext cx="980414" cy="274320"/>
          </a:xfrm>
        </p:spPr>
        <p:txBody>
          <a:bodyPr anchor="ctr">
            <a:noAutofit/>
          </a:bodyPr>
          <a:lstStyle>
            <a:lvl1pPr marL="0" indent="0" algn="ctr">
              <a:buNone/>
              <a:defRPr sz="1800" b="1" spc="300">
                <a:effectLst/>
              </a:defRPr>
            </a:lvl1pPr>
            <a:lvl2pPr marL="0" indent="0">
              <a:buNone/>
              <a:defRPr sz="1800"/>
            </a:lvl2pPr>
            <a:lvl3pPr marL="0" indent="0">
              <a:buNone/>
              <a:defRPr sz="1800"/>
            </a:lvl3pPr>
            <a:lvl4pPr marL="0" indent="0">
              <a:buNone/>
              <a:defRPr sz="1800"/>
            </a:lvl4pPr>
            <a:lvl5pPr marL="0" indent="0">
              <a:buNone/>
              <a:defRPr sz="1800"/>
            </a:lvl5pPr>
          </a:lstStyle>
          <a:p>
            <a:pPr lvl="0"/>
            <a:r>
              <a:rPr lang="en-US" smtClean="0"/>
              <a:t>Click to edit Master text styles</a:t>
            </a:r>
          </a:p>
        </p:txBody>
      </p:sp>
      <p:sp>
        <p:nvSpPr>
          <p:cNvPr id="139" name="Text Placeholder 137"/>
          <p:cNvSpPr>
            <a:spLocks noGrp="1"/>
          </p:cNvSpPr>
          <p:nvPr>
            <p:ph type="body" sz="quarter" idx="11"/>
          </p:nvPr>
        </p:nvSpPr>
        <p:spPr>
          <a:xfrm rot="16200000">
            <a:off x="2247811" y="6123620"/>
            <a:ext cx="980414" cy="274320"/>
          </a:xfrm>
        </p:spPr>
        <p:txBody>
          <a:bodyPr anchor="ctr">
            <a:noAutofit/>
          </a:bodyPr>
          <a:lstStyle>
            <a:lvl1pPr marL="0" indent="0" algn="ctr">
              <a:buNone/>
              <a:defRPr sz="1800" b="1" spc="300">
                <a:effectLst/>
              </a:defRPr>
            </a:lvl1pPr>
            <a:lvl2pPr marL="0" indent="0">
              <a:buNone/>
              <a:defRPr sz="1800"/>
            </a:lvl2pPr>
            <a:lvl3pPr marL="0" indent="0">
              <a:buNone/>
              <a:defRPr sz="1800"/>
            </a:lvl3pPr>
            <a:lvl4pPr marL="0" indent="0">
              <a:buNone/>
              <a:defRPr sz="1800"/>
            </a:lvl4pPr>
            <a:lvl5pPr marL="0" indent="0">
              <a:buNone/>
              <a:defRPr sz="1800"/>
            </a:lvl5pPr>
          </a:lstStyle>
          <a:p>
            <a:pPr lvl="0"/>
            <a:r>
              <a:rPr lang="en-US" smtClean="0"/>
              <a:t>Click to edit Master text styles</a:t>
            </a:r>
          </a:p>
        </p:txBody>
      </p:sp>
      <p:sp>
        <p:nvSpPr>
          <p:cNvPr id="140" name="Text Placeholder 137"/>
          <p:cNvSpPr>
            <a:spLocks noGrp="1"/>
          </p:cNvSpPr>
          <p:nvPr>
            <p:ph type="body" sz="quarter" idx="12"/>
          </p:nvPr>
        </p:nvSpPr>
        <p:spPr>
          <a:xfrm rot="16200000">
            <a:off x="4543844" y="6123620"/>
            <a:ext cx="980414" cy="274320"/>
          </a:xfrm>
        </p:spPr>
        <p:txBody>
          <a:bodyPr anchor="ctr">
            <a:noAutofit/>
          </a:bodyPr>
          <a:lstStyle>
            <a:lvl1pPr marL="0" indent="0" algn="ctr">
              <a:buNone/>
              <a:defRPr sz="1800" b="1" spc="300">
                <a:effectLst/>
              </a:defRPr>
            </a:lvl1pPr>
            <a:lvl2pPr marL="0" indent="0">
              <a:buNone/>
              <a:defRPr sz="1800"/>
            </a:lvl2pPr>
            <a:lvl3pPr marL="0" indent="0">
              <a:buNone/>
              <a:defRPr sz="1800"/>
            </a:lvl3pPr>
            <a:lvl4pPr marL="0" indent="0">
              <a:buNone/>
              <a:defRPr sz="1800"/>
            </a:lvl4pPr>
            <a:lvl5pPr marL="0" indent="0">
              <a:buNone/>
              <a:defRPr sz="1800"/>
            </a:lvl5pPr>
          </a:lstStyle>
          <a:p>
            <a:pPr lvl="0"/>
            <a:r>
              <a:rPr lang="en-US" smtClean="0"/>
              <a:t>Click to edit Master text styles</a:t>
            </a:r>
          </a:p>
        </p:txBody>
      </p:sp>
      <p:sp>
        <p:nvSpPr>
          <p:cNvPr id="141" name="Text Placeholder 137"/>
          <p:cNvSpPr>
            <a:spLocks noGrp="1"/>
          </p:cNvSpPr>
          <p:nvPr>
            <p:ph type="body" sz="quarter" idx="13"/>
          </p:nvPr>
        </p:nvSpPr>
        <p:spPr>
          <a:xfrm rot="16200000">
            <a:off x="6830176" y="6123620"/>
            <a:ext cx="980414" cy="274320"/>
          </a:xfrm>
        </p:spPr>
        <p:txBody>
          <a:bodyPr anchor="ctr">
            <a:noAutofit/>
          </a:bodyPr>
          <a:lstStyle>
            <a:lvl1pPr marL="0" indent="0" algn="ctr">
              <a:buNone/>
              <a:defRPr sz="1800" b="1" spc="300">
                <a:effectLst/>
              </a:defRPr>
            </a:lvl1pPr>
            <a:lvl2pPr marL="0" indent="0">
              <a:buNone/>
              <a:defRPr sz="1800"/>
            </a:lvl2pPr>
            <a:lvl3pPr marL="0" indent="0">
              <a:buNone/>
              <a:defRPr sz="1800"/>
            </a:lvl3pPr>
            <a:lvl4pPr marL="0" indent="0">
              <a:buNone/>
              <a:defRPr sz="1800"/>
            </a:lvl4pPr>
            <a:lvl5pPr marL="0" indent="0">
              <a:buNone/>
              <a:defRPr sz="1800"/>
            </a:lvl5pPr>
          </a:lstStyle>
          <a:p>
            <a:pPr lvl="0"/>
            <a:r>
              <a:rPr lang="en-US" smtClean="0"/>
              <a:t>Click to edit Master text styles</a:t>
            </a:r>
          </a:p>
        </p:txBody>
      </p:sp>
      <p:sp>
        <p:nvSpPr>
          <p:cNvPr id="177" name="Text Placeholder 174"/>
          <p:cNvSpPr>
            <a:spLocks noGrp="1"/>
          </p:cNvSpPr>
          <p:nvPr>
            <p:ph type="body" sz="quarter" idx="29"/>
          </p:nvPr>
        </p:nvSpPr>
        <p:spPr>
          <a:xfrm>
            <a:off x="632846" y="3653736"/>
            <a:ext cx="994410" cy="2290486"/>
          </a:xfrm>
          <a:blipFill>
            <a:blip r:embed="rId8" cstate="print"/>
            <a:srcRect/>
            <a:stretch>
              <a:fillRect t="-2" b="-87334"/>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Click to edit Master text styles</a:t>
            </a:r>
          </a:p>
          <a:p>
            <a:pPr lvl="1"/>
            <a:r>
              <a:rPr lang="en-US" smtClean="0"/>
              <a:t>Second level</a:t>
            </a:r>
          </a:p>
        </p:txBody>
      </p:sp>
      <p:sp>
        <p:nvSpPr>
          <p:cNvPr id="176" name="Text Placeholder 174"/>
          <p:cNvSpPr>
            <a:spLocks noGrp="1"/>
          </p:cNvSpPr>
          <p:nvPr>
            <p:ph type="body" sz="quarter" idx="28"/>
          </p:nvPr>
        </p:nvSpPr>
        <p:spPr>
          <a:xfrm>
            <a:off x="2096060" y="2973492"/>
            <a:ext cx="994410" cy="2970730"/>
          </a:xfrm>
          <a:blipFill>
            <a:blip r:embed="rId9" cstate="print"/>
            <a:srcRect/>
            <a:stretch>
              <a:fillRect t="-4" b="-44435"/>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Click to edit Master text styles</a:t>
            </a:r>
          </a:p>
          <a:p>
            <a:pPr lvl="1"/>
            <a:r>
              <a:rPr lang="en-US" smtClean="0"/>
              <a:t>Second level</a:t>
            </a:r>
          </a:p>
        </p:txBody>
      </p:sp>
      <p:sp>
        <p:nvSpPr>
          <p:cNvPr id="175" name="Text Placeholder 174"/>
          <p:cNvSpPr>
            <a:spLocks noGrp="1"/>
          </p:cNvSpPr>
          <p:nvPr>
            <p:ph type="body" sz="quarter" idx="27"/>
          </p:nvPr>
        </p:nvSpPr>
        <p:spPr>
          <a:xfrm>
            <a:off x="3466415" y="2281258"/>
            <a:ext cx="994410" cy="3662964"/>
          </a:xfrm>
          <a:blipFill>
            <a:blip r:embed="rId10" cstate="print"/>
            <a:srcRect/>
            <a:stretch>
              <a:fillRect t="-3" b="-17141"/>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Click to edit Master text styles</a:t>
            </a:r>
          </a:p>
          <a:p>
            <a:pPr lvl="1"/>
            <a:r>
              <a:rPr lang="en-US" smtClean="0"/>
              <a:t>Second level</a:t>
            </a:r>
          </a:p>
        </p:txBody>
      </p:sp>
      <p:sp>
        <p:nvSpPr>
          <p:cNvPr id="178" name="Text Placeholder 174"/>
          <p:cNvSpPr>
            <a:spLocks noGrp="1"/>
          </p:cNvSpPr>
          <p:nvPr>
            <p:ph type="body" sz="quarter" idx="30"/>
          </p:nvPr>
        </p:nvSpPr>
        <p:spPr>
          <a:xfrm>
            <a:off x="4556817" y="3661974"/>
            <a:ext cx="994410" cy="2282248"/>
          </a:xfrm>
          <a:blipFill>
            <a:blip r:embed="rId8" cstate="print"/>
            <a:srcRect/>
            <a:stretch>
              <a:fillRect t="-1" b="-88011"/>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Click to edit Master text styles</a:t>
            </a:r>
          </a:p>
          <a:p>
            <a:pPr lvl="1"/>
            <a:r>
              <a:rPr lang="en-US" smtClean="0"/>
              <a:t>Second level</a:t>
            </a:r>
          </a:p>
        </p:txBody>
      </p:sp>
      <p:sp>
        <p:nvSpPr>
          <p:cNvPr id="179" name="Text Placeholder 174"/>
          <p:cNvSpPr>
            <a:spLocks noGrp="1"/>
          </p:cNvSpPr>
          <p:nvPr>
            <p:ph type="body" sz="quarter" idx="31"/>
          </p:nvPr>
        </p:nvSpPr>
        <p:spPr>
          <a:xfrm>
            <a:off x="6027185" y="2969022"/>
            <a:ext cx="994410" cy="2975201"/>
          </a:xfrm>
          <a:blipFill>
            <a:blip r:embed="rId9" cstate="print"/>
            <a:srcRect/>
            <a:stretch>
              <a:fillRect t="-4" b="-44219"/>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Click to edit Master text styles</a:t>
            </a:r>
          </a:p>
          <a:p>
            <a:pPr lvl="1"/>
            <a:r>
              <a:rPr lang="en-US" smtClean="0"/>
              <a:t>Second level</a:t>
            </a:r>
          </a:p>
        </p:txBody>
      </p:sp>
      <p:sp>
        <p:nvSpPr>
          <p:cNvPr id="180" name="Text Placeholder 174"/>
          <p:cNvSpPr>
            <a:spLocks noGrp="1"/>
          </p:cNvSpPr>
          <p:nvPr>
            <p:ph type="body" sz="quarter" idx="32"/>
          </p:nvPr>
        </p:nvSpPr>
        <p:spPr>
          <a:xfrm>
            <a:off x="7579708" y="2281258"/>
            <a:ext cx="994410" cy="3662964"/>
          </a:xfrm>
          <a:blipFill>
            <a:blip r:embed="rId10" cstate="print"/>
            <a:srcRect/>
            <a:stretch>
              <a:fillRect t="-3" b="-17141"/>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Click to edit Master text styles</a:t>
            </a:r>
          </a:p>
          <a:p>
            <a:pPr lvl="1"/>
            <a:r>
              <a:rPr lang="en-US" smtClean="0"/>
              <a:t>Second level</a:t>
            </a:r>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2" name="Picture 9" descr="WhitePage_1a"/>
          <p:cNvPicPr>
            <a:picLocks noChangeAspect="1" noChangeArrowheads="1"/>
          </p:cNvPicPr>
          <p:nvPr userDrawn="1"/>
        </p:nvPicPr>
        <p:blipFill>
          <a:blip r:embed="rId2" cstate="print"/>
          <a:srcRect b="82222"/>
          <a:stretch>
            <a:fillRect/>
          </a:stretch>
        </p:blipFill>
        <p:spPr bwMode="auto">
          <a:xfrm>
            <a:off x="0" y="0"/>
            <a:ext cx="9144000" cy="1219200"/>
          </a:xfrm>
          <a:prstGeom prst="rect">
            <a:avLst/>
          </a:prstGeom>
          <a:noFill/>
        </p:spPr>
      </p:pic>
      <p:sp>
        <p:nvSpPr>
          <p:cNvPr id="10" name="Text Placeholder 11"/>
          <p:cNvSpPr>
            <a:spLocks noGrp="1"/>
          </p:cNvSpPr>
          <p:nvPr>
            <p:ph type="body" sz="quarter" idx="17" hasCustomPrompt="1"/>
          </p:nvPr>
        </p:nvSpPr>
        <p:spPr>
          <a:xfrm>
            <a:off x="442989" y="1506540"/>
            <a:ext cx="8265582" cy="4589461"/>
          </a:xfrm>
        </p:spPr>
        <p:txBody>
          <a:bodyPr/>
          <a:lstStyle>
            <a:lvl1pPr>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itle 13"/>
          <p:cNvSpPr>
            <a:spLocks noGrp="1"/>
          </p:cNvSpPr>
          <p:nvPr>
            <p:ph type="title" hasCustomPrompt="1"/>
          </p:nvPr>
        </p:nvSpPr>
        <p:spPr>
          <a:xfrm>
            <a:off x="297543" y="121920"/>
            <a:ext cx="6016171" cy="906780"/>
          </a:xfrm>
        </p:spPr>
        <p:txBody>
          <a:bodyPr/>
          <a:lstStyle>
            <a:lvl1pPr>
              <a:defRPr>
                <a:solidFill>
                  <a:schemeClr val="bg1"/>
                </a:solidFill>
              </a:defRPr>
            </a:lvl1pPr>
          </a:lstStyle>
          <a:p>
            <a:r>
              <a:rPr lang="en-US" dirty="0" smtClean="0"/>
              <a:t>Click to add title</a:t>
            </a:r>
            <a:endParaRPr lang="en-US" dirty="0"/>
          </a:p>
        </p:txBody>
      </p:sp>
      <p:pic>
        <p:nvPicPr>
          <p:cNvPr id="30721" name="Picture 1" descr="pfizer_rgb_pos"/>
          <p:cNvPicPr>
            <a:picLocks noChangeAspect="1" noChangeArrowheads="1"/>
          </p:cNvPicPr>
          <p:nvPr userDrawn="1"/>
        </p:nvPicPr>
        <p:blipFill>
          <a:blip r:embed="rId3" cstate="print"/>
          <a:srcRect/>
          <a:stretch>
            <a:fillRect/>
          </a:stretch>
        </p:blipFill>
        <p:spPr bwMode="auto">
          <a:xfrm>
            <a:off x="251520" y="5949280"/>
            <a:ext cx="1066800" cy="612921"/>
          </a:xfrm>
          <a:prstGeom prst="rect">
            <a:avLst/>
          </a:prstGeom>
          <a:noFill/>
          <a:ln w="9525">
            <a:noFill/>
            <a:miter lim="800000"/>
            <a:headEnd/>
            <a:tailEnd/>
          </a:ln>
        </p:spPr>
      </p:pic>
      <p:pic>
        <p:nvPicPr>
          <p:cNvPr id="31745" name="Picture 1"/>
          <p:cNvPicPr>
            <a:picLocks noChangeAspect="1" noChangeArrowheads="1"/>
          </p:cNvPicPr>
          <p:nvPr userDrawn="1"/>
        </p:nvPicPr>
        <p:blipFill>
          <a:blip r:embed="rId4" cstate="print"/>
          <a:srcRect/>
          <a:stretch>
            <a:fillRect/>
          </a:stretch>
        </p:blipFill>
        <p:spPr bwMode="auto">
          <a:xfrm>
            <a:off x="7164288" y="5805264"/>
            <a:ext cx="1745836" cy="838200"/>
          </a:xfrm>
          <a:prstGeom prst="rect">
            <a:avLst/>
          </a:prstGeom>
          <a:noFill/>
          <a:ln w="9525">
            <a:noFill/>
            <a:miter lim="800000"/>
            <a:headEnd/>
            <a:tailEnd/>
          </a:ln>
          <a:effectLst/>
        </p:spPr>
      </p:pic>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graphicFrame>
        <p:nvGraphicFramePr>
          <p:cNvPr id="2" name="AutoShape 23"/>
          <p:cNvGraphicFramePr>
            <a:graphicFrameLocks/>
          </p:cNvGraphicFramePr>
          <p:nvPr>
            <p:custDataLst>
              <p:tags r:id="rId2"/>
            </p:custDataLst>
          </p:nvPr>
        </p:nvGraphicFramePr>
        <p:xfrm>
          <a:off x="-1588" y="0"/>
          <a:ext cx="150813" cy="158750"/>
        </p:xfrm>
        <a:graphic>
          <a:graphicData uri="http://schemas.openxmlformats.org/presentationml/2006/ole">
            <mc:AlternateContent xmlns:mc="http://schemas.openxmlformats.org/markup-compatibility/2006">
              <mc:Choice xmlns:v="urn:schemas-microsoft-com:vml" Requires="v">
                <p:oleObj spid="_x0000_s64930" r:id="rId5" imgW="0" imgH="0" progId="">
                  <p:embed/>
                </p:oleObj>
              </mc:Choice>
              <mc:Fallback>
                <p:oleObj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50" descr="WhitePage_1"/>
          <p:cNvPicPr>
            <a:picLocks noChangeAspect="1" noChangeArrowheads="1"/>
          </p:cNvPicPr>
          <p:nvPr/>
        </p:nvPicPr>
        <p:blipFill>
          <a:blip r:embed="rId6" cstate="print"/>
          <a:srcRect/>
          <a:stretch>
            <a:fillRect/>
          </a:stretch>
        </p:blipFill>
        <p:spPr bwMode="auto">
          <a:xfrm>
            <a:off x="0" y="0"/>
            <a:ext cx="9144000" cy="6858000"/>
          </a:xfrm>
          <a:prstGeom prst="rect">
            <a:avLst/>
          </a:prstGeom>
          <a:noFill/>
          <a:ln w="9525">
            <a:noFill/>
            <a:miter lim="800000"/>
            <a:headEnd/>
            <a:tailEnd/>
          </a:ln>
        </p:spPr>
      </p:pic>
      <p:pic>
        <p:nvPicPr>
          <p:cNvPr id="4" name="Picture 9" descr="WhitePage_1a"/>
          <p:cNvPicPr>
            <a:picLocks noChangeAspect="1" noChangeArrowheads="1"/>
          </p:cNvPicPr>
          <p:nvPr userDrawn="1"/>
        </p:nvPicPr>
        <p:blipFill>
          <a:blip r:embed="rId7" cstate="print"/>
          <a:srcRect/>
          <a:stretch>
            <a:fillRect/>
          </a:stretch>
        </p:blipFill>
        <p:spPr bwMode="auto">
          <a:xfrm>
            <a:off x="0" y="0"/>
            <a:ext cx="9144000" cy="6858000"/>
          </a:xfrm>
          <a:prstGeom prst="rect">
            <a:avLst/>
          </a:prstGeom>
          <a:noFill/>
          <a:ln w="9525">
            <a:noFill/>
            <a:miter lim="800000"/>
            <a:headEnd/>
            <a:tailEnd/>
          </a:ln>
        </p:spPr>
      </p:pic>
      <p:sp>
        <p:nvSpPr>
          <p:cNvPr id="5" name="pg num"/>
          <p:cNvSpPr>
            <a:spLocks noGrp="1" noChangeArrowheads="1"/>
          </p:cNvSpPr>
          <p:nvPr>
            <p:ph type="sldNum" sz="quarter" idx="10"/>
            <p:custDataLst>
              <p:tags r:id="rId3"/>
            </p:custDataLst>
          </p:nvPr>
        </p:nvSpPr>
        <p:spPr>
          <a:xfrm>
            <a:off x="6553200" y="6505575"/>
            <a:ext cx="2133600" cy="123825"/>
          </a:xfrm>
        </p:spPr>
        <p:txBody>
          <a:bodyPr/>
          <a:lstStyle>
            <a:lvl1pPr>
              <a:defRPr/>
            </a:lvl1pPr>
          </a:lstStyle>
          <a:p>
            <a:pPr>
              <a:defRPr/>
            </a:pPr>
            <a:fld id="{855D866C-3EC2-4478-81D8-D3BF3541B17A}" type="slidenum">
              <a:rPr lang="en-US" altLang="en-US"/>
              <a:pPr>
                <a:defRPr/>
              </a:pPr>
              <a:t>‹#›</a:t>
            </a:fld>
            <a:endParaRPr lang="en-US" altLang="en-US" dirty="0"/>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E07ED91A-D947-41CC-856F-CD7B04B272CA}"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3_Title Slide">
    <p:spTree>
      <p:nvGrpSpPr>
        <p:cNvPr id="1" name=""/>
        <p:cNvGrpSpPr/>
        <p:nvPr/>
      </p:nvGrpSpPr>
      <p:grpSpPr>
        <a:xfrm>
          <a:off x="0" y="0"/>
          <a:ext cx="0" cy="0"/>
          <a:chOff x="0" y="0"/>
          <a:chExt cx="0" cy="0"/>
        </a:xfrm>
      </p:grpSpPr>
      <p:graphicFrame>
        <p:nvGraphicFramePr>
          <p:cNvPr id="4" name="AutoShape 23"/>
          <p:cNvGraphicFramePr>
            <a:graphicFrameLocks/>
          </p:cNvGraphicFramePr>
          <p:nvPr>
            <p:custDataLst>
              <p:tags r:id="rId2"/>
            </p:custDataLst>
          </p:nvPr>
        </p:nvGraphicFramePr>
        <p:xfrm>
          <a:off x="-1588" y="0"/>
          <a:ext cx="150813" cy="158750"/>
        </p:xfrm>
        <a:graphic>
          <a:graphicData uri="http://schemas.openxmlformats.org/presentationml/2006/ole">
            <mc:AlternateContent xmlns:mc="http://schemas.openxmlformats.org/markup-compatibility/2006">
              <mc:Choice xmlns:v="urn:schemas-microsoft-com:vml" Requires="v">
                <p:oleObj spid="_x0000_s54755" r:id="rId5" imgW="0" imgH="0" progId="">
                  <p:embed/>
                </p:oleObj>
              </mc:Choice>
              <mc:Fallback>
                <p:oleObj r:id="rId5" imgW="0" imgH="0" progId="">
                  <p:embed/>
                  <p:pic>
                    <p:nvPicPr>
                      <p:cNvPr id="0" name="AutoShape 2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0" descr="WhitePage_1"/>
          <p:cNvPicPr>
            <a:picLocks noChangeAspect="1" noChangeArrowheads="1"/>
          </p:cNvPicPr>
          <p:nvPr/>
        </p:nvPicPr>
        <p:blipFill>
          <a:blip r:embed="rId6" cstate="print"/>
          <a:srcRect/>
          <a:stretch>
            <a:fillRect/>
          </a:stretch>
        </p:blipFill>
        <p:spPr bwMode="auto">
          <a:xfrm>
            <a:off x="0" y="0"/>
            <a:ext cx="9144000" cy="6858000"/>
          </a:xfrm>
          <a:prstGeom prst="rect">
            <a:avLst/>
          </a:prstGeom>
          <a:noFill/>
          <a:ln w="9525">
            <a:noFill/>
            <a:miter lim="800000"/>
            <a:headEnd/>
            <a:tailEnd/>
          </a:ln>
        </p:spPr>
      </p:pic>
      <p:pic>
        <p:nvPicPr>
          <p:cNvPr id="6" name="Picture 9" descr="WhitePage_1a"/>
          <p:cNvPicPr>
            <a:picLocks noChangeAspect="1" noChangeArrowheads="1"/>
          </p:cNvPicPr>
          <p:nvPr userDrawn="1"/>
        </p:nvPicPr>
        <p:blipFill>
          <a:blip r:embed="rId7" cstate="print"/>
          <a:srcRect b="82222"/>
          <a:stretch>
            <a:fillRect/>
          </a:stretch>
        </p:blipFill>
        <p:spPr bwMode="auto">
          <a:xfrm>
            <a:off x="0" y="0"/>
            <a:ext cx="9144000" cy="1219200"/>
          </a:xfrm>
          <a:prstGeom prst="rect">
            <a:avLst/>
          </a:prstGeom>
          <a:noFill/>
          <a:ln w="9525">
            <a:noFill/>
            <a:miter lim="800000"/>
            <a:headEnd/>
            <a:tailEnd/>
          </a:ln>
        </p:spPr>
      </p:pic>
      <p:sp>
        <p:nvSpPr>
          <p:cNvPr id="10" name="Text Placeholder 11"/>
          <p:cNvSpPr>
            <a:spLocks noGrp="1"/>
          </p:cNvSpPr>
          <p:nvPr>
            <p:ph type="body" sz="quarter" idx="17"/>
          </p:nvPr>
        </p:nvSpPr>
        <p:spPr>
          <a:xfrm>
            <a:off x="442999" y="1506547"/>
            <a:ext cx="8265582" cy="4589461"/>
          </a:xfrm>
        </p:spPr>
        <p:txBody>
          <a:bodyPr/>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13"/>
          <p:cNvSpPr>
            <a:spLocks noGrp="1"/>
          </p:cNvSpPr>
          <p:nvPr>
            <p:ph type="title"/>
          </p:nvPr>
        </p:nvSpPr>
        <p:spPr>
          <a:xfrm>
            <a:off x="297543" y="121920"/>
            <a:ext cx="6016171" cy="906780"/>
          </a:xfrm>
        </p:spPr>
        <p:txBody>
          <a:bodyPr/>
          <a:lstStyle>
            <a:lvl1pPr>
              <a:defRPr>
                <a:solidFill>
                  <a:schemeClr val="bg1"/>
                </a:solidFill>
              </a:defRPr>
            </a:lvl1pPr>
          </a:lstStyle>
          <a:p>
            <a:r>
              <a:rPr lang="en-US" smtClean="0"/>
              <a:t>Click to edit Master title style</a:t>
            </a:r>
            <a:endParaRPr lang="en-US" dirty="0"/>
          </a:p>
        </p:txBody>
      </p:sp>
      <p:sp>
        <p:nvSpPr>
          <p:cNvPr id="7" name="pg num"/>
          <p:cNvSpPr>
            <a:spLocks noGrp="1" noChangeArrowheads="1"/>
          </p:cNvSpPr>
          <p:nvPr>
            <p:ph type="sldNum" sz="quarter" idx="18"/>
            <p:custDataLst>
              <p:tags r:id="rId3"/>
            </p:custDataLst>
          </p:nvPr>
        </p:nvSpPr>
        <p:spPr/>
        <p:txBody>
          <a:bodyPr/>
          <a:lstStyle>
            <a:lvl1pPr>
              <a:defRPr/>
            </a:lvl1pPr>
          </a:lstStyle>
          <a:p>
            <a:pPr>
              <a:defRPr/>
            </a:pPr>
            <a:fld id="{C7833A22-DB15-4B89-9041-BDF1AD753839}"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6_Title Slide">
    <p:spTree>
      <p:nvGrpSpPr>
        <p:cNvPr id="1" name=""/>
        <p:cNvGrpSpPr/>
        <p:nvPr/>
      </p:nvGrpSpPr>
      <p:grpSpPr>
        <a:xfrm>
          <a:off x="0" y="0"/>
          <a:ext cx="0" cy="0"/>
          <a:chOff x="0" y="0"/>
          <a:chExt cx="0" cy="0"/>
        </a:xfrm>
      </p:grpSpPr>
      <p:graphicFrame>
        <p:nvGraphicFramePr>
          <p:cNvPr id="4" name="AutoShape 23"/>
          <p:cNvGraphicFramePr>
            <a:graphicFrameLocks/>
          </p:cNvGraphicFramePr>
          <p:nvPr>
            <p:custDataLst>
              <p:tags r:id="rId2"/>
            </p:custDataLst>
          </p:nvPr>
        </p:nvGraphicFramePr>
        <p:xfrm>
          <a:off x="-1588" y="0"/>
          <a:ext cx="150813" cy="158750"/>
        </p:xfrm>
        <a:graphic>
          <a:graphicData uri="http://schemas.openxmlformats.org/presentationml/2006/ole">
            <mc:AlternateContent xmlns:mc="http://schemas.openxmlformats.org/markup-compatibility/2006">
              <mc:Choice xmlns:v="urn:schemas-microsoft-com:vml" Requires="v">
                <p:oleObj spid="_x0000_s55779" r:id="rId5" imgW="0" imgH="0" progId="">
                  <p:embed/>
                </p:oleObj>
              </mc:Choice>
              <mc:Fallback>
                <p:oleObj r:id="rId5" imgW="0" imgH="0" progId="">
                  <p:embed/>
                  <p:pic>
                    <p:nvPicPr>
                      <p:cNvPr id="0" name="AutoShape 2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0" descr="WhitePage_1"/>
          <p:cNvPicPr>
            <a:picLocks noChangeAspect="1" noChangeArrowheads="1"/>
          </p:cNvPicPr>
          <p:nvPr/>
        </p:nvPicPr>
        <p:blipFill>
          <a:blip r:embed="rId6" cstate="print"/>
          <a:srcRect/>
          <a:stretch>
            <a:fillRect/>
          </a:stretch>
        </p:blipFill>
        <p:spPr bwMode="auto">
          <a:xfrm>
            <a:off x="0" y="0"/>
            <a:ext cx="9144000" cy="6858000"/>
          </a:xfrm>
          <a:prstGeom prst="rect">
            <a:avLst/>
          </a:prstGeom>
          <a:noFill/>
          <a:ln w="9525">
            <a:noFill/>
            <a:miter lim="800000"/>
            <a:headEnd/>
            <a:tailEnd/>
          </a:ln>
        </p:spPr>
      </p:pic>
      <p:pic>
        <p:nvPicPr>
          <p:cNvPr id="6" name="Picture 9" descr="WhitePage_1a"/>
          <p:cNvPicPr>
            <a:picLocks noChangeAspect="1" noChangeArrowheads="1"/>
          </p:cNvPicPr>
          <p:nvPr userDrawn="1"/>
        </p:nvPicPr>
        <p:blipFill>
          <a:blip r:embed="rId7" cstate="print"/>
          <a:srcRect b="82222"/>
          <a:stretch>
            <a:fillRect/>
          </a:stretch>
        </p:blipFill>
        <p:spPr bwMode="auto">
          <a:xfrm>
            <a:off x="0" y="0"/>
            <a:ext cx="9144000" cy="1219200"/>
          </a:xfrm>
          <a:prstGeom prst="rect">
            <a:avLst/>
          </a:prstGeom>
          <a:noFill/>
          <a:ln w="9525">
            <a:noFill/>
            <a:miter lim="800000"/>
            <a:headEnd/>
            <a:tailEnd/>
          </a:ln>
        </p:spPr>
      </p:pic>
      <p:sp>
        <p:nvSpPr>
          <p:cNvPr id="10" name="Text Placeholder 11"/>
          <p:cNvSpPr>
            <a:spLocks noGrp="1"/>
          </p:cNvSpPr>
          <p:nvPr>
            <p:ph type="body" sz="quarter" idx="17"/>
          </p:nvPr>
        </p:nvSpPr>
        <p:spPr>
          <a:xfrm>
            <a:off x="442999" y="1506547"/>
            <a:ext cx="8265582" cy="4589461"/>
          </a:xfrm>
        </p:spPr>
        <p:txBody>
          <a:bodyPr/>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13"/>
          <p:cNvSpPr>
            <a:spLocks noGrp="1"/>
          </p:cNvSpPr>
          <p:nvPr>
            <p:ph type="title"/>
          </p:nvPr>
        </p:nvSpPr>
        <p:spPr>
          <a:xfrm>
            <a:off x="297543" y="121920"/>
            <a:ext cx="6016171" cy="906780"/>
          </a:xfrm>
        </p:spPr>
        <p:txBody>
          <a:bodyPr/>
          <a:lstStyle>
            <a:lvl1pPr>
              <a:defRPr>
                <a:solidFill>
                  <a:schemeClr val="bg1"/>
                </a:solidFill>
              </a:defRPr>
            </a:lvl1pPr>
          </a:lstStyle>
          <a:p>
            <a:r>
              <a:rPr lang="en-US" smtClean="0"/>
              <a:t>Click to edit Master title style</a:t>
            </a:r>
            <a:endParaRPr lang="en-US" dirty="0"/>
          </a:p>
        </p:txBody>
      </p:sp>
      <p:sp>
        <p:nvSpPr>
          <p:cNvPr id="7" name="pg num"/>
          <p:cNvSpPr>
            <a:spLocks noGrp="1" noChangeArrowheads="1"/>
          </p:cNvSpPr>
          <p:nvPr>
            <p:ph type="sldNum" sz="quarter" idx="18"/>
            <p:custDataLst>
              <p:tags r:id="rId3"/>
            </p:custDataLst>
          </p:nvPr>
        </p:nvSpPr>
        <p:spPr/>
        <p:txBody>
          <a:bodyPr/>
          <a:lstStyle>
            <a:lvl1pPr>
              <a:defRPr/>
            </a:lvl1pPr>
          </a:lstStyle>
          <a:p>
            <a:pPr>
              <a:defRPr/>
            </a:pPr>
            <a:fld id="{A2E13133-7636-4B12-901B-F981F7839961}"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E07ED91A-D947-41CC-856F-CD7B04B272CA}" type="slidenum">
              <a:rPr lang="en-US" altLang="en-US" smtClean="0"/>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690" y="4407439"/>
            <a:ext cx="7772703"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690" y="2906713"/>
            <a:ext cx="7772703"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1352D43D-6A35-4B24-A404-B29387A10E6F}" type="slidenum">
              <a:rPr lang="en-US" altLang="en-US" smtClean="0"/>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76465" y="1300170"/>
            <a:ext cx="4122964" cy="49482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4841" y="1300170"/>
            <a:ext cx="4122965" cy="49482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CCFEA289-A159-4C86-9B03-5871942341E1}" type="slidenum">
              <a:rPr lang="en-US" altLang="en-US" smtClean="0"/>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605" y="274638"/>
            <a:ext cx="823081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595" y="1535113"/>
            <a:ext cx="404132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595" y="2174875"/>
            <a:ext cx="404132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4841" y="1535113"/>
            <a:ext cx="40428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4841" y="2174875"/>
            <a:ext cx="40428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9242DA14-8C2C-4369-AB1F-5D62481627BF}" type="slidenum">
              <a:rPr lang="en-US" altLang="en-US" smtClean="0"/>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7EDA75B2-AEB9-44EE-9C3B-8B43FB99AEA6}" type="slidenum">
              <a:rPr lang="en-US" altLang="en-US" smtClean="0"/>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5C0AD792-4C06-4555-9195-450D724F5490}" type="slidenum">
              <a:rPr lang="en-US" altLang="en-US" smtClean="0"/>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690" y="4407439"/>
            <a:ext cx="7772703"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690" y="2906713"/>
            <a:ext cx="7772703"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1352D43D-6A35-4B24-A404-B29387A10E6F}"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605" y="273050"/>
            <a:ext cx="3008690"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655" y="27352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605" y="1435103"/>
            <a:ext cx="300869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134AC33E-1702-4DE2-8E1D-738076B6C579}" type="slidenum">
              <a:rPr lang="en-US" altLang="en-US" smtClean="0"/>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608" y="4800600"/>
            <a:ext cx="5486702"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1608" y="612775"/>
            <a:ext cx="5486702"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791608" y="5367338"/>
            <a:ext cx="548670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0A82AA8E-3D09-4E6A-92CF-1FB5FC83CBA3}" type="slidenum">
              <a:rPr lang="en-US" altLang="en-US" smtClean="0"/>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BAD10719-4019-4625-A15D-5AB085EFB79A}" type="slidenum">
              <a:rPr lang="en-US" altLang="en-US" smtClean="0"/>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8225" y="152400"/>
            <a:ext cx="2127250" cy="6096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76656" y="152400"/>
            <a:ext cx="6236607" cy="6096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E0607BEF-01F9-4857-BF31-D91C7B240762}" type="slidenum">
              <a:rPr lang="en-US" altLang="en-US" smtClean="0"/>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bl">
  <p:cSld name="Title and Table">
    <p:spTree>
      <p:nvGrpSpPr>
        <p:cNvPr id="1" name=""/>
        <p:cNvGrpSpPr/>
        <p:nvPr/>
      </p:nvGrpSpPr>
      <p:grpSpPr>
        <a:xfrm>
          <a:off x="0" y="0"/>
          <a:ext cx="0" cy="0"/>
          <a:chOff x="0" y="0"/>
          <a:chExt cx="0" cy="0"/>
        </a:xfrm>
      </p:grpSpPr>
      <p:graphicFrame>
        <p:nvGraphicFramePr>
          <p:cNvPr id="4" name="Rectangle 11" hidden="1"/>
          <p:cNvGraphicFramePr>
            <a:graphicFrameLocks/>
          </p:cNvGraphicFramePr>
          <p:nvPr>
            <p:custDataLst>
              <p:tags r:id="rId2"/>
            </p:custDataLst>
          </p:nvPr>
        </p:nvGraphicFramePr>
        <p:xfrm>
          <a:off x="-1476" y="0"/>
          <a:ext cx="151191" cy="158750"/>
        </p:xfrm>
        <a:graphic>
          <a:graphicData uri="http://schemas.openxmlformats.org/presentationml/2006/ole">
            <mc:AlternateContent xmlns:mc="http://schemas.openxmlformats.org/markup-compatibility/2006">
              <mc:Choice xmlns:v="urn:schemas-microsoft-com:vml" Requires="v">
                <p:oleObj spid="_x0000_s66974" r:id="rId6" imgW="0" imgH="0" progId="">
                  <p:embed/>
                </p:oleObj>
              </mc:Choice>
              <mc:Fallback>
                <p:oleObj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476" y="0"/>
                        <a:ext cx="15119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0" descr="WhitePage_1"/>
          <p:cNvPicPr>
            <a:picLocks noChangeAspect="1" noChangeArrowheads="1"/>
          </p:cNvPicPr>
          <p:nvPr/>
        </p:nvPicPr>
        <p:blipFill>
          <a:blip r:embed="rId7" cstate="print"/>
          <a:srcRect/>
          <a:stretch>
            <a:fillRect/>
          </a:stretch>
        </p:blipFill>
        <p:spPr bwMode="auto">
          <a:xfrm>
            <a:off x="0" y="0"/>
            <a:ext cx="9144000" cy="6858000"/>
          </a:xfrm>
          <a:prstGeom prst="rect">
            <a:avLst/>
          </a:prstGeom>
          <a:noFill/>
          <a:ln w="9525">
            <a:noFill/>
            <a:miter lim="800000"/>
            <a:headEnd/>
            <a:tailEnd/>
          </a:ln>
        </p:spPr>
      </p:pic>
      <p:sp>
        <p:nvSpPr>
          <p:cNvPr id="6" name="doc id"/>
          <p:cNvSpPr>
            <a:spLocks noChangeArrowheads="1"/>
          </p:cNvSpPr>
          <p:nvPr>
            <p:custDataLst>
              <p:tags r:id="rId3"/>
            </p:custDataLst>
          </p:nvPr>
        </p:nvSpPr>
        <p:spPr bwMode="gray">
          <a:xfrm>
            <a:off x="217984" y="6597650"/>
            <a:ext cx="7926917" cy="107950"/>
          </a:xfrm>
          <a:prstGeom prst="rect">
            <a:avLst/>
          </a:prstGeom>
          <a:noFill/>
          <a:ln w="9525" algn="ctr">
            <a:noFill/>
            <a:miter lim="800000"/>
            <a:headEnd/>
            <a:tailEnd/>
          </a:ln>
          <a:effectLst/>
        </p:spPr>
        <p:txBody>
          <a:bodyPr lIns="0" tIns="0" rIns="0" bIns="0" anchor="b">
            <a:spAutoFit/>
          </a:bodyPr>
          <a:lstStyle/>
          <a:p>
            <a:pPr defTabSz="912813">
              <a:defRPr/>
            </a:pPr>
            <a:r>
              <a:rPr lang="en-US" sz="700">
                <a:solidFill>
                  <a:srgbClr val="007CC2"/>
                </a:solidFill>
                <a:latin typeface="Arial" charset="0"/>
              </a:rPr>
              <a:t>Confidential and Internal to Pfizer - subject to works council and/or union consultations and other legal requirements.</a:t>
            </a:r>
          </a:p>
        </p:txBody>
      </p:sp>
      <p:sp>
        <p:nvSpPr>
          <p:cNvPr id="2" name="Title 1"/>
          <p:cNvSpPr>
            <a:spLocks noGrp="1"/>
          </p:cNvSpPr>
          <p:nvPr>
            <p:ph type="title"/>
          </p:nvPr>
        </p:nvSpPr>
        <p:spPr>
          <a:xfrm>
            <a:off x="2565703" y="152400"/>
            <a:ext cx="6319762" cy="711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76727" y="1300170"/>
            <a:ext cx="8391071" cy="4948237"/>
          </a:xfrm>
        </p:spPr>
        <p:txBody>
          <a:bodyPr/>
          <a:lstStyle/>
          <a:p>
            <a:pPr lvl="0"/>
            <a:r>
              <a:rPr lang="en-US" noProof="0" smtClean="0"/>
              <a:t>Click icon to add table</a:t>
            </a:r>
            <a:endParaRPr lang="en-US" noProof="0"/>
          </a:p>
        </p:txBody>
      </p:sp>
      <p:sp>
        <p:nvSpPr>
          <p:cNvPr id="7" name="Slide Number Placeholder 3"/>
          <p:cNvSpPr>
            <a:spLocks noGrp="1"/>
          </p:cNvSpPr>
          <p:nvPr>
            <p:ph type="sldNum" sz="quarter" idx="10"/>
          </p:nvPr>
        </p:nvSpPr>
        <p:spPr>
          <a:xfrm>
            <a:off x="8548310" y="6688677"/>
            <a:ext cx="355298" cy="122237"/>
          </a:xfrm>
        </p:spPr>
        <p:txBody>
          <a:bodyPr/>
          <a:lstStyle>
            <a:lvl1pPr>
              <a:defRPr/>
            </a:lvl1pPr>
          </a:lstStyle>
          <a:p>
            <a:pPr>
              <a:defRPr/>
            </a:pPr>
            <a:fld id="{AE280E88-2BA8-4B7C-9461-5FDC4B1DDC91}" type="slidenum">
              <a:rPr lang="en-US" altLang="en-US" smtClean="0"/>
              <a:pPr>
                <a:defRPr/>
              </a:pPr>
              <a:t>‹#›</a:t>
            </a:fld>
            <a:endParaRPr lang="en-US" altLang="en-US"/>
          </a:p>
        </p:txBody>
      </p:sp>
      <p:pic>
        <p:nvPicPr>
          <p:cNvPr id="8" name="Picture 50" descr="WhitePage_1"/>
          <p:cNvPicPr>
            <a:picLocks noChangeAspect="1" noChangeArrowheads="1"/>
          </p:cNvPicPr>
          <p:nvPr userDrawn="1"/>
        </p:nvPicPr>
        <p:blipFill>
          <a:blip r:embed="rId8" cstate="print"/>
          <a:srcRect/>
          <a:stretch>
            <a:fillRect/>
          </a:stretch>
        </p:blipFill>
        <p:spPr bwMode="auto">
          <a:xfrm>
            <a:off x="0" y="0"/>
            <a:ext cx="9144000" cy="6858000"/>
          </a:xfrm>
          <a:prstGeom prst="rect">
            <a:avLst/>
          </a:prstGeom>
          <a:noFill/>
          <a:ln w="9525">
            <a:noFill/>
            <a:miter lim="800000"/>
            <a:headEnd/>
            <a:tailEnd/>
          </a:ln>
        </p:spPr>
      </p:pic>
      <p:sp>
        <p:nvSpPr>
          <p:cNvPr id="9" name="doc id"/>
          <p:cNvSpPr>
            <a:spLocks noChangeArrowheads="1"/>
          </p:cNvSpPr>
          <p:nvPr userDrawn="1">
            <p:custDataLst>
              <p:tags r:id="rId4"/>
            </p:custDataLst>
          </p:nvPr>
        </p:nvSpPr>
        <p:spPr bwMode="gray">
          <a:xfrm>
            <a:off x="217488" y="6597650"/>
            <a:ext cx="7927975" cy="107950"/>
          </a:xfrm>
          <a:prstGeom prst="rect">
            <a:avLst/>
          </a:prstGeom>
          <a:noFill/>
          <a:ln w="9525" algn="ctr">
            <a:noFill/>
            <a:miter lim="800000"/>
            <a:headEnd/>
            <a:tailEnd/>
          </a:ln>
          <a:effectLst/>
        </p:spPr>
        <p:txBody>
          <a:bodyPr lIns="0" tIns="0" rIns="0" bIns="0" anchor="b">
            <a:spAutoFit/>
          </a:bodyPr>
          <a:lstStyle/>
          <a:p>
            <a:pPr defTabSz="912813">
              <a:defRPr/>
            </a:pPr>
            <a:r>
              <a:rPr lang="en-US" sz="700">
                <a:solidFill>
                  <a:srgbClr val="007CC2"/>
                </a:solidFill>
                <a:cs typeface="+mn-cs"/>
              </a:rPr>
              <a:t>Confidential and Internal to Pfizer - subject to works council and/or union consultations and other legal requirements.</a:t>
            </a:r>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12_Title Slide">
    <p:spTree>
      <p:nvGrpSpPr>
        <p:cNvPr id="1" name=""/>
        <p:cNvGrpSpPr/>
        <p:nvPr/>
      </p:nvGrpSpPr>
      <p:grpSpPr>
        <a:xfrm>
          <a:off x="0" y="0"/>
          <a:ext cx="0" cy="0"/>
          <a:chOff x="0" y="0"/>
          <a:chExt cx="0" cy="0"/>
        </a:xfrm>
      </p:grpSpPr>
      <p:pic>
        <p:nvPicPr>
          <p:cNvPr id="2" name="Picture 9" descr="WhitePage_1a"/>
          <p:cNvPicPr>
            <a:picLocks noChangeAspect="1" noChangeArrowheads="1"/>
          </p:cNvPicPr>
          <p:nvPr/>
        </p:nvPicPr>
        <p:blipFill>
          <a:blip r:embed="rId3" cstate="print"/>
          <a:srcRect b="82222"/>
          <a:stretch>
            <a:fillRect/>
          </a:stretch>
        </p:blipFill>
        <p:spPr bwMode="auto">
          <a:xfrm>
            <a:off x="0" y="0"/>
            <a:ext cx="9144000" cy="1219200"/>
          </a:xfrm>
          <a:prstGeom prst="rect">
            <a:avLst/>
          </a:prstGeom>
          <a:noFill/>
        </p:spPr>
      </p:pic>
      <p:sp>
        <p:nvSpPr>
          <p:cNvPr id="4" name="pg num"/>
          <p:cNvSpPr>
            <a:spLocks noGrp="1" noChangeArrowheads="1"/>
          </p:cNvSpPr>
          <p:nvPr>
            <p:ph type="sldNum" sz="quarter" idx="10"/>
            <p:custDataLst>
              <p:tags r:id="rId1"/>
            </p:custDataLst>
          </p:nvPr>
        </p:nvSpPr>
        <p:spPr/>
        <p:txBody>
          <a:bodyPr/>
          <a:lstStyle>
            <a:lvl1pPr>
              <a:defRPr/>
            </a:lvl1pPr>
          </a:lstStyle>
          <a:p>
            <a:pPr>
              <a:defRPr/>
            </a:pPr>
            <a:fld id="{A3FCBC10-4179-4BBD-BB20-FF60559BA489}" type="slidenum">
              <a:rPr lang="en-US" altLang="en-US" smtClean="0"/>
              <a:pPr>
                <a:defRPr/>
              </a:pPr>
              <a:t>‹#›</a:t>
            </a:fld>
            <a:endParaRPr lang="en-US" altLang="en-US"/>
          </a:p>
        </p:txBody>
      </p:sp>
      <p:sp>
        <p:nvSpPr>
          <p:cNvPr id="10" name="Text Placeholder 11"/>
          <p:cNvSpPr>
            <a:spLocks noGrp="1"/>
          </p:cNvSpPr>
          <p:nvPr>
            <p:ph type="body" sz="quarter" idx="17" hasCustomPrompt="1"/>
          </p:nvPr>
        </p:nvSpPr>
        <p:spPr>
          <a:xfrm>
            <a:off x="442999" y="1506547"/>
            <a:ext cx="8265582" cy="4589461"/>
          </a:xfrm>
        </p:spPr>
        <p:txBody>
          <a:bodyPr/>
          <a:lstStyle>
            <a:lvl1pPr>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itle 13"/>
          <p:cNvSpPr>
            <a:spLocks noGrp="1"/>
          </p:cNvSpPr>
          <p:nvPr>
            <p:ph type="title" hasCustomPrompt="1"/>
          </p:nvPr>
        </p:nvSpPr>
        <p:spPr>
          <a:xfrm>
            <a:off x="297543" y="121920"/>
            <a:ext cx="6016171" cy="906780"/>
          </a:xfrm>
        </p:spPr>
        <p:txBody>
          <a:bodyPr/>
          <a:lstStyle>
            <a:lvl1pPr>
              <a:defRPr>
                <a:solidFill>
                  <a:schemeClr val="bg1"/>
                </a:solidFill>
              </a:defRPr>
            </a:lvl1pPr>
          </a:lstStyle>
          <a:p>
            <a:r>
              <a:rPr lang="en-US" dirty="0" smtClean="0"/>
              <a:t>Click to add title</a:t>
            </a:r>
            <a:endParaRPr lang="en-US" dirty="0"/>
          </a:p>
        </p:txBody>
      </p:sp>
      <p:pic>
        <p:nvPicPr>
          <p:cNvPr id="6" name="Picture 9" descr="WhitePage_1a"/>
          <p:cNvPicPr>
            <a:picLocks noChangeAspect="1" noChangeArrowheads="1"/>
          </p:cNvPicPr>
          <p:nvPr userDrawn="1"/>
        </p:nvPicPr>
        <p:blipFill>
          <a:blip r:embed="rId3" cstate="print"/>
          <a:srcRect b="82222"/>
          <a:stretch>
            <a:fillRect/>
          </a:stretch>
        </p:blipFill>
        <p:spPr bwMode="auto">
          <a:xfrm>
            <a:off x="0" y="0"/>
            <a:ext cx="9144000" cy="1219200"/>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15_Title Slide">
    <p:spTree>
      <p:nvGrpSpPr>
        <p:cNvPr id="1" name=""/>
        <p:cNvGrpSpPr/>
        <p:nvPr/>
      </p:nvGrpSpPr>
      <p:grpSpPr>
        <a:xfrm>
          <a:off x="0" y="0"/>
          <a:ext cx="0" cy="0"/>
          <a:chOff x="0" y="0"/>
          <a:chExt cx="0" cy="0"/>
        </a:xfrm>
      </p:grpSpPr>
      <p:pic>
        <p:nvPicPr>
          <p:cNvPr id="2" name="Picture 9" descr="WhitePage_1a"/>
          <p:cNvPicPr>
            <a:picLocks noChangeAspect="1" noChangeArrowheads="1"/>
          </p:cNvPicPr>
          <p:nvPr/>
        </p:nvPicPr>
        <p:blipFill>
          <a:blip r:embed="rId3" cstate="print"/>
          <a:srcRect b="82222"/>
          <a:stretch>
            <a:fillRect/>
          </a:stretch>
        </p:blipFill>
        <p:spPr bwMode="auto">
          <a:xfrm>
            <a:off x="0" y="0"/>
            <a:ext cx="9144000" cy="1219200"/>
          </a:xfrm>
          <a:prstGeom prst="rect">
            <a:avLst/>
          </a:prstGeom>
          <a:noFill/>
        </p:spPr>
      </p:pic>
      <p:sp>
        <p:nvSpPr>
          <p:cNvPr id="4" name="pg num"/>
          <p:cNvSpPr>
            <a:spLocks noGrp="1" noChangeArrowheads="1"/>
          </p:cNvSpPr>
          <p:nvPr>
            <p:ph type="sldNum" sz="quarter" idx="10"/>
            <p:custDataLst>
              <p:tags r:id="rId1"/>
            </p:custDataLst>
          </p:nvPr>
        </p:nvSpPr>
        <p:spPr/>
        <p:txBody>
          <a:bodyPr/>
          <a:lstStyle>
            <a:lvl1pPr>
              <a:defRPr/>
            </a:lvl1pPr>
          </a:lstStyle>
          <a:p>
            <a:pPr>
              <a:defRPr/>
            </a:pPr>
            <a:fld id="{857139A0-71AB-4319-B32B-7830310B9084}" type="slidenum">
              <a:rPr lang="en-US" altLang="en-US" smtClean="0"/>
              <a:pPr>
                <a:defRPr/>
              </a:pPr>
              <a:t>‹#›</a:t>
            </a:fld>
            <a:endParaRPr lang="en-US" altLang="en-US"/>
          </a:p>
        </p:txBody>
      </p:sp>
      <p:sp>
        <p:nvSpPr>
          <p:cNvPr id="10" name="Text Placeholder 11"/>
          <p:cNvSpPr>
            <a:spLocks noGrp="1"/>
          </p:cNvSpPr>
          <p:nvPr>
            <p:ph type="body" sz="quarter" idx="17" hasCustomPrompt="1"/>
          </p:nvPr>
        </p:nvSpPr>
        <p:spPr>
          <a:xfrm>
            <a:off x="442999" y="1506547"/>
            <a:ext cx="8265582" cy="4589461"/>
          </a:xfrm>
        </p:spPr>
        <p:txBody>
          <a:bodyPr/>
          <a:lstStyle>
            <a:lvl1pPr>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itle 13"/>
          <p:cNvSpPr>
            <a:spLocks noGrp="1"/>
          </p:cNvSpPr>
          <p:nvPr>
            <p:ph type="title" hasCustomPrompt="1"/>
          </p:nvPr>
        </p:nvSpPr>
        <p:spPr>
          <a:xfrm>
            <a:off x="297543" y="121920"/>
            <a:ext cx="6016171" cy="906780"/>
          </a:xfrm>
        </p:spPr>
        <p:txBody>
          <a:bodyPr/>
          <a:lstStyle>
            <a:lvl1pPr>
              <a:defRPr>
                <a:solidFill>
                  <a:schemeClr val="bg1"/>
                </a:solidFill>
              </a:defRPr>
            </a:lvl1pPr>
          </a:lstStyle>
          <a:p>
            <a:r>
              <a:rPr lang="en-US" dirty="0" smtClean="0"/>
              <a:t>Click to add title</a:t>
            </a:r>
            <a:endParaRPr lang="en-US" dirty="0"/>
          </a:p>
        </p:txBody>
      </p:sp>
      <p:pic>
        <p:nvPicPr>
          <p:cNvPr id="6" name="Picture 9" descr="WhitePage_1a"/>
          <p:cNvPicPr>
            <a:picLocks noChangeAspect="1" noChangeArrowheads="1"/>
          </p:cNvPicPr>
          <p:nvPr userDrawn="1"/>
        </p:nvPicPr>
        <p:blipFill>
          <a:blip r:embed="rId3" cstate="print"/>
          <a:srcRect b="82222"/>
          <a:stretch>
            <a:fillRect/>
          </a:stretch>
        </p:blipFill>
        <p:spPr bwMode="auto">
          <a:xfrm>
            <a:off x="0" y="0"/>
            <a:ext cx="9144000" cy="1219200"/>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pic>
        <p:nvPicPr>
          <p:cNvPr id="2" name="Picture 9" descr="WhitePage_1a"/>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3" name="pg num"/>
          <p:cNvSpPr>
            <a:spLocks noGrp="1" noChangeArrowheads="1"/>
          </p:cNvSpPr>
          <p:nvPr>
            <p:ph type="sldNum" sz="quarter" idx="10"/>
            <p:custDataLst>
              <p:tags r:id="rId1"/>
            </p:custDataLst>
          </p:nvPr>
        </p:nvSpPr>
        <p:spPr>
          <a:xfrm>
            <a:off x="6553200" y="6506339"/>
            <a:ext cx="2133600" cy="123111"/>
          </a:xfrm>
        </p:spPr>
        <p:txBody>
          <a:bodyPr/>
          <a:lstStyle>
            <a:lvl1pPr>
              <a:defRPr/>
            </a:lvl1pPr>
          </a:lstStyle>
          <a:p>
            <a:pPr>
              <a:defRPr/>
            </a:pPr>
            <a:fld id="{C0014F1D-6C81-4BF2-8460-2CC12118F536}" type="slidenum">
              <a:rPr lang="en-US" altLang="en-US" smtClean="0"/>
              <a:pPr>
                <a:defRPr/>
              </a:pPr>
              <a:t>‹#›</a:t>
            </a:fld>
            <a:endParaRPr lang="en-US" altLang="en-US" dirty="0"/>
          </a:p>
        </p:txBody>
      </p:sp>
      <p:pic>
        <p:nvPicPr>
          <p:cNvPr id="4" name="Picture 9" descr="WhitePage_1a"/>
          <p:cNvPicPr>
            <a:picLocks noChangeAspect="1" noChangeArrowheads="1"/>
          </p:cNvPicPr>
          <p:nvPr userDrawn="1"/>
        </p:nvPicPr>
        <p:blipFill>
          <a:blip r:embed="rId3" cstate="print"/>
          <a:srcRect/>
          <a:stretch>
            <a:fillRect/>
          </a:stretch>
        </p:blipFill>
        <p:spPr bwMode="auto">
          <a:xfrm>
            <a:off x="0" y="0"/>
            <a:ext cx="9144000" cy="6858000"/>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1165" cy="158750"/>
        </p:xfrm>
        <a:graphic>
          <a:graphicData uri="http://schemas.openxmlformats.org/presentationml/2006/ole">
            <mc:AlternateContent xmlns:mc="http://schemas.openxmlformats.org/markup-compatibility/2006">
              <mc:Choice xmlns:v="urn:schemas-microsoft-com:vml" Requires="v">
                <p:oleObj spid="_x0000_s6799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116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smtClean="0"/>
              <a:t>Click to edit Master title style</a:t>
            </a:r>
            <a:endParaRPr lang="en-US"/>
          </a:p>
        </p:txBody>
      </p:sp>
      <p:sp>
        <p:nvSpPr>
          <p:cNvPr id="5" name="Text Placeholder 4"/>
          <p:cNvSpPr>
            <a:spLocks noGrp="1"/>
          </p:cNvSpPr>
          <p:nvPr>
            <p:ph type="body" sz="quarter" idx="13"/>
            <p:custDataLst>
              <p:tags r:id="rId4"/>
            </p:custDataLst>
          </p:nvPr>
        </p:nvSpPr>
        <p:spPr>
          <a:xfrm>
            <a:off x="435356" y="1508400"/>
            <a:ext cx="8275203" cy="4615200"/>
          </a:xfrm>
        </p:spPr>
        <p:txBody>
          <a:bodyPr/>
          <a:lstStyle>
            <a:lvl1pPr>
              <a:defRPr/>
            </a:lvl1pPr>
            <a:lvl2pPr>
              <a:defRPr/>
            </a:lvl2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659171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Timeline">
    <p:spTree>
      <p:nvGrpSpPr>
        <p:cNvPr id="1" name=""/>
        <p:cNvGrpSpPr/>
        <p:nvPr/>
      </p:nvGrpSpPr>
      <p:grpSpPr>
        <a:xfrm>
          <a:off x="0" y="0"/>
          <a:ext cx="0" cy="0"/>
          <a:chOff x="0" y="0"/>
          <a:chExt cx="0" cy="0"/>
        </a:xfrm>
      </p:grpSpPr>
      <p:grpSp>
        <p:nvGrpSpPr>
          <p:cNvPr id="2" name="Group 13"/>
          <p:cNvGrpSpPr/>
          <p:nvPr/>
        </p:nvGrpSpPr>
        <p:grpSpPr>
          <a:xfrm>
            <a:off x="457200" y="2057400"/>
            <a:ext cx="8229600" cy="4800600"/>
            <a:chOff x="609600" y="0"/>
            <a:chExt cx="10972800" cy="6858000"/>
          </a:xfrm>
        </p:grpSpPr>
        <p:cxnSp>
          <p:nvCxnSpPr>
            <p:cNvPr id="15" name="Straight Connector 14"/>
            <p:cNvCxnSpPr/>
            <p:nvPr/>
          </p:nvCxnSpPr>
          <p:spPr>
            <a:xfrm>
              <a:off x="6096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2192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8288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4384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0480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6576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42672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60960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8768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54864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056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3152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79248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85344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91440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97536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03632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09728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15824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grpSp>
      <p:grpSp>
        <p:nvGrpSpPr>
          <p:cNvPr id="3" name="Group 33"/>
          <p:cNvGrpSpPr/>
          <p:nvPr/>
        </p:nvGrpSpPr>
        <p:grpSpPr>
          <a:xfrm>
            <a:off x="91440" y="5934076"/>
            <a:ext cx="8961120" cy="695325"/>
            <a:chOff x="121920" y="6553200"/>
            <a:chExt cx="11948160" cy="304800"/>
          </a:xfrm>
        </p:grpSpPr>
        <p:grpSp>
          <p:nvGrpSpPr>
            <p:cNvPr id="4" name="Group 34"/>
            <p:cNvGrpSpPr/>
            <p:nvPr/>
          </p:nvGrpSpPr>
          <p:grpSpPr>
            <a:xfrm>
              <a:off x="121920" y="6553200"/>
              <a:ext cx="5852160" cy="304800"/>
              <a:chOff x="121920" y="6553200"/>
              <a:chExt cx="5852160" cy="304800"/>
            </a:xfrm>
          </p:grpSpPr>
          <p:grpSp>
            <p:nvGrpSpPr>
              <p:cNvPr id="5" name="Group 86"/>
              <p:cNvGrpSpPr/>
              <p:nvPr/>
            </p:nvGrpSpPr>
            <p:grpSpPr>
              <a:xfrm>
                <a:off x="731520" y="6553200"/>
                <a:ext cx="365760" cy="304800"/>
                <a:chOff x="-2819400" y="0"/>
                <a:chExt cx="1828800" cy="6858000"/>
              </a:xfrm>
            </p:grpSpPr>
            <p:cxnSp>
              <p:nvCxnSpPr>
                <p:cNvPr id="133" name="Straight Connector 132"/>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roup 87"/>
              <p:cNvGrpSpPr/>
              <p:nvPr/>
            </p:nvGrpSpPr>
            <p:grpSpPr>
              <a:xfrm>
                <a:off x="1341120" y="6553200"/>
                <a:ext cx="365760" cy="304800"/>
                <a:chOff x="-2819400" y="0"/>
                <a:chExt cx="1828800" cy="6858000"/>
              </a:xfrm>
            </p:grpSpPr>
            <p:cxnSp>
              <p:nvCxnSpPr>
                <p:cNvPr id="129" name="Straight Connector 128"/>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9" name="Group 88"/>
              <p:cNvGrpSpPr/>
              <p:nvPr/>
            </p:nvGrpSpPr>
            <p:grpSpPr>
              <a:xfrm>
                <a:off x="1950720" y="6553200"/>
                <a:ext cx="365760" cy="304800"/>
                <a:chOff x="-2819400" y="0"/>
                <a:chExt cx="1828800" cy="6858000"/>
              </a:xfrm>
            </p:grpSpPr>
            <p:cxnSp>
              <p:nvCxnSpPr>
                <p:cNvPr id="125" name="Straight Connector 124"/>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10" name="Group 89"/>
              <p:cNvGrpSpPr/>
              <p:nvPr/>
            </p:nvGrpSpPr>
            <p:grpSpPr>
              <a:xfrm>
                <a:off x="2560320" y="6553200"/>
                <a:ext cx="365760" cy="304800"/>
                <a:chOff x="-2819400" y="0"/>
                <a:chExt cx="1828800" cy="6858000"/>
              </a:xfrm>
            </p:grpSpPr>
            <p:cxnSp>
              <p:nvCxnSpPr>
                <p:cNvPr id="121" name="Straight Connector 120"/>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11" name="Group 90"/>
              <p:cNvGrpSpPr/>
              <p:nvPr/>
            </p:nvGrpSpPr>
            <p:grpSpPr>
              <a:xfrm>
                <a:off x="121920" y="6553200"/>
                <a:ext cx="365760" cy="304800"/>
                <a:chOff x="-2819400" y="0"/>
                <a:chExt cx="1828800" cy="6858000"/>
              </a:xfrm>
            </p:grpSpPr>
            <p:cxnSp>
              <p:nvCxnSpPr>
                <p:cNvPr id="117" name="Straight Connector 116"/>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12" name="Group 91"/>
              <p:cNvGrpSpPr/>
              <p:nvPr/>
            </p:nvGrpSpPr>
            <p:grpSpPr>
              <a:xfrm>
                <a:off x="3779520" y="6553200"/>
                <a:ext cx="365760" cy="304800"/>
                <a:chOff x="-2819400" y="0"/>
                <a:chExt cx="1828800" cy="6858000"/>
              </a:xfrm>
            </p:grpSpPr>
            <p:cxnSp>
              <p:nvCxnSpPr>
                <p:cNvPr id="113" name="Straight Connector 112"/>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13" name="Group 92"/>
              <p:cNvGrpSpPr/>
              <p:nvPr/>
            </p:nvGrpSpPr>
            <p:grpSpPr>
              <a:xfrm>
                <a:off x="4389120" y="6553200"/>
                <a:ext cx="365760" cy="304800"/>
                <a:chOff x="-2819400" y="0"/>
                <a:chExt cx="1828800" cy="6858000"/>
              </a:xfrm>
            </p:grpSpPr>
            <p:cxnSp>
              <p:nvCxnSpPr>
                <p:cNvPr id="109" name="Straight Connector 108"/>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14" name="Group 93"/>
              <p:cNvGrpSpPr/>
              <p:nvPr/>
            </p:nvGrpSpPr>
            <p:grpSpPr>
              <a:xfrm>
                <a:off x="4998720" y="6553200"/>
                <a:ext cx="365760" cy="304800"/>
                <a:chOff x="-2819400" y="0"/>
                <a:chExt cx="1828800" cy="6858000"/>
              </a:xfrm>
            </p:grpSpPr>
            <p:cxnSp>
              <p:nvCxnSpPr>
                <p:cNvPr id="105" name="Straight Connector 104"/>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34" name="Group 94"/>
              <p:cNvGrpSpPr/>
              <p:nvPr/>
            </p:nvGrpSpPr>
            <p:grpSpPr>
              <a:xfrm>
                <a:off x="5608320" y="6553200"/>
                <a:ext cx="365760" cy="304800"/>
                <a:chOff x="-2819400" y="0"/>
                <a:chExt cx="1828800" cy="6858000"/>
              </a:xfrm>
            </p:grpSpPr>
            <p:cxnSp>
              <p:nvCxnSpPr>
                <p:cNvPr id="101" name="Straight Connector 100"/>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35" name="Group 95"/>
              <p:cNvGrpSpPr/>
              <p:nvPr/>
            </p:nvGrpSpPr>
            <p:grpSpPr>
              <a:xfrm>
                <a:off x="3169920" y="6553200"/>
                <a:ext cx="365760" cy="304800"/>
                <a:chOff x="-2819400" y="0"/>
                <a:chExt cx="1828800" cy="6858000"/>
              </a:xfrm>
            </p:grpSpPr>
            <p:cxnSp>
              <p:nvCxnSpPr>
                <p:cNvPr id="97" name="Straight Connector 96"/>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grpSp>
          <p:nvGrpSpPr>
            <p:cNvPr id="36" name="Group 35"/>
            <p:cNvGrpSpPr/>
            <p:nvPr/>
          </p:nvGrpSpPr>
          <p:grpSpPr>
            <a:xfrm>
              <a:off x="6217920" y="6553200"/>
              <a:ext cx="5852160" cy="304800"/>
              <a:chOff x="121920" y="6553200"/>
              <a:chExt cx="5852160" cy="304800"/>
            </a:xfrm>
          </p:grpSpPr>
          <p:grpSp>
            <p:nvGrpSpPr>
              <p:cNvPr id="37" name="Group 36"/>
              <p:cNvGrpSpPr/>
              <p:nvPr/>
            </p:nvGrpSpPr>
            <p:grpSpPr>
              <a:xfrm>
                <a:off x="731520" y="6553200"/>
                <a:ext cx="365760" cy="304800"/>
                <a:chOff x="-2819400" y="0"/>
                <a:chExt cx="1828800" cy="6858000"/>
              </a:xfrm>
            </p:grpSpPr>
            <p:cxnSp>
              <p:nvCxnSpPr>
                <p:cNvPr id="83" name="Straight Connector 82"/>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38" name="Group 37"/>
              <p:cNvGrpSpPr/>
              <p:nvPr/>
            </p:nvGrpSpPr>
            <p:grpSpPr>
              <a:xfrm>
                <a:off x="1341120" y="6553200"/>
                <a:ext cx="365760" cy="304800"/>
                <a:chOff x="-2819400" y="0"/>
                <a:chExt cx="1828800" cy="6858000"/>
              </a:xfrm>
            </p:grpSpPr>
            <p:cxnSp>
              <p:nvCxnSpPr>
                <p:cNvPr id="79" name="Straight Connector 78"/>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39" name="Group 38"/>
              <p:cNvGrpSpPr/>
              <p:nvPr/>
            </p:nvGrpSpPr>
            <p:grpSpPr>
              <a:xfrm>
                <a:off x="1950720" y="6553200"/>
                <a:ext cx="365760" cy="304800"/>
                <a:chOff x="-2819400" y="0"/>
                <a:chExt cx="1828800" cy="6858000"/>
              </a:xfrm>
            </p:grpSpPr>
            <p:cxnSp>
              <p:nvCxnSpPr>
                <p:cNvPr id="75" name="Straight Connector 74"/>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0" name="Group 39"/>
              <p:cNvGrpSpPr/>
              <p:nvPr/>
            </p:nvGrpSpPr>
            <p:grpSpPr>
              <a:xfrm>
                <a:off x="2560320" y="6553200"/>
                <a:ext cx="365760" cy="304800"/>
                <a:chOff x="-2819400" y="0"/>
                <a:chExt cx="1828800" cy="6858000"/>
              </a:xfrm>
            </p:grpSpPr>
            <p:cxnSp>
              <p:nvCxnSpPr>
                <p:cNvPr id="71" name="Straight Connector 70"/>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21920" y="6553200"/>
                <a:ext cx="365760" cy="304800"/>
                <a:chOff x="-2819400" y="0"/>
                <a:chExt cx="1828800" cy="6858000"/>
              </a:xfrm>
            </p:grpSpPr>
            <p:cxnSp>
              <p:nvCxnSpPr>
                <p:cNvPr id="67" name="Straight Connector 66"/>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3779520" y="6553200"/>
                <a:ext cx="365760" cy="304800"/>
                <a:chOff x="-2819400" y="0"/>
                <a:chExt cx="1828800" cy="6858000"/>
              </a:xfrm>
            </p:grpSpPr>
            <p:cxnSp>
              <p:nvCxnSpPr>
                <p:cNvPr id="63" name="Straight Connector 62"/>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4389120" y="6553200"/>
                <a:ext cx="365760" cy="304800"/>
                <a:chOff x="-2819400" y="0"/>
                <a:chExt cx="1828800" cy="6858000"/>
              </a:xfrm>
            </p:grpSpPr>
            <p:cxnSp>
              <p:nvCxnSpPr>
                <p:cNvPr id="59" name="Straight Connector 58"/>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4998720" y="6553200"/>
                <a:ext cx="365760" cy="304800"/>
                <a:chOff x="-2819400" y="0"/>
                <a:chExt cx="1828800" cy="6858000"/>
              </a:xfrm>
            </p:grpSpPr>
            <p:cxnSp>
              <p:nvCxnSpPr>
                <p:cNvPr id="55" name="Straight Connector 54"/>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5" name="Group 44"/>
              <p:cNvGrpSpPr/>
              <p:nvPr/>
            </p:nvGrpSpPr>
            <p:grpSpPr>
              <a:xfrm>
                <a:off x="5608320" y="6553200"/>
                <a:ext cx="365760" cy="304800"/>
                <a:chOff x="-2819400" y="0"/>
                <a:chExt cx="1828800" cy="6858000"/>
              </a:xfrm>
            </p:grpSpPr>
            <p:cxnSp>
              <p:nvCxnSpPr>
                <p:cNvPr id="51" name="Straight Connector 50"/>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p:nvGrpSpPr>
            <p:grpSpPr>
              <a:xfrm>
                <a:off x="3169920" y="6553200"/>
                <a:ext cx="365760" cy="304800"/>
                <a:chOff x="-2819400" y="0"/>
                <a:chExt cx="1828800" cy="6858000"/>
              </a:xfrm>
            </p:grpSpPr>
            <p:cxnSp>
              <p:nvCxnSpPr>
                <p:cNvPr id="47" name="Straight Connector 46"/>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grpSp>
      <p:pic>
        <p:nvPicPr>
          <p:cNvPr id="6" name="Picture 5" descr="HD-ShadowLong.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970240"/>
            <a:ext cx="7828359" cy="321164"/>
          </a:xfrm>
          <a:prstGeom prst="rect">
            <a:avLst/>
          </a:prstGeom>
        </p:spPr>
      </p:pic>
      <p:pic>
        <p:nvPicPr>
          <p:cNvPr id="7" name="Picture 6" descr="HD-ShadowShor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39370" y="1971234"/>
            <a:ext cx="1202248" cy="144270"/>
          </a:xfrm>
          <a:prstGeom prst="rect">
            <a:avLst/>
          </a:prstGeom>
        </p:spPr>
      </p:pic>
      <p:sp>
        <p:nvSpPr>
          <p:cNvPr id="138" name="Text Placeholder 137"/>
          <p:cNvSpPr>
            <a:spLocks noGrp="1"/>
          </p:cNvSpPr>
          <p:nvPr>
            <p:ph type="body" sz="quarter" idx="10" hasCustomPrompt="1"/>
          </p:nvPr>
        </p:nvSpPr>
        <p:spPr>
          <a:xfrm rot="16200000">
            <a:off x="-17096" y="6123620"/>
            <a:ext cx="980414" cy="274320"/>
          </a:xfrm>
        </p:spPr>
        <p:txBody>
          <a:bodyPr anchor="ctr">
            <a:noAutofit/>
          </a:bodyPr>
          <a:lstStyle>
            <a:lvl1pPr marL="0" indent="0" algn="ctr">
              <a:buNone/>
              <a:defRPr sz="1800" b="1" spc="300">
                <a:effectLst/>
              </a:defRPr>
            </a:lvl1pPr>
            <a:lvl2pPr marL="0" indent="0">
              <a:buNone/>
              <a:defRPr sz="1800"/>
            </a:lvl2pPr>
            <a:lvl3pPr marL="0" indent="0">
              <a:buNone/>
              <a:defRPr sz="1800"/>
            </a:lvl3pPr>
            <a:lvl4pPr marL="0" indent="0">
              <a:buNone/>
              <a:defRPr sz="1800"/>
            </a:lvl4pPr>
            <a:lvl5pPr marL="0" indent="0">
              <a:buNone/>
              <a:defRPr sz="1800"/>
            </a:lvl5pPr>
          </a:lstStyle>
          <a:p>
            <a:pPr lvl="0"/>
            <a:r>
              <a:rPr lang="en-US" smtClean="0"/>
              <a:t>YEAR</a:t>
            </a:r>
            <a:endParaRPr lang="en-US"/>
          </a:p>
        </p:txBody>
      </p:sp>
      <p:sp>
        <p:nvSpPr>
          <p:cNvPr id="139" name="Text Placeholder 137"/>
          <p:cNvSpPr>
            <a:spLocks noGrp="1"/>
          </p:cNvSpPr>
          <p:nvPr>
            <p:ph type="body" sz="quarter" idx="11" hasCustomPrompt="1"/>
          </p:nvPr>
        </p:nvSpPr>
        <p:spPr>
          <a:xfrm rot="16200000">
            <a:off x="2247811" y="6123620"/>
            <a:ext cx="980414" cy="274320"/>
          </a:xfrm>
        </p:spPr>
        <p:txBody>
          <a:bodyPr anchor="ctr">
            <a:noAutofit/>
          </a:bodyPr>
          <a:lstStyle>
            <a:lvl1pPr marL="0" indent="0" algn="ctr">
              <a:buNone/>
              <a:defRPr sz="1800" b="1" spc="300">
                <a:effectLst/>
              </a:defRPr>
            </a:lvl1pPr>
            <a:lvl2pPr marL="0" indent="0">
              <a:buNone/>
              <a:defRPr sz="1800"/>
            </a:lvl2pPr>
            <a:lvl3pPr marL="0" indent="0">
              <a:buNone/>
              <a:defRPr sz="1800"/>
            </a:lvl3pPr>
            <a:lvl4pPr marL="0" indent="0">
              <a:buNone/>
              <a:defRPr sz="1800"/>
            </a:lvl4pPr>
            <a:lvl5pPr marL="0" indent="0">
              <a:buNone/>
              <a:defRPr sz="1800"/>
            </a:lvl5pPr>
          </a:lstStyle>
          <a:p>
            <a:pPr lvl="0"/>
            <a:r>
              <a:rPr lang="en-US" smtClean="0"/>
              <a:t>YEAR</a:t>
            </a:r>
            <a:endParaRPr lang="en-US"/>
          </a:p>
        </p:txBody>
      </p:sp>
      <p:sp>
        <p:nvSpPr>
          <p:cNvPr id="140" name="Text Placeholder 137"/>
          <p:cNvSpPr>
            <a:spLocks noGrp="1"/>
          </p:cNvSpPr>
          <p:nvPr>
            <p:ph type="body" sz="quarter" idx="12" hasCustomPrompt="1"/>
          </p:nvPr>
        </p:nvSpPr>
        <p:spPr>
          <a:xfrm rot="16200000">
            <a:off x="4543844" y="6123620"/>
            <a:ext cx="980414" cy="274320"/>
          </a:xfrm>
        </p:spPr>
        <p:txBody>
          <a:bodyPr anchor="ctr">
            <a:noAutofit/>
          </a:bodyPr>
          <a:lstStyle>
            <a:lvl1pPr marL="0" indent="0" algn="ctr">
              <a:buNone/>
              <a:defRPr sz="1800" b="1" spc="300">
                <a:effectLst/>
              </a:defRPr>
            </a:lvl1pPr>
            <a:lvl2pPr marL="0" indent="0">
              <a:buNone/>
              <a:defRPr sz="1800"/>
            </a:lvl2pPr>
            <a:lvl3pPr marL="0" indent="0">
              <a:buNone/>
              <a:defRPr sz="1800"/>
            </a:lvl3pPr>
            <a:lvl4pPr marL="0" indent="0">
              <a:buNone/>
              <a:defRPr sz="1800"/>
            </a:lvl4pPr>
            <a:lvl5pPr marL="0" indent="0">
              <a:buNone/>
              <a:defRPr sz="1800"/>
            </a:lvl5pPr>
          </a:lstStyle>
          <a:p>
            <a:pPr lvl="0"/>
            <a:r>
              <a:rPr lang="en-US" smtClean="0"/>
              <a:t>YEAR</a:t>
            </a:r>
            <a:endParaRPr lang="en-US"/>
          </a:p>
        </p:txBody>
      </p:sp>
      <p:sp>
        <p:nvSpPr>
          <p:cNvPr id="141" name="Text Placeholder 137"/>
          <p:cNvSpPr>
            <a:spLocks noGrp="1"/>
          </p:cNvSpPr>
          <p:nvPr>
            <p:ph type="body" sz="quarter" idx="13" hasCustomPrompt="1"/>
          </p:nvPr>
        </p:nvSpPr>
        <p:spPr>
          <a:xfrm rot="16200000">
            <a:off x="6830176" y="6123620"/>
            <a:ext cx="980414" cy="274320"/>
          </a:xfrm>
        </p:spPr>
        <p:txBody>
          <a:bodyPr anchor="ctr">
            <a:noAutofit/>
          </a:bodyPr>
          <a:lstStyle>
            <a:lvl1pPr marL="0" indent="0" algn="ctr">
              <a:buNone/>
              <a:defRPr sz="1800" b="1" spc="300">
                <a:effectLst/>
              </a:defRPr>
            </a:lvl1pPr>
            <a:lvl2pPr marL="0" indent="0">
              <a:buNone/>
              <a:defRPr sz="1800"/>
            </a:lvl2pPr>
            <a:lvl3pPr marL="0" indent="0">
              <a:buNone/>
              <a:defRPr sz="1800"/>
            </a:lvl3pPr>
            <a:lvl4pPr marL="0" indent="0">
              <a:buNone/>
              <a:defRPr sz="1800"/>
            </a:lvl4pPr>
            <a:lvl5pPr marL="0" indent="0">
              <a:buNone/>
              <a:defRPr sz="1800"/>
            </a:lvl5pPr>
          </a:lstStyle>
          <a:p>
            <a:pPr lvl="0"/>
            <a:r>
              <a:rPr lang="en-US" smtClean="0"/>
              <a:t>YEAR</a:t>
            </a:r>
            <a:endParaRPr lang="en-US"/>
          </a:p>
        </p:txBody>
      </p:sp>
      <p:sp>
        <p:nvSpPr>
          <p:cNvPr id="177" name="Text Placeholder 174"/>
          <p:cNvSpPr>
            <a:spLocks noGrp="1"/>
          </p:cNvSpPr>
          <p:nvPr>
            <p:ph type="body" sz="quarter" idx="29" hasCustomPrompt="1"/>
          </p:nvPr>
        </p:nvSpPr>
        <p:spPr>
          <a:xfrm>
            <a:off x="632846" y="3653736"/>
            <a:ext cx="994410" cy="2290486"/>
          </a:xfrm>
          <a:blipFill>
            <a:blip r:embed="rId4" cstate="print"/>
            <a:srcRect/>
            <a:stretch>
              <a:fillRect t="-2" b="-87334"/>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Mon Year</a:t>
            </a:r>
          </a:p>
          <a:p>
            <a:pPr lvl="1"/>
            <a:r>
              <a:rPr lang="en-US" smtClean="0"/>
              <a:t>Add event details here</a:t>
            </a:r>
          </a:p>
        </p:txBody>
      </p:sp>
      <p:sp>
        <p:nvSpPr>
          <p:cNvPr id="176" name="Text Placeholder 174"/>
          <p:cNvSpPr>
            <a:spLocks noGrp="1"/>
          </p:cNvSpPr>
          <p:nvPr>
            <p:ph type="body" sz="quarter" idx="28" hasCustomPrompt="1"/>
          </p:nvPr>
        </p:nvSpPr>
        <p:spPr>
          <a:xfrm>
            <a:off x="2096060" y="2973492"/>
            <a:ext cx="994410" cy="2970730"/>
          </a:xfrm>
          <a:blipFill>
            <a:blip r:embed="rId5" cstate="print"/>
            <a:srcRect/>
            <a:stretch>
              <a:fillRect t="-4" b="-44435"/>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Mon Year</a:t>
            </a:r>
          </a:p>
          <a:p>
            <a:pPr lvl="1"/>
            <a:r>
              <a:rPr lang="en-US" smtClean="0"/>
              <a:t>Add event details here</a:t>
            </a:r>
          </a:p>
        </p:txBody>
      </p:sp>
      <p:sp>
        <p:nvSpPr>
          <p:cNvPr id="175" name="Text Placeholder 174"/>
          <p:cNvSpPr>
            <a:spLocks noGrp="1"/>
          </p:cNvSpPr>
          <p:nvPr>
            <p:ph type="body" sz="quarter" idx="27" hasCustomPrompt="1"/>
          </p:nvPr>
        </p:nvSpPr>
        <p:spPr>
          <a:xfrm>
            <a:off x="3466415" y="2281258"/>
            <a:ext cx="994410" cy="3662964"/>
          </a:xfrm>
          <a:blipFill>
            <a:blip r:embed="rId6" cstate="print"/>
            <a:srcRect/>
            <a:stretch>
              <a:fillRect t="-3" b="-17141"/>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Mon Year</a:t>
            </a:r>
          </a:p>
          <a:p>
            <a:pPr lvl="1"/>
            <a:r>
              <a:rPr lang="en-US" smtClean="0"/>
              <a:t>Add event details here</a:t>
            </a:r>
          </a:p>
        </p:txBody>
      </p:sp>
      <p:sp>
        <p:nvSpPr>
          <p:cNvPr id="178" name="Text Placeholder 174"/>
          <p:cNvSpPr>
            <a:spLocks noGrp="1"/>
          </p:cNvSpPr>
          <p:nvPr>
            <p:ph type="body" sz="quarter" idx="30" hasCustomPrompt="1"/>
          </p:nvPr>
        </p:nvSpPr>
        <p:spPr>
          <a:xfrm>
            <a:off x="4556817" y="3661974"/>
            <a:ext cx="994410" cy="2282248"/>
          </a:xfrm>
          <a:blipFill>
            <a:blip r:embed="rId4" cstate="print"/>
            <a:srcRect/>
            <a:stretch>
              <a:fillRect t="-1" b="-88011"/>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Mon Year</a:t>
            </a:r>
          </a:p>
          <a:p>
            <a:pPr lvl="1"/>
            <a:r>
              <a:rPr lang="en-US" smtClean="0"/>
              <a:t>Add event details here</a:t>
            </a:r>
          </a:p>
        </p:txBody>
      </p:sp>
      <p:sp>
        <p:nvSpPr>
          <p:cNvPr id="179" name="Text Placeholder 174"/>
          <p:cNvSpPr>
            <a:spLocks noGrp="1"/>
          </p:cNvSpPr>
          <p:nvPr>
            <p:ph type="body" sz="quarter" idx="31" hasCustomPrompt="1"/>
          </p:nvPr>
        </p:nvSpPr>
        <p:spPr>
          <a:xfrm>
            <a:off x="6027185" y="2969022"/>
            <a:ext cx="994410" cy="2975201"/>
          </a:xfrm>
          <a:blipFill>
            <a:blip r:embed="rId5" cstate="print"/>
            <a:srcRect/>
            <a:stretch>
              <a:fillRect t="-4" b="-44219"/>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Mon Year</a:t>
            </a:r>
          </a:p>
          <a:p>
            <a:pPr lvl="1"/>
            <a:r>
              <a:rPr lang="en-US" smtClean="0"/>
              <a:t>Add event details here</a:t>
            </a:r>
          </a:p>
        </p:txBody>
      </p:sp>
      <p:sp>
        <p:nvSpPr>
          <p:cNvPr id="180" name="Text Placeholder 174"/>
          <p:cNvSpPr>
            <a:spLocks noGrp="1"/>
          </p:cNvSpPr>
          <p:nvPr>
            <p:ph type="body" sz="quarter" idx="32" hasCustomPrompt="1"/>
          </p:nvPr>
        </p:nvSpPr>
        <p:spPr>
          <a:xfrm>
            <a:off x="7579708" y="2281258"/>
            <a:ext cx="994410" cy="3662964"/>
          </a:xfrm>
          <a:blipFill>
            <a:blip r:embed="rId6" cstate="print"/>
            <a:srcRect/>
            <a:stretch>
              <a:fillRect t="-3" b="-17141"/>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Mon Year</a:t>
            </a:r>
          </a:p>
          <a:p>
            <a:pPr lvl="1"/>
            <a:r>
              <a:rPr lang="en-US" smtClean="0"/>
              <a:t>Add event details here</a:t>
            </a:r>
          </a:p>
        </p:txBody>
      </p:sp>
    </p:spTree>
    <p:extLst>
      <p:ext uri="{BB962C8B-B14F-4D97-AF65-F5344CB8AC3E}">
        <p14:creationId xmlns:p14="http://schemas.microsoft.com/office/powerpoint/2010/main" val="314161651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76465" y="1300170"/>
            <a:ext cx="4122964" cy="49482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4841" y="1300170"/>
            <a:ext cx="4122965" cy="49482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CCFEA289-A159-4C86-9B03-5871942341E1}"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2" name="Picture 9" descr="WhitePage_1a"/>
          <p:cNvPicPr>
            <a:picLocks noChangeAspect="1" noChangeArrowheads="1"/>
          </p:cNvPicPr>
          <p:nvPr userDrawn="1"/>
        </p:nvPicPr>
        <p:blipFill>
          <a:blip r:embed="rId2" cstate="print"/>
          <a:srcRect b="82222"/>
          <a:stretch>
            <a:fillRect/>
          </a:stretch>
        </p:blipFill>
        <p:spPr bwMode="auto">
          <a:xfrm>
            <a:off x="0" y="0"/>
            <a:ext cx="9144000" cy="1219200"/>
          </a:xfrm>
          <a:prstGeom prst="rect">
            <a:avLst/>
          </a:prstGeom>
          <a:noFill/>
        </p:spPr>
      </p:pic>
      <p:sp>
        <p:nvSpPr>
          <p:cNvPr id="10" name="Text Placeholder 11"/>
          <p:cNvSpPr>
            <a:spLocks noGrp="1"/>
          </p:cNvSpPr>
          <p:nvPr>
            <p:ph type="body" sz="quarter" idx="17" hasCustomPrompt="1"/>
          </p:nvPr>
        </p:nvSpPr>
        <p:spPr>
          <a:xfrm>
            <a:off x="442989" y="1506540"/>
            <a:ext cx="8265582" cy="4589461"/>
          </a:xfrm>
        </p:spPr>
        <p:txBody>
          <a:bodyPr/>
          <a:lstStyle>
            <a:lvl1pPr>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itle 13"/>
          <p:cNvSpPr>
            <a:spLocks noGrp="1"/>
          </p:cNvSpPr>
          <p:nvPr>
            <p:ph type="title" hasCustomPrompt="1"/>
          </p:nvPr>
        </p:nvSpPr>
        <p:spPr>
          <a:xfrm>
            <a:off x="297543" y="121920"/>
            <a:ext cx="6016171" cy="906780"/>
          </a:xfrm>
        </p:spPr>
        <p:txBody>
          <a:bodyPr/>
          <a:lstStyle>
            <a:lvl1pPr>
              <a:defRPr>
                <a:solidFill>
                  <a:schemeClr val="bg1"/>
                </a:solidFill>
              </a:defRPr>
            </a:lvl1pPr>
          </a:lstStyle>
          <a:p>
            <a:r>
              <a:rPr lang="en-US" dirty="0" smtClean="0"/>
              <a:t>Click to add title</a:t>
            </a:r>
            <a:endParaRPr lang="en-US" dirty="0"/>
          </a:p>
        </p:txBody>
      </p:sp>
      <p:pic>
        <p:nvPicPr>
          <p:cNvPr id="30721" name="Picture 1" descr="pfizer_rgb_pos"/>
          <p:cNvPicPr>
            <a:picLocks noChangeAspect="1" noChangeArrowheads="1"/>
          </p:cNvPicPr>
          <p:nvPr userDrawn="1"/>
        </p:nvPicPr>
        <p:blipFill>
          <a:blip r:embed="rId3" cstate="print"/>
          <a:srcRect/>
          <a:stretch>
            <a:fillRect/>
          </a:stretch>
        </p:blipFill>
        <p:spPr bwMode="auto">
          <a:xfrm>
            <a:off x="251520" y="5949280"/>
            <a:ext cx="1066800" cy="612921"/>
          </a:xfrm>
          <a:prstGeom prst="rect">
            <a:avLst/>
          </a:prstGeom>
          <a:noFill/>
          <a:ln w="9525">
            <a:noFill/>
            <a:miter lim="800000"/>
            <a:headEnd/>
            <a:tailEnd/>
          </a:ln>
        </p:spPr>
      </p:pic>
      <p:pic>
        <p:nvPicPr>
          <p:cNvPr id="31745" name="Picture 1"/>
          <p:cNvPicPr>
            <a:picLocks noChangeAspect="1" noChangeArrowheads="1"/>
          </p:cNvPicPr>
          <p:nvPr userDrawn="1"/>
        </p:nvPicPr>
        <p:blipFill>
          <a:blip r:embed="rId4" cstate="print"/>
          <a:srcRect/>
          <a:stretch>
            <a:fillRect/>
          </a:stretch>
        </p:blipFill>
        <p:spPr bwMode="auto">
          <a:xfrm>
            <a:off x="7164288" y="5805264"/>
            <a:ext cx="1745836" cy="838200"/>
          </a:xfrm>
          <a:prstGeom prst="rect">
            <a:avLst/>
          </a:prstGeom>
          <a:noFill/>
          <a:ln w="9525">
            <a:noFill/>
            <a:miter lim="800000"/>
            <a:headEnd/>
            <a:tailEnd/>
          </a:ln>
          <a:effectLst/>
        </p:spPr>
      </p:pic>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p:spPr>
        <p:txBody>
          <a:bodyPr/>
          <a:lstStyle/>
          <a:p>
            <a:r>
              <a:rPr lang="en-US" smtClean="0"/>
              <a:t>Click to edit Master title style</a:t>
            </a:r>
            <a:endParaRPr lang="es-CL"/>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s-CL"/>
          </a:p>
        </p:txBody>
      </p:sp>
      <p:sp>
        <p:nvSpPr>
          <p:cNvPr id="4" name="3 Marcador de fecha"/>
          <p:cNvSpPr>
            <a:spLocks noGrp="1"/>
          </p:cNvSpPr>
          <p:nvPr>
            <p:ph type="dt" sz="half" idx="10"/>
          </p:nvPr>
        </p:nvSpPr>
        <p:spPr>
          <a:xfrm>
            <a:off x="457200" y="6356350"/>
            <a:ext cx="2133600" cy="365125"/>
          </a:xfrm>
          <a:prstGeom prst="rect">
            <a:avLst/>
          </a:prstGeom>
        </p:spPr>
        <p:txBody>
          <a:bodyPr/>
          <a:lstStyle/>
          <a:p>
            <a:fld id="{6342EE1F-385E-3B4B-A2D0-C416A2DBAFA3}" type="datetime1">
              <a:rPr lang="en-US" smtClean="0"/>
              <a:t>5/30/16</a:t>
            </a:fld>
            <a:endParaRPr lang="es-CL"/>
          </a:p>
        </p:txBody>
      </p:sp>
      <p:sp>
        <p:nvSpPr>
          <p:cNvPr id="5" name="4 Marcador de pie de página"/>
          <p:cNvSpPr>
            <a:spLocks noGrp="1"/>
          </p:cNvSpPr>
          <p:nvPr>
            <p:ph type="ftr" sz="quarter" idx="11"/>
          </p:nvPr>
        </p:nvSpPr>
        <p:spPr>
          <a:xfrm>
            <a:off x="3124200" y="6356350"/>
            <a:ext cx="2895600" cy="365125"/>
          </a:xfrm>
          <a:prstGeom prst="rect">
            <a:avLst/>
          </a:prstGeom>
        </p:spPr>
        <p:txBody>
          <a:bodyPr/>
          <a:lstStyle/>
          <a:p>
            <a:endParaRPr lang="es-CL"/>
          </a:p>
        </p:txBody>
      </p:sp>
      <p:sp>
        <p:nvSpPr>
          <p:cNvPr id="6" name="5 Marcador de número de diapositiva"/>
          <p:cNvSpPr>
            <a:spLocks noGrp="1"/>
          </p:cNvSpPr>
          <p:nvPr>
            <p:ph type="sldNum" sz="quarter" idx="12"/>
          </p:nvPr>
        </p:nvSpPr>
        <p:spPr/>
        <p:txBody>
          <a:bodyPr/>
          <a:lstStyle/>
          <a:p>
            <a:pPr>
              <a:defRPr/>
            </a:pPr>
            <a:fld id="{369AF959-3F19-45C0-BDE8-016007A35A46}" type="slidenum">
              <a:rPr lang="en-US" altLang="en-US" smtClean="0"/>
              <a:pPr>
                <a:defRPr/>
              </a:pPr>
              <a:t>‹#›</a:t>
            </a:fld>
            <a:endParaRPr lang="en-US" altLang="en-US"/>
          </a:p>
        </p:txBody>
      </p:sp>
    </p:spTree>
    <p:extLst>
      <p:ext uri="{BB962C8B-B14F-4D97-AF65-F5344CB8AC3E}">
        <p14:creationId xmlns:p14="http://schemas.microsoft.com/office/powerpoint/2010/main" val="15150554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A25E25DD-8492-4331-B99F-4CBD59111506}"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690" y="4407439"/>
            <a:ext cx="7772703"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690" y="2906713"/>
            <a:ext cx="7772703"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A376707E-1700-4C8C-AA8F-AA8596E8F4E4}"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76465" y="1300170"/>
            <a:ext cx="4122964" cy="49482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4841" y="1300170"/>
            <a:ext cx="4122965" cy="49482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08A44517-6920-4C1E-B411-7C83E2A27DFC}"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605" y="274638"/>
            <a:ext cx="823081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595" y="1535113"/>
            <a:ext cx="404132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595" y="2174875"/>
            <a:ext cx="404132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4841" y="1535113"/>
            <a:ext cx="40428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4841" y="2174875"/>
            <a:ext cx="40428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31E4F563-FBB7-43F5-AB18-FCAA841EF3AF}"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1973B073-708A-410C-9ACF-C34BB64BA82D}"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BEEED8E6-823E-4323-AFE4-53D3C7443FD3}"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605" y="273050"/>
            <a:ext cx="3008690"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655" y="27352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605" y="1435103"/>
            <a:ext cx="300869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19585CA4-E056-4B6A-9ECD-24AC88F3A50F}"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605" y="274638"/>
            <a:ext cx="823081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595" y="1535113"/>
            <a:ext cx="404132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595" y="2174875"/>
            <a:ext cx="404132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4841" y="1535113"/>
            <a:ext cx="40428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4841" y="2174875"/>
            <a:ext cx="40428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9242DA14-8C2C-4369-AB1F-5D62481627BF}"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608" y="4800600"/>
            <a:ext cx="5486702"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1608" y="612775"/>
            <a:ext cx="5486702"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791608" y="5367338"/>
            <a:ext cx="548670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E6D0FAF8-8161-4993-A909-55BE41EB74BB}"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A4DF94A8-6580-4828-8428-90AFF3B7B80F}"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8225" y="152400"/>
            <a:ext cx="2127250" cy="6096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76656" y="152400"/>
            <a:ext cx="6236607" cy="6096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10F7F771-72D3-4D76-9CFA-CBC33080D433}"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bl" preserve="1">
  <p:cSld name="Title and Table">
    <p:spTree>
      <p:nvGrpSpPr>
        <p:cNvPr id="1" name=""/>
        <p:cNvGrpSpPr/>
        <p:nvPr/>
      </p:nvGrpSpPr>
      <p:grpSpPr>
        <a:xfrm>
          <a:off x="0" y="0"/>
          <a:ext cx="0" cy="0"/>
          <a:chOff x="0" y="0"/>
          <a:chExt cx="0" cy="0"/>
        </a:xfrm>
      </p:grpSpPr>
      <p:graphicFrame>
        <p:nvGraphicFramePr>
          <p:cNvPr id="4" name="Rectangle 11" hidden="1"/>
          <p:cNvGraphicFramePr>
            <a:graphicFrameLocks/>
          </p:cNvGraphicFramePr>
          <p:nvPr>
            <p:custDataLst>
              <p:tags r:id="rId2"/>
            </p:custDataLst>
          </p:nvPr>
        </p:nvGraphicFramePr>
        <p:xfrm>
          <a:off x="-1476" y="0"/>
          <a:ext cx="151191" cy="158750"/>
        </p:xfrm>
        <a:graphic>
          <a:graphicData uri="http://schemas.openxmlformats.org/presentationml/2006/ole">
            <mc:AlternateContent xmlns:mc="http://schemas.openxmlformats.org/markup-compatibility/2006">
              <mc:Choice xmlns:v="urn:schemas-microsoft-com:vml" Requires="v">
                <p:oleObj spid="_x0000_s70046" r:id="rId5" imgW="0" imgH="0" progId="">
                  <p:embed/>
                </p:oleObj>
              </mc:Choice>
              <mc:Fallback>
                <p:oleObj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476" y="0"/>
                        <a:ext cx="15119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0" descr="WhitePage_1"/>
          <p:cNvPicPr>
            <a:picLocks noChangeAspect="1" noChangeArrowheads="1"/>
          </p:cNvPicPr>
          <p:nvPr userDrawn="1"/>
        </p:nvPicPr>
        <p:blipFill>
          <a:blip r:embed="rId6" cstate="print"/>
          <a:srcRect/>
          <a:stretch>
            <a:fillRect/>
          </a:stretch>
        </p:blipFill>
        <p:spPr bwMode="auto">
          <a:xfrm>
            <a:off x="0" y="0"/>
            <a:ext cx="9144000" cy="6858000"/>
          </a:xfrm>
          <a:prstGeom prst="rect">
            <a:avLst/>
          </a:prstGeom>
          <a:noFill/>
          <a:ln w="9525">
            <a:noFill/>
            <a:miter lim="800000"/>
            <a:headEnd/>
            <a:tailEnd/>
          </a:ln>
        </p:spPr>
      </p:pic>
      <p:sp>
        <p:nvSpPr>
          <p:cNvPr id="6" name="doc id"/>
          <p:cNvSpPr>
            <a:spLocks noChangeArrowheads="1"/>
          </p:cNvSpPr>
          <p:nvPr userDrawn="1">
            <p:custDataLst>
              <p:tags r:id="rId3"/>
            </p:custDataLst>
          </p:nvPr>
        </p:nvSpPr>
        <p:spPr bwMode="gray">
          <a:xfrm>
            <a:off x="217984" y="6597650"/>
            <a:ext cx="7926917" cy="107950"/>
          </a:xfrm>
          <a:prstGeom prst="rect">
            <a:avLst/>
          </a:prstGeom>
          <a:noFill/>
          <a:ln w="9525" algn="ctr">
            <a:noFill/>
            <a:miter lim="800000"/>
            <a:headEnd/>
            <a:tailEnd/>
          </a:ln>
          <a:effectLst/>
        </p:spPr>
        <p:txBody>
          <a:bodyPr lIns="0" tIns="0" rIns="0" bIns="0" anchor="b">
            <a:spAutoFit/>
          </a:bodyPr>
          <a:lstStyle/>
          <a:p>
            <a:pPr defTabSz="912813">
              <a:defRPr/>
            </a:pPr>
            <a:r>
              <a:rPr lang="en-US" sz="700">
                <a:solidFill>
                  <a:srgbClr val="007CC2"/>
                </a:solidFill>
                <a:latin typeface="Arial" charset="0"/>
              </a:rPr>
              <a:t>Confidential and Internal to Pfizer - subject to works council and/or union consultations and other legal requirements.</a:t>
            </a:r>
          </a:p>
        </p:txBody>
      </p:sp>
      <p:sp>
        <p:nvSpPr>
          <p:cNvPr id="2" name="Title 1"/>
          <p:cNvSpPr>
            <a:spLocks noGrp="1"/>
          </p:cNvSpPr>
          <p:nvPr>
            <p:ph type="title"/>
          </p:nvPr>
        </p:nvSpPr>
        <p:spPr>
          <a:xfrm>
            <a:off x="2565703" y="152400"/>
            <a:ext cx="6319762" cy="711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76727" y="1300170"/>
            <a:ext cx="8391071" cy="4948237"/>
          </a:xfrm>
        </p:spPr>
        <p:txBody>
          <a:bodyPr/>
          <a:lstStyle/>
          <a:p>
            <a:pPr lvl="0"/>
            <a:r>
              <a:rPr lang="en-US" noProof="0" smtClean="0"/>
              <a:t>Click icon to add table</a:t>
            </a:r>
            <a:endParaRPr lang="en-US" noProof="0"/>
          </a:p>
        </p:txBody>
      </p:sp>
      <p:sp>
        <p:nvSpPr>
          <p:cNvPr id="7" name="Slide Number Placeholder 3"/>
          <p:cNvSpPr>
            <a:spLocks noGrp="1"/>
          </p:cNvSpPr>
          <p:nvPr>
            <p:ph type="sldNum" sz="quarter" idx="10"/>
          </p:nvPr>
        </p:nvSpPr>
        <p:spPr>
          <a:xfrm>
            <a:off x="8548310" y="6688677"/>
            <a:ext cx="355298" cy="122237"/>
          </a:xfrm>
        </p:spPr>
        <p:txBody>
          <a:bodyPr/>
          <a:lstStyle>
            <a:lvl1pPr>
              <a:defRPr/>
            </a:lvl1pPr>
          </a:lstStyle>
          <a:p>
            <a:pPr>
              <a:defRPr/>
            </a:pPr>
            <a:fld id="{B80C637A-881C-428C-8407-C1478B508862}"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pic>
        <p:nvPicPr>
          <p:cNvPr id="2" name="Picture 9" descr="WhitePage_1a"/>
          <p:cNvPicPr>
            <a:picLocks noChangeAspect="1" noChangeArrowheads="1"/>
          </p:cNvPicPr>
          <p:nvPr userDrawn="1"/>
        </p:nvPicPr>
        <p:blipFill>
          <a:blip r:embed="rId3" cstate="print"/>
          <a:srcRect b="82222"/>
          <a:stretch>
            <a:fillRect/>
          </a:stretch>
        </p:blipFill>
        <p:spPr bwMode="auto">
          <a:xfrm>
            <a:off x="0" y="0"/>
            <a:ext cx="9144000" cy="1219200"/>
          </a:xfrm>
          <a:prstGeom prst="rect">
            <a:avLst/>
          </a:prstGeom>
          <a:noFill/>
        </p:spPr>
      </p:pic>
      <p:sp>
        <p:nvSpPr>
          <p:cNvPr id="4" name="pg num"/>
          <p:cNvSpPr>
            <a:spLocks noGrp="1" noChangeArrowheads="1"/>
          </p:cNvSpPr>
          <p:nvPr>
            <p:ph type="sldNum" sz="quarter" idx="10"/>
            <p:custDataLst>
              <p:tags r:id="rId1"/>
            </p:custDataLst>
          </p:nvPr>
        </p:nvSpPr>
        <p:spPr/>
        <p:txBody>
          <a:bodyPr/>
          <a:lstStyle>
            <a:lvl1pPr>
              <a:defRPr/>
            </a:lvl1pPr>
          </a:lstStyle>
          <a:p>
            <a:fld id="{BCA94449-4AD4-4972-905D-CDEBEC5E1649}" type="slidenum">
              <a:rPr lang="en-US" altLang="en-US"/>
              <a:pPr/>
              <a:t>‹#›</a:t>
            </a:fld>
            <a:endParaRPr lang="en-US" altLang="en-US"/>
          </a:p>
        </p:txBody>
      </p:sp>
      <p:sp>
        <p:nvSpPr>
          <p:cNvPr id="10" name="Text Placeholder 11"/>
          <p:cNvSpPr>
            <a:spLocks noGrp="1"/>
          </p:cNvSpPr>
          <p:nvPr>
            <p:ph type="body" sz="quarter" idx="17" hasCustomPrompt="1"/>
          </p:nvPr>
        </p:nvSpPr>
        <p:spPr>
          <a:xfrm>
            <a:off x="442999" y="1506547"/>
            <a:ext cx="8265582" cy="4589461"/>
          </a:xfrm>
        </p:spPr>
        <p:txBody>
          <a:bodyPr/>
          <a:lstStyle>
            <a:lvl1pPr>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itle 13"/>
          <p:cNvSpPr>
            <a:spLocks noGrp="1"/>
          </p:cNvSpPr>
          <p:nvPr>
            <p:ph type="title" hasCustomPrompt="1"/>
          </p:nvPr>
        </p:nvSpPr>
        <p:spPr>
          <a:xfrm>
            <a:off x="297543" y="121920"/>
            <a:ext cx="6016171" cy="906780"/>
          </a:xfrm>
        </p:spPr>
        <p:txBody>
          <a:bodyPr/>
          <a:lstStyle>
            <a:lvl1pPr>
              <a:defRPr>
                <a:solidFill>
                  <a:schemeClr val="bg1"/>
                </a:solidFill>
              </a:defRPr>
            </a:lvl1pPr>
          </a:lstStyle>
          <a:p>
            <a:r>
              <a:rPr lang="en-US" dirty="0" smtClean="0"/>
              <a:t>Click to add title</a:t>
            </a: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pic>
        <p:nvPicPr>
          <p:cNvPr id="2" name="Picture 9" descr="WhitePage_1a"/>
          <p:cNvPicPr>
            <a:picLocks noChangeAspect="1" noChangeArrowheads="1"/>
          </p:cNvPicPr>
          <p:nvPr userDrawn="1"/>
        </p:nvPicPr>
        <p:blipFill>
          <a:blip r:embed="rId3" cstate="print"/>
          <a:srcRect b="82222"/>
          <a:stretch>
            <a:fillRect/>
          </a:stretch>
        </p:blipFill>
        <p:spPr bwMode="auto">
          <a:xfrm>
            <a:off x="0" y="0"/>
            <a:ext cx="9144000" cy="1219200"/>
          </a:xfrm>
          <a:prstGeom prst="rect">
            <a:avLst/>
          </a:prstGeom>
          <a:noFill/>
        </p:spPr>
      </p:pic>
      <p:sp>
        <p:nvSpPr>
          <p:cNvPr id="4" name="pg num"/>
          <p:cNvSpPr>
            <a:spLocks noGrp="1" noChangeArrowheads="1"/>
          </p:cNvSpPr>
          <p:nvPr>
            <p:ph type="sldNum" sz="quarter" idx="10"/>
            <p:custDataLst>
              <p:tags r:id="rId1"/>
            </p:custDataLst>
          </p:nvPr>
        </p:nvSpPr>
        <p:spPr/>
        <p:txBody>
          <a:bodyPr/>
          <a:lstStyle>
            <a:lvl1pPr>
              <a:defRPr/>
            </a:lvl1pPr>
          </a:lstStyle>
          <a:p>
            <a:fld id="{BCA94449-4AD4-4972-905D-CDEBEC5E1649}" type="slidenum">
              <a:rPr lang="en-US" altLang="en-US"/>
              <a:pPr/>
              <a:t>‹#›</a:t>
            </a:fld>
            <a:endParaRPr lang="en-US" altLang="en-US"/>
          </a:p>
        </p:txBody>
      </p:sp>
      <p:sp>
        <p:nvSpPr>
          <p:cNvPr id="10" name="Text Placeholder 11"/>
          <p:cNvSpPr>
            <a:spLocks noGrp="1"/>
          </p:cNvSpPr>
          <p:nvPr>
            <p:ph type="body" sz="quarter" idx="17" hasCustomPrompt="1"/>
          </p:nvPr>
        </p:nvSpPr>
        <p:spPr>
          <a:xfrm>
            <a:off x="442999" y="1506547"/>
            <a:ext cx="8265582" cy="4589461"/>
          </a:xfrm>
        </p:spPr>
        <p:txBody>
          <a:bodyPr/>
          <a:lstStyle>
            <a:lvl1pPr>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itle 13"/>
          <p:cNvSpPr>
            <a:spLocks noGrp="1"/>
          </p:cNvSpPr>
          <p:nvPr>
            <p:ph type="title" hasCustomPrompt="1"/>
          </p:nvPr>
        </p:nvSpPr>
        <p:spPr>
          <a:xfrm>
            <a:off x="297543" y="121920"/>
            <a:ext cx="6016171" cy="906780"/>
          </a:xfrm>
        </p:spPr>
        <p:txBody>
          <a:bodyPr/>
          <a:lstStyle>
            <a:lvl1pPr>
              <a:defRPr>
                <a:solidFill>
                  <a:schemeClr val="bg1"/>
                </a:solidFill>
              </a:defRPr>
            </a:lvl1pPr>
          </a:lstStyle>
          <a:p>
            <a:r>
              <a:rPr lang="en-US" dirty="0" smtClean="0"/>
              <a:t>Click to add title</a:t>
            </a: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2" name="Picture 9" descr="WhitePage_1a"/>
          <p:cNvPicPr>
            <a:picLocks noChangeAspect="1" noChangeArrowheads="1"/>
          </p:cNvPicPr>
          <p:nvPr userDrawn="1"/>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3" name="pg num"/>
          <p:cNvSpPr>
            <a:spLocks noGrp="1" noChangeArrowheads="1"/>
          </p:cNvSpPr>
          <p:nvPr>
            <p:ph type="sldNum" sz="quarter" idx="10"/>
            <p:custDataLst>
              <p:tags r:id="rId1"/>
            </p:custDataLst>
          </p:nvPr>
        </p:nvSpPr>
        <p:spPr>
          <a:xfrm>
            <a:off x="6553200" y="6506339"/>
            <a:ext cx="2133600" cy="123111"/>
          </a:xfrm>
        </p:spPr>
        <p:txBody>
          <a:bodyPr/>
          <a:lstStyle>
            <a:lvl1pPr>
              <a:defRPr/>
            </a:lvl1pPr>
          </a:lstStyle>
          <a:p>
            <a:pPr>
              <a:defRPr/>
            </a:pPr>
            <a:fld id="{6D0CBF2D-470F-4E63-931D-AD334797B431}" type="slidenum">
              <a:rPr lang="en-US" altLang="en-US"/>
              <a:pPr>
                <a:defRPr/>
              </a:pPr>
              <a:t>‹#›</a:t>
            </a:fld>
            <a:endParaRPr lang="en-US" altLang="en-US" dirty="0"/>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1165" cy="158750"/>
        </p:xfrm>
        <a:graphic>
          <a:graphicData uri="http://schemas.openxmlformats.org/presentationml/2006/ole">
            <mc:AlternateContent xmlns:mc="http://schemas.openxmlformats.org/markup-compatibility/2006">
              <mc:Choice xmlns:v="urn:schemas-microsoft-com:vml" Requires="v">
                <p:oleObj spid="_x0000_s7107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116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smtClean="0"/>
              <a:t>Click to edit Master title style</a:t>
            </a:r>
            <a:endParaRPr lang="en-US"/>
          </a:p>
        </p:txBody>
      </p:sp>
      <p:sp>
        <p:nvSpPr>
          <p:cNvPr id="5" name="Text Placeholder 4"/>
          <p:cNvSpPr>
            <a:spLocks noGrp="1"/>
          </p:cNvSpPr>
          <p:nvPr>
            <p:ph type="body" sz="quarter" idx="13"/>
            <p:custDataLst>
              <p:tags r:id="rId4"/>
            </p:custDataLst>
          </p:nvPr>
        </p:nvSpPr>
        <p:spPr>
          <a:xfrm>
            <a:off x="435356" y="1508400"/>
            <a:ext cx="8275203" cy="4615200"/>
          </a:xfrm>
        </p:spPr>
        <p:txBody>
          <a:bodyPr/>
          <a:lstStyle>
            <a:lvl1pPr>
              <a:defRPr/>
            </a:lvl1pPr>
            <a:lvl2pPr>
              <a:defRPr/>
            </a:lvl2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659171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grpSp>
        <p:nvGrpSpPr>
          <p:cNvPr id="2" name="Group 13"/>
          <p:cNvGrpSpPr/>
          <p:nvPr/>
        </p:nvGrpSpPr>
        <p:grpSpPr>
          <a:xfrm>
            <a:off x="457200" y="2057400"/>
            <a:ext cx="8229600" cy="4800600"/>
            <a:chOff x="609600" y="0"/>
            <a:chExt cx="10972800" cy="6858000"/>
          </a:xfrm>
        </p:grpSpPr>
        <p:cxnSp>
          <p:nvCxnSpPr>
            <p:cNvPr id="15" name="Straight Connector 14"/>
            <p:cNvCxnSpPr/>
            <p:nvPr/>
          </p:nvCxnSpPr>
          <p:spPr>
            <a:xfrm>
              <a:off x="6096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2192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8288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4384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0480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6576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42672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60960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8768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54864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056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3152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79248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85344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91440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97536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03632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09728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15824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grpSp>
      <p:grpSp>
        <p:nvGrpSpPr>
          <p:cNvPr id="3" name="Group 33"/>
          <p:cNvGrpSpPr/>
          <p:nvPr/>
        </p:nvGrpSpPr>
        <p:grpSpPr>
          <a:xfrm>
            <a:off x="91440" y="5934076"/>
            <a:ext cx="8961120" cy="695325"/>
            <a:chOff x="121920" y="6553200"/>
            <a:chExt cx="11948160" cy="304800"/>
          </a:xfrm>
        </p:grpSpPr>
        <p:grpSp>
          <p:nvGrpSpPr>
            <p:cNvPr id="4" name="Group 34"/>
            <p:cNvGrpSpPr/>
            <p:nvPr/>
          </p:nvGrpSpPr>
          <p:grpSpPr>
            <a:xfrm>
              <a:off x="121920" y="6553200"/>
              <a:ext cx="5852160" cy="304800"/>
              <a:chOff x="121920" y="6553200"/>
              <a:chExt cx="5852160" cy="304800"/>
            </a:xfrm>
          </p:grpSpPr>
          <p:grpSp>
            <p:nvGrpSpPr>
              <p:cNvPr id="5" name="Group 86"/>
              <p:cNvGrpSpPr/>
              <p:nvPr/>
            </p:nvGrpSpPr>
            <p:grpSpPr>
              <a:xfrm>
                <a:off x="731520" y="6553200"/>
                <a:ext cx="365760" cy="304800"/>
                <a:chOff x="-2819400" y="0"/>
                <a:chExt cx="1828800" cy="6858000"/>
              </a:xfrm>
            </p:grpSpPr>
            <p:cxnSp>
              <p:nvCxnSpPr>
                <p:cNvPr id="133" name="Straight Connector 132"/>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roup 87"/>
              <p:cNvGrpSpPr/>
              <p:nvPr/>
            </p:nvGrpSpPr>
            <p:grpSpPr>
              <a:xfrm>
                <a:off x="1341120" y="6553200"/>
                <a:ext cx="365760" cy="304800"/>
                <a:chOff x="-2819400" y="0"/>
                <a:chExt cx="1828800" cy="6858000"/>
              </a:xfrm>
            </p:grpSpPr>
            <p:cxnSp>
              <p:nvCxnSpPr>
                <p:cNvPr id="129" name="Straight Connector 128"/>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9" name="Group 88"/>
              <p:cNvGrpSpPr/>
              <p:nvPr/>
            </p:nvGrpSpPr>
            <p:grpSpPr>
              <a:xfrm>
                <a:off x="1950720" y="6553200"/>
                <a:ext cx="365760" cy="304800"/>
                <a:chOff x="-2819400" y="0"/>
                <a:chExt cx="1828800" cy="6858000"/>
              </a:xfrm>
            </p:grpSpPr>
            <p:cxnSp>
              <p:nvCxnSpPr>
                <p:cNvPr id="125" name="Straight Connector 124"/>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10" name="Group 89"/>
              <p:cNvGrpSpPr/>
              <p:nvPr/>
            </p:nvGrpSpPr>
            <p:grpSpPr>
              <a:xfrm>
                <a:off x="2560320" y="6553200"/>
                <a:ext cx="365760" cy="304800"/>
                <a:chOff x="-2819400" y="0"/>
                <a:chExt cx="1828800" cy="6858000"/>
              </a:xfrm>
            </p:grpSpPr>
            <p:cxnSp>
              <p:nvCxnSpPr>
                <p:cNvPr id="121" name="Straight Connector 120"/>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11" name="Group 90"/>
              <p:cNvGrpSpPr/>
              <p:nvPr/>
            </p:nvGrpSpPr>
            <p:grpSpPr>
              <a:xfrm>
                <a:off x="121920" y="6553200"/>
                <a:ext cx="365760" cy="304800"/>
                <a:chOff x="-2819400" y="0"/>
                <a:chExt cx="1828800" cy="6858000"/>
              </a:xfrm>
            </p:grpSpPr>
            <p:cxnSp>
              <p:nvCxnSpPr>
                <p:cNvPr id="117" name="Straight Connector 116"/>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12" name="Group 91"/>
              <p:cNvGrpSpPr/>
              <p:nvPr/>
            </p:nvGrpSpPr>
            <p:grpSpPr>
              <a:xfrm>
                <a:off x="3779520" y="6553200"/>
                <a:ext cx="365760" cy="304800"/>
                <a:chOff x="-2819400" y="0"/>
                <a:chExt cx="1828800" cy="6858000"/>
              </a:xfrm>
            </p:grpSpPr>
            <p:cxnSp>
              <p:nvCxnSpPr>
                <p:cNvPr id="113" name="Straight Connector 112"/>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13" name="Group 92"/>
              <p:cNvGrpSpPr/>
              <p:nvPr/>
            </p:nvGrpSpPr>
            <p:grpSpPr>
              <a:xfrm>
                <a:off x="4389120" y="6553200"/>
                <a:ext cx="365760" cy="304800"/>
                <a:chOff x="-2819400" y="0"/>
                <a:chExt cx="1828800" cy="6858000"/>
              </a:xfrm>
            </p:grpSpPr>
            <p:cxnSp>
              <p:nvCxnSpPr>
                <p:cNvPr id="109" name="Straight Connector 108"/>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14" name="Group 93"/>
              <p:cNvGrpSpPr/>
              <p:nvPr/>
            </p:nvGrpSpPr>
            <p:grpSpPr>
              <a:xfrm>
                <a:off x="4998720" y="6553200"/>
                <a:ext cx="365760" cy="304800"/>
                <a:chOff x="-2819400" y="0"/>
                <a:chExt cx="1828800" cy="6858000"/>
              </a:xfrm>
            </p:grpSpPr>
            <p:cxnSp>
              <p:nvCxnSpPr>
                <p:cNvPr id="105" name="Straight Connector 104"/>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34" name="Group 94"/>
              <p:cNvGrpSpPr/>
              <p:nvPr/>
            </p:nvGrpSpPr>
            <p:grpSpPr>
              <a:xfrm>
                <a:off x="5608320" y="6553200"/>
                <a:ext cx="365760" cy="304800"/>
                <a:chOff x="-2819400" y="0"/>
                <a:chExt cx="1828800" cy="6858000"/>
              </a:xfrm>
            </p:grpSpPr>
            <p:cxnSp>
              <p:nvCxnSpPr>
                <p:cNvPr id="101" name="Straight Connector 100"/>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35" name="Group 95"/>
              <p:cNvGrpSpPr/>
              <p:nvPr/>
            </p:nvGrpSpPr>
            <p:grpSpPr>
              <a:xfrm>
                <a:off x="3169920" y="6553200"/>
                <a:ext cx="365760" cy="304800"/>
                <a:chOff x="-2819400" y="0"/>
                <a:chExt cx="1828800" cy="6858000"/>
              </a:xfrm>
            </p:grpSpPr>
            <p:cxnSp>
              <p:nvCxnSpPr>
                <p:cNvPr id="97" name="Straight Connector 96"/>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grpSp>
          <p:nvGrpSpPr>
            <p:cNvPr id="36" name="Group 35"/>
            <p:cNvGrpSpPr/>
            <p:nvPr/>
          </p:nvGrpSpPr>
          <p:grpSpPr>
            <a:xfrm>
              <a:off x="6217920" y="6553200"/>
              <a:ext cx="5852160" cy="304800"/>
              <a:chOff x="121920" y="6553200"/>
              <a:chExt cx="5852160" cy="304800"/>
            </a:xfrm>
          </p:grpSpPr>
          <p:grpSp>
            <p:nvGrpSpPr>
              <p:cNvPr id="37" name="Group 36"/>
              <p:cNvGrpSpPr/>
              <p:nvPr/>
            </p:nvGrpSpPr>
            <p:grpSpPr>
              <a:xfrm>
                <a:off x="731520" y="6553200"/>
                <a:ext cx="365760" cy="304800"/>
                <a:chOff x="-2819400" y="0"/>
                <a:chExt cx="1828800" cy="6858000"/>
              </a:xfrm>
            </p:grpSpPr>
            <p:cxnSp>
              <p:nvCxnSpPr>
                <p:cNvPr id="83" name="Straight Connector 82"/>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38" name="Group 37"/>
              <p:cNvGrpSpPr/>
              <p:nvPr/>
            </p:nvGrpSpPr>
            <p:grpSpPr>
              <a:xfrm>
                <a:off x="1341120" y="6553200"/>
                <a:ext cx="365760" cy="304800"/>
                <a:chOff x="-2819400" y="0"/>
                <a:chExt cx="1828800" cy="6858000"/>
              </a:xfrm>
            </p:grpSpPr>
            <p:cxnSp>
              <p:nvCxnSpPr>
                <p:cNvPr id="79" name="Straight Connector 78"/>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39" name="Group 38"/>
              <p:cNvGrpSpPr/>
              <p:nvPr/>
            </p:nvGrpSpPr>
            <p:grpSpPr>
              <a:xfrm>
                <a:off x="1950720" y="6553200"/>
                <a:ext cx="365760" cy="304800"/>
                <a:chOff x="-2819400" y="0"/>
                <a:chExt cx="1828800" cy="6858000"/>
              </a:xfrm>
            </p:grpSpPr>
            <p:cxnSp>
              <p:nvCxnSpPr>
                <p:cNvPr id="75" name="Straight Connector 74"/>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0" name="Group 39"/>
              <p:cNvGrpSpPr/>
              <p:nvPr/>
            </p:nvGrpSpPr>
            <p:grpSpPr>
              <a:xfrm>
                <a:off x="2560320" y="6553200"/>
                <a:ext cx="365760" cy="304800"/>
                <a:chOff x="-2819400" y="0"/>
                <a:chExt cx="1828800" cy="6858000"/>
              </a:xfrm>
            </p:grpSpPr>
            <p:cxnSp>
              <p:nvCxnSpPr>
                <p:cNvPr id="71" name="Straight Connector 70"/>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21920" y="6553200"/>
                <a:ext cx="365760" cy="304800"/>
                <a:chOff x="-2819400" y="0"/>
                <a:chExt cx="1828800" cy="6858000"/>
              </a:xfrm>
            </p:grpSpPr>
            <p:cxnSp>
              <p:nvCxnSpPr>
                <p:cNvPr id="67" name="Straight Connector 66"/>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3779520" y="6553200"/>
                <a:ext cx="365760" cy="304800"/>
                <a:chOff x="-2819400" y="0"/>
                <a:chExt cx="1828800" cy="6858000"/>
              </a:xfrm>
            </p:grpSpPr>
            <p:cxnSp>
              <p:nvCxnSpPr>
                <p:cNvPr id="63" name="Straight Connector 62"/>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4389120" y="6553200"/>
                <a:ext cx="365760" cy="304800"/>
                <a:chOff x="-2819400" y="0"/>
                <a:chExt cx="1828800" cy="6858000"/>
              </a:xfrm>
            </p:grpSpPr>
            <p:cxnSp>
              <p:nvCxnSpPr>
                <p:cNvPr id="59" name="Straight Connector 58"/>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4998720" y="6553200"/>
                <a:ext cx="365760" cy="304800"/>
                <a:chOff x="-2819400" y="0"/>
                <a:chExt cx="1828800" cy="6858000"/>
              </a:xfrm>
            </p:grpSpPr>
            <p:cxnSp>
              <p:nvCxnSpPr>
                <p:cNvPr id="55" name="Straight Connector 54"/>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5" name="Group 44"/>
              <p:cNvGrpSpPr/>
              <p:nvPr/>
            </p:nvGrpSpPr>
            <p:grpSpPr>
              <a:xfrm>
                <a:off x="5608320" y="6553200"/>
                <a:ext cx="365760" cy="304800"/>
                <a:chOff x="-2819400" y="0"/>
                <a:chExt cx="1828800" cy="6858000"/>
              </a:xfrm>
            </p:grpSpPr>
            <p:cxnSp>
              <p:nvCxnSpPr>
                <p:cNvPr id="51" name="Straight Connector 50"/>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p:nvGrpSpPr>
            <p:grpSpPr>
              <a:xfrm>
                <a:off x="3169920" y="6553200"/>
                <a:ext cx="365760" cy="304800"/>
                <a:chOff x="-2819400" y="0"/>
                <a:chExt cx="1828800" cy="6858000"/>
              </a:xfrm>
            </p:grpSpPr>
            <p:cxnSp>
              <p:nvCxnSpPr>
                <p:cNvPr id="47" name="Straight Connector 46"/>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grpSp>
      <p:pic>
        <p:nvPicPr>
          <p:cNvPr id="6" name="Picture 5" descr="HD-ShadowLong.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970240"/>
            <a:ext cx="7828359" cy="321164"/>
          </a:xfrm>
          <a:prstGeom prst="rect">
            <a:avLst/>
          </a:prstGeom>
        </p:spPr>
      </p:pic>
      <p:pic>
        <p:nvPicPr>
          <p:cNvPr id="7" name="Picture 6" descr="HD-ShadowShor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39370" y="1971234"/>
            <a:ext cx="1202248" cy="144270"/>
          </a:xfrm>
          <a:prstGeom prst="rect">
            <a:avLst/>
          </a:prstGeom>
        </p:spPr>
      </p:pic>
      <p:sp>
        <p:nvSpPr>
          <p:cNvPr id="138" name="Text Placeholder 137"/>
          <p:cNvSpPr>
            <a:spLocks noGrp="1"/>
          </p:cNvSpPr>
          <p:nvPr>
            <p:ph type="body" sz="quarter" idx="10" hasCustomPrompt="1"/>
          </p:nvPr>
        </p:nvSpPr>
        <p:spPr>
          <a:xfrm rot="16200000">
            <a:off x="-17096" y="6123620"/>
            <a:ext cx="980414" cy="274320"/>
          </a:xfrm>
        </p:spPr>
        <p:txBody>
          <a:bodyPr anchor="ctr">
            <a:noAutofit/>
          </a:bodyPr>
          <a:lstStyle>
            <a:lvl1pPr marL="0" indent="0" algn="ctr">
              <a:buNone/>
              <a:defRPr sz="1800" b="1" spc="300">
                <a:effectLst/>
              </a:defRPr>
            </a:lvl1pPr>
            <a:lvl2pPr marL="0" indent="0">
              <a:buNone/>
              <a:defRPr sz="1800"/>
            </a:lvl2pPr>
            <a:lvl3pPr marL="0" indent="0">
              <a:buNone/>
              <a:defRPr sz="1800"/>
            </a:lvl3pPr>
            <a:lvl4pPr marL="0" indent="0">
              <a:buNone/>
              <a:defRPr sz="1800"/>
            </a:lvl4pPr>
            <a:lvl5pPr marL="0" indent="0">
              <a:buNone/>
              <a:defRPr sz="1800"/>
            </a:lvl5pPr>
          </a:lstStyle>
          <a:p>
            <a:pPr lvl="0"/>
            <a:r>
              <a:rPr lang="en-US" smtClean="0"/>
              <a:t>YEAR</a:t>
            </a:r>
            <a:endParaRPr lang="en-US"/>
          </a:p>
        </p:txBody>
      </p:sp>
      <p:sp>
        <p:nvSpPr>
          <p:cNvPr id="139" name="Text Placeholder 137"/>
          <p:cNvSpPr>
            <a:spLocks noGrp="1"/>
          </p:cNvSpPr>
          <p:nvPr>
            <p:ph type="body" sz="quarter" idx="11" hasCustomPrompt="1"/>
          </p:nvPr>
        </p:nvSpPr>
        <p:spPr>
          <a:xfrm rot="16200000">
            <a:off x="2247811" y="6123620"/>
            <a:ext cx="980414" cy="274320"/>
          </a:xfrm>
        </p:spPr>
        <p:txBody>
          <a:bodyPr anchor="ctr">
            <a:noAutofit/>
          </a:bodyPr>
          <a:lstStyle>
            <a:lvl1pPr marL="0" indent="0" algn="ctr">
              <a:buNone/>
              <a:defRPr sz="1800" b="1" spc="300">
                <a:effectLst/>
              </a:defRPr>
            </a:lvl1pPr>
            <a:lvl2pPr marL="0" indent="0">
              <a:buNone/>
              <a:defRPr sz="1800"/>
            </a:lvl2pPr>
            <a:lvl3pPr marL="0" indent="0">
              <a:buNone/>
              <a:defRPr sz="1800"/>
            </a:lvl3pPr>
            <a:lvl4pPr marL="0" indent="0">
              <a:buNone/>
              <a:defRPr sz="1800"/>
            </a:lvl4pPr>
            <a:lvl5pPr marL="0" indent="0">
              <a:buNone/>
              <a:defRPr sz="1800"/>
            </a:lvl5pPr>
          </a:lstStyle>
          <a:p>
            <a:pPr lvl="0"/>
            <a:r>
              <a:rPr lang="en-US" smtClean="0"/>
              <a:t>YEAR</a:t>
            </a:r>
            <a:endParaRPr lang="en-US"/>
          </a:p>
        </p:txBody>
      </p:sp>
      <p:sp>
        <p:nvSpPr>
          <p:cNvPr id="140" name="Text Placeholder 137"/>
          <p:cNvSpPr>
            <a:spLocks noGrp="1"/>
          </p:cNvSpPr>
          <p:nvPr>
            <p:ph type="body" sz="quarter" idx="12" hasCustomPrompt="1"/>
          </p:nvPr>
        </p:nvSpPr>
        <p:spPr>
          <a:xfrm rot="16200000">
            <a:off x="4543844" y="6123620"/>
            <a:ext cx="980414" cy="274320"/>
          </a:xfrm>
        </p:spPr>
        <p:txBody>
          <a:bodyPr anchor="ctr">
            <a:noAutofit/>
          </a:bodyPr>
          <a:lstStyle>
            <a:lvl1pPr marL="0" indent="0" algn="ctr">
              <a:buNone/>
              <a:defRPr sz="1800" b="1" spc="300">
                <a:effectLst/>
              </a:defRPr>
            </a:lvl1pPr>
            <a:lvl2pPr marL="0" indent="0">
              <a:buNone/>
              <a:defRPr sz="1800"/>
            </a:lvl2pPr>
            <a:lvl3pPr marL="0" indent="0">
              <a:buNone/>
              <a:defRPr sz="1800"/>
            </a:lvl3pPr>
            <a:lvl4pPr marL="0" indent="0">
              <a:buNone/>
              <a:defRPr sz="1800"/>
            </a:lvl4pPr>
            <a:lvl5pPr marL="0" indent="0">
              <a:buNone/>
              <a:defRPr sz="1800"/>
            </a:lvl5pPr>
          </a:lstStyle>
          <a:p>
            <a:pPr lvl="0"/>
            <a:r>
              <a:rPr lang="en-US" smtClean="0"/>
              <a:t>YEAR</a:t>
            </a:r>
            <a:endParaRPr lang="en-US"/>
          </a:p>
        </p:txBody>
      </p:sp>
      <p:sp>
        <p:nvSpPr>
          <p:cNvPr id="141" name="Text Placeholder 137"/>
          <p:cNvSpPr>
            <a:spLocks noGrp="1"/>
          </p:cNvSpPr>
          <p:nvPr>
            <p:ph type="body" sz="quarter" idx="13" hasCustomPrompt="1"/>
          </p:nvPr>
        </p:nvSpPr>
        <p:spPr>
          <a:xfrm rot="16200000">
            <a:off x="6830176" y="6123620"/>
            <a:ext cx="980414" cy="274320"/>
          </a:xfrm>
        </p:spPr>
        <p:txBody>
          <a:bodyPr anchor="ctr">
            <a:noAutofit/>
          </a:bodyPr>
          <a:lstStyle>
            <a:lvl1pPr marL="0" indent="0" algn="ctr">
              <a:buNone/>
              <a:defRPr sz="1800" b="1" spc="300">
                <a:effectLst/>
              </a:defRPr>
            </a:lvl1pPr>
            <a:lvl2pPr marL="0" indent="0">
              <a:buNone/>
              <a:defRPr sz="1800"/>
            </a:lvl2pPr>
            <a:lvl3pPr marL="0" indent="0">
              <a:buNone/>
              <a:defRPr sz="1800"/>
            </a:lvl3pPr>
            <a:lvl4pPr marL="0" indent="0">
              <a:buNone/>
              <a:defRPr sz="1800"/>
            </a:lvl4pPr>
            <a:lvl5pPr marL="0" indent="0">
              <a:buNone/>
              <a:defRPr sz="1800"/>
            </a:lvl5pPr>
          </a:lstStyle>
          <a:p>
            <a:pPr lvl="0"/>
            <a:r>
              <a:rPr lang="en-US" smtClean="0"/>
              <a:t>YEAR</a:t>
            </a:r>
            <a:endParaRPr lang="en-US"/>
          </a:p>
        </p:txBody>
      </p:sp>
      <p:sp>
        <p:nvSpPr>
          <p:cNvPr id="177" name="Text Placeholder 174"/>
          <p:cNvSpPr>
            <a:spLocks noGrp="1"/>
          </p:cNvSpPr>
          <p:nvPr>
            <p:ph type="body" sz="quarter" idx="29" hasCustomPrompt="1"/>
          </p:nvPr>
        </p:nvSpPr>
        <p:spPr>
          <a:xfrm>
            <a:off x="632846" y="3653736"/>
            <a:ext cx="994410" cy="2290486"/>
          </a:xfrm>
          <a:blipFill>
            <a:blip r:embed="rId4" cstate="print"/>
            <a:srcRect/>
            <a:stretch>
              <a:fillRect t="-2" b="-87334"/>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Mon Year</a:t>
            </a:r>
          </a:p>
          <a:p>
            <a:pPr lvl="1"/>
            <a:r>
              <a:rPr lang="en-US" smtClean="0"/>
              <a:t>Add event details here</a:t>
            </a:r>
          </a:p>
        </p:txBody>
      </p:sp>
      <p:sp>
        <p:nvSpPr>
          <p:cNvPr id="176" name="Text Placeholder 174"/>
          <p:cNvSpPr>
            <a:spLocks noGrp="1"/>
          </p:cNvSpPr>
          <p:nvPr>
            <p:ph type="body" sz="quarter" idx="28" hasCustomPrompt="1"/>
          </p:nvPr>
        </p:nvSpPr>
        <p:spPr>
          <a:xfrm>
            <a:off x="2096060" y="2973492"/>
            <a:ext cx="994410" cy="2970730"/>
          </a:xfrm>
          <a:blipFill>
            <a:blip r:embed="rId5" cstate="print"/>
            <a:srcRect/>
            <a:stretch>
              <a:fillRect t="-4" b="-44435"/>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Mon Year</a:t>
            </a:r>
          </a:p>
          <a:p>
            <a:pPr lvl="1"/>
            <a:r>
              <a:rPr lang="en-US" smtClean="0"/>
              <a:t>Add event details here</a:t>
            </a:r>
          </a:p>
        </p:txBody>
      </p:sp>
      <p:sp>
        <p:nvSpPr>
          <p:cNvPr id="175" name="Text Placeholder 174"/>
          <p:cNvSpPr>
            <a:spLocks noGrp="1"/>
          </p:cNvSpPr>
          <p:nvPr>
            <p:ph type="body" sz="quarter" idx="27" hasCustomPrompt="1"/>
          </p:nvPr>
        </p:nvSpPr>
        <p:spPr>
          <a:xfrm>
            <a:off x="3466415" y="2281258"/>
            <a:ext cx="994410" cy="3662964"/>
          </a:xfrm>
          <a:blipFill>
            <a:blip r:embed="rId6" cstate="print"/>
            <a:srcRect/>
            <a:stretch>
              <a:fillRect t="-3" b="-17141"/>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Mon Year</a:t>
            </a:r>
          </a:p>
          <a:p>
            <a:pPr lvl="1"/>
            <a:r>
              <a:rPr lang="en-US" smtClean="0"/>
              <a:t>Add event details here</a:t>
            </a:r>
          </a:p>
        </p:txBody>
      </p:sp>
      <p:sp>
        <p:nvSpPr>
          <p:cNvPr id="178" name="Text Placeholder 174"/>
          <p:cNvSpPr>
            <a:spLocks noGrp="1"/>
          </p:cNvSpPr>
          <p:nvPr>
            <p:ph type="body" sz="quarter" idx="30" hasCustomPrompt="1"/>
          </p:nvPr>
        </p:nvSpPr>
        <p:spPr>
          <a:xfrm>
            <a:off x="4556817" y="3661974"/>
            <a:ext cx="994410" cy="2282248"/>
          </a:xfrm>
          <a:blipFill>
            <a:blip r:embed="rId4" cstate="print"/>
            <a:srcRect/>
            <a:stretch>
              <a:fillRect t="-1" b="-88011"/>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Mon Year</a:t>
            </a:r>
          </a:p>
          <a:p>
            <a:pPr lvl="1"/>
            <a:r>
              <a:rPr lang="en-US" smtClean="0"/>
              <a:t>Add event details here</a:t>
            </a:r>
          </a:p>
        </p:txBody>
      </p:sp>
      <p:sp>
        <p:nvSpPr>
          <p:cNvPr id="179" name="Text Placeholder 174"/>
          <p:cNvSpPr>
            <a:spLocks noGrp="1"/>
          </p:cNvSpPr>
          <p:nvPr>
            <p:ph type="body" sz="quarter" idx="31" hasCustomPrompt="1"/>
          </p:nvPr>
        </p:nvSpPr>
        <p:spPr>
          <a:xfrm>
            <a:off x="6027185" y="2969022"/>
            <a:ext cx="994410" cy="2975201"/>
          </a:xfrm>
          <a:blipFill>
            <a:blip r:embed="rId5" cstate="print"/>
            <a:srcRect/>
            <a:stretch>
              <a:fillRect t="-4" b="-44219"/>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Mon Year</a:t>
            </a:r>
          </a:p>
          <a:p>
            <a:pPr lvl="1"/>
            <a:r>
              <a:rPr lang="en-US" smtClean="0"/>
              <a:t>Add event details here</a:t>
            </a:r>
          </a:p>
        </p:txBody>
      </p:sp>
      <p:sp>
        <p:nvSpPr>
          <p:cNvPr id="180" name="Text Placeholder 174"/>
          <p:cNvSpPr>
            <a:spLocks noGrp="1"/>
          </p:cNvSpPr>
          <p:nvPr>
            <p:ph type="body" sz="quarter" idx="32" hasCustomPrompt="1"/>
          </p:nvPr>
        </p:nvSpPr>
        <p:spPr>
          <a:xfrm>
            <a:off x="7579708" y="2281258"/>
            <a:ext cx="994410" cy="3662964"/>
          </a:xfrm>
          <a:blipFill>
            <a:blip r:embed="rId6" cstate="print"/>
            <a:srcRect/>
            <a:stretch>
              <a:fillRect t="-3" b="-17141"/>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Mon Year</a:t>
            </a:r>
          </a:p>
          <a:p>
            <a:pPr lvl="1"/>
            <a:r>
              <a:rPr lang="en-US" smtClean="0"/>
              <a:t>Add event details here</a:t>
            </a:r>
          </a:p>
        </p:txBody>
      </p:sp>
    </p:spTree>
    <p:extLst>
      <p:ext uri="{BB962C8B-B14F-4D97-AF65-F5344CB8AC3E}">
        <p14:creationId xmlns:p14="http://schemas.microsoft.com/office/powerpoint/2010/main" val="314161651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7EDA75B2-AEB9-44EE-9C3B-8B43FB99AEA6}"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E07ED91A-D947-41CC-856F-CD7B04B272CA}" type="slidenum">
              <a:rPr lang="en-US" altLang="en-US" smtClean="0"/>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690" y="4407439"/>
            <a:ext cx="7772703"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690" y="2906713"/>
            <a:ext cx="7772703"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1352D43D-6A35-4B24-A404-B29387A10E6F}" type="slidenum">
              <a:rPr lang="en-US" altLang="en-US" smtClean="0"/>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76465" y="1300170"/>
            <a:ext cx="4122964" cy="49482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4841" y="1300170"/>
            <a:ext cx="4122965" cy="49482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CCFEA289-A159-4C86-9B03-5871942341E1}" type="slidenum">
              <a:rPr lang="en-US" altLang="en-US" smtClean="0"/>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605" y="274638"/>
            <a:ext cx="823081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595" y="1535113"/>
            <a:ext cx="404132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595" y="2174875"/>
            <a:ext cx="404132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4841" y="1535113"/>
            <a:ext cx="40428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4841" y="2174875"/>
            <a:ext cx="40428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9242DA14-8C2C-4369-AB1F-5D62481627BF}" type="slidenum">
              <a:rPr lang="en-US" altLang="en-US" smtClean="0"/>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7EDA75B2-AEB9-44EE-9C3B-8B43FB99AEA6}" type="slidenum">
              <a:rPr lang="en-US" altLang="en-US" smtClean="0"/>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5C0AD792-4C06-4555-9195-450D724F5490}" type="slidenum">
              <a:rPr lang="en-US" altLang="en-US" smtClean="0"/>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605" y="273050"/>
            <a:ext cx="3008690"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655" y="27352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605" y="1435103"/>
            <a:ext cx="300869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134AC33E-1702-4DE2-8E1D-738076B6C579}" type="slidenum">
              <a:rPr lang="en-US" altLang="en-US" smtClean="0"/>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608" y="4800600"/>
            <a:ext cx="5486702"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1608" y="612775"/>
            <a:ext cx="5486702"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791608" y="5367338"/>
            <a:ext cx="548670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0A82AA8E-3D09-4E6A-92CF-1FB5FC83CBA3}" type="slidenum">
              <a:rPr lang="en-US" altLang="en-US" smtClean="0"/>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BAD10719-4019-4625-A15D-5AB085EFB79A}" type="slidenum">
              <a:rPr lang="en-US" altLang="en-US" smtClean="0"/>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8225" y="152400"/>
            <a:ext cx="2127250" cy="6096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76656" y="152400"/>
            <a:ext cx="6236607" cy="6096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E0607BEF-01F9-4857-BF31-D91C7B240762}" type="slidenum">
              <a:rPr lang="en-US" altLang="en-US" smtClean="0"/>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5C0AD792-4C06-4555-9195-450D724F5490}"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bl">
  <p:cSld name="Title and Table">
    <p:spTree>
      <p:nvGrpSpPr>
        <p:cNvPr id="1" name=""/>
        <p:cNvGrpSpPr/>
        <p:nvPr/>
      </p:nvGrpSpPr>
      <p:grpSpPr>
        <a:xfrm>
          <a:off x="0" y="0"/>
          <a:ext cx="0" cy="0"/>
          <a:chOff x="0" y="0"/>
          <a:chExt cx="0" cy="0"/>
        </a:xfrm>
      </p:grpSpPr>
      <p:graphicFrame>
        <p:nvGraphicFramePr>
          <p:cNvPr id="4" name="Rectangle 11" hidden="1"/>
          <p:cNvGraphicFramePr>
            <a:graphicFrameLocks/>
          </p:cNvGraphicFramePr>
          <p:nvPr>
            <p:custDataLst>
              <p:tags r:id="rId2"/>
            </p:custDataLst>
          </p:nvPr>
        </p:nvGraphicFramePr>
        <p:xfrm>
          <a:off x="-1476" y="0"/>
          <a:ext cx="151191" cy="158750"/>
        </p:xfrm>
        <a:graphic>
          <a:graphicData uri="http://schemas.openxmlformats.org/presentationml/2006/ole">
            <mc:AlternateContent xmlns:mc="http://schemas.openxmlformats.org/markup-compatibility/2006">
              <mc:Choice xmlns:v="urn:schemas-microsoft-com:vml" Requires="v">
                <p:oleObj spid="_x0000_s73118" r:id="rId6" imgW="0" imgH="0" progId="">
                  <p:embed/>
                </p:oleObj>
              </mc:Choice>
              <mc:Fallback>
                <p:oleObj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476" y="0"/>
                        <a:ext cx="15119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0" descr="WhitePage_1"/>
          <p:cNvPicPr>
            <a:picLocks noChangeAspect="1" noChangeArrowheads="1"/>
          </p:cNvPicPr>
          <p:nvPr/>
        </p:nvPicPr>
        <p:blipFill>
          <a:blip r:embed="rId7" cstate="print"/>
          <a:srcRect/>
          <a:stretch>
            <a:fillRect/>
          </a:stretch>
        </p:blipFill>
        <p:spPr bwMode="auto">
          <a:xfrm>
            <a:off x="0" y="0"/>
            <a:ext cx="9144000" cy="6858000"/>
          </a:xfrm>
          <a:prstGeom prst="rect">
            <a:avLst/>
          </a:prstGeom>
          <a:noFill/>
          <a:ln w="9525">
            <a:noFill/>
            <a:miter lim="800000"/>
            <a:headEnd/>
            <a:tailEnd/>
          </a:ln>
        </p:spPr>
      </p:pic>
      <p:sp>
        <p:nvSpPr>
          <p:cNvPr id="6" name="doc id"/>
          <p:cNvSpPr>
            <a:spLocks noChangeArrowheads="1"/>
          </p:cNvSpPr>
          <p:nvPr>
            <p:custDataLst>
              <p:tags r:id="rId3"/>
            </p:custDataLst>
          </p:nvPr>
        </p:nvSpPr>
        <p:spPr bwMode="gray">
          <a:xfrm>
            <a:off x="217984" y="6597650"/>
            <a:ext cx="7926917" cy="107950"/>
          </a:xfrm>
          <a:prstGeom prst="rect">
            <a:avLst/>
          </a:prstGeom>
          <a:noFill/>
          <a:ln w="9525" algn="ctr">
            <a:noFill/>
            <a:miter lim="800000"/>
            <a:headEnd/>
            <a:tailEnd/>
          </a:ln>
          <a:effectLst/>
        </p:spPr>
        <p:txBody>
          <a:bodyPr lIns="0" tIns="0" rIns="0" bIns="0" anchor="b">
            <a:spAutoFit/>
          </a:bodyPr>
          <a:lstStyle/>
          <a:p>
            <a:pPr defTabSz="912813">
              <a:defRPr/>
            </a:pPr>
            <a:r>
              <a:rPr lang="en-US" sz="700">
                <a:solidFill>
                  <a:srgbClr val="007CC2"/>
                </a:solidFill>
                <a:latin typeface="Arial" charset="0"/>
              </a:rPr>
              <a:t>Confidential and Internal to Pfizer - subject to works council and/or union consultations and other legal requirements.</a:t>
            </a:r>
          </a:p>
        </p:txBody>
      </p:sp>
      <p:sp>
        <p:nvSpPr>
          <p:cNvPr id="2" name="Title 1"/>
          <p:cNvSpPr>
            <a:spLocks noGrp="1"/>
          </p:cNvSpPr>
          <p:nvPr>
            <p:ph type="title"/>
          </p:nvPr>
        </p:nvSpPr>
        <p:spPr>
          <a:xfrm>
            <a:off x="2565703" y="152400"/>
            <a:ext cx="6319762" cy="711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76727" y="1300170"/>
            <a:ext cx="8391071" cy="4948237"/>
          </a:xfrm>
        </p:spPr>
        <p:txBody>
          <a:bodyPr/>
          <a:lstStyle/>
          <a:p>
            <a:pPr lvl="0"/>
            <a:r>
              <a:rPr lang="en-US" noProof="0" smtClean="0"/>
              <a:t>Click icon to add table</a:t>
            </a:r>
            <a:endParaRPr lang="en-US" noProof="0"/>
          </a:p>
        </p:txBody>
      </p:sp>
      <p:sp>
        <p:nvSpPr>
          <p:cNvPr id="7" name="Slide Number Placeholder 3"/>
          <p:cNvSpPr>
            <a:spLocks noGrp="1"/>
          </p:cNvSpPr>
          <p:nvPr>
            <p:ph type="sldNum" sz="quarter" idx="10"/>
          </p:nvPr>
        </p:nvSpPr>
        <p:spPr>
          <a:xfrm>
            <a:off x="8548310" y="6688677"/>
            <a:ext cx="355298" cy="122237"/>
          </a:xfrm>
        </p:spPr>
        <p:txBody>
          <a:bodyPr/>
          <a:lstStyle>
            <a:lvl1pPr>
              <a:defRPr/>
            </a:lvl1pPr>
          </a:lstStyle>
          <a:p>
            <a:pPr>
              <a:defRPr/>
            </a:pPr>
            <a:fld id="{AE280E88-2BA8-4B7C-9461-5FDC4B1DDC91}" type="slidenum">
              <a:rPr lang="en-US" altLang="en-US" smtClean="0"/>
              <a:pPr>
                <a:defRPr/>
              </a:pPr>
              <a:t>‹#›</a:t>
            </a:fld>
            <a:endParaRPr lang="en-US" altLang="en-US"/>
          </a:p>
        </p:txBody>
      </p:sp>
      <p:pic>
        <p:nvPicPr>
          <p:cNvPr id="8" name="Picture 50" descr="WhitePage_1"/>
          <p:cNvPicPr>
            <a:picLocks noChangeAspect="1" noChangeArrowheads="1"/>
          </p:cNvPicPr>
          <p:nvPr userDrawn="1"/>
        </p:nvPicPr>
        <p:blipFill>
          <a:blip r:embed="rId8" cstate="print"/>
          <a:srcRect/>
          <a:stretch>
            <a:fillRect/>
          </a:stretch>
        </p:blipFill>
        <p:spPr bwMode="auto">
          <a:xfrm>
            <a:off x="0" y="0"/>
            <a:ext cx="9144000" cy="6858000"/>
          </a:xfrm>
          <a:prstGeom prst="rect">
            <a:avLst/>
          </a:prstGeom>
          <a:noFill/>
          <a:ln w="9525">
            <a:noFill/>
            <a:miter lim="800000"/>
            <a:headEnd/>
            <a:tailEnd/>
          </a:ln>
        </p:spPr>
      </p:pic>
      <p:sp>
        <p:nvSpPr>
          <p:cNvPr id="9" name="doc id"/>
          <p:cNvSpPr>
            <a:spLocks noChangeArrowheads="1"/>
          </p:cNvSpPr>
          <p:nvPr userDrawn="1">
            <p:custDataLst>
              <p:tags r:id="rId4"/>
            </p:custDataLst>
          </p:nvPr>
        </p:nvSpPr>
        <p:spPr bwMode="gray">
          <a:xfrm>
            <a:off x="217488" y="6597650"/>
            <a:ext cx="7927975" cy="107950"/>
          </a:xfrm>
          <a:prstGeom prst="rect">
            <a:avLst/>
          </a:prstGeom>
          <a:noFill/>
          <a:ln w="9525" algn="ctr">
            <a:noFill/>
            <a:miter lim="800000"/>
            <a:headEnd/>
            <a:tailEnd/>
          </a:ln>
          <a:effectLst/>
        </p:spPr>
        <p:txBody>
          <a:bodyPr lIns="0" tIns="0" rIns="0" bIns="0" anchor="b">
            <a:spAutoFit/>
          </a:bodyPr>
          <a:lstStyle/>
          <a:p>
            <a:pPr defTabSz="912813">
              <a:defRPr/>
            </a:pPr>
            <a:r>
              <a:rPr lang="en-US" sz="700">
                <a:solidFill>
                  <a:srgbClr val="007CC2"/>
                </a:solidFill>
                <a:cs typeface="+mn-cs"/>
              </a:rPr>
              <a:t>Confidential and Internal to Pfizer - subject to works council and/or union consultations and other legal requirements.</a:t>
            </a:r>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12_Title Slide">
    <p:spTree>
      <p:nvGrpSpPr>
        <p:cNvPr id="1" name=""/>
        <p:cNvGrpSpPr/>
        <p:nvPr/>
      </p:nvGrpSpPr>
      <p:grpSpPr>
        <a:xfrm>
          <a:off x="0" y="0"/>
          <a:ext cx="0" cy="0"/>
          <a:chOff x="0" y="0"/>
          <a:chExt cx="0" cy="0"/>
        </a:xfrm>
      </p:grpSpPr>
      <p:pic>
        <p:nvPicPr>
          <p:cNvPr id="2" name="Picture 9" descr="WhitePage_1a"/>
          <p:cNvPicPr>
            <a:picLocks noChangeAspect="1" noChangeArrowheads="1"/>
          </p:cNvPicPr>
          <p:nvPr/>
        </p:nvPicPr>
        <p:blipFill>
          <a:blip r:embed="rId3" cstate="print"/>
          <a:srcRect b="82222"/>
          <a:stretch>
            <a:fillRect/>
          </a:stretch>
        </p:blipFill>
        <p:spPr bwMode="auto">
          <a:xfrm>
            <a:off x="0" y="0"/>
            <a:ext cx="9144000" cy="1219200"/>
          </a:xfrm>
          <a:prstGeom prst="rect">
            <a:avLst/>
          </a:prstGeom>
          <a:noFill/>
        </p:spPr>
      </p:pic>
      <p:sp>
        <p:nvSpPr>
          <p:cNvPr id="4" name="pg num"/>
          <p:cNvSpPr>
            <a:spLocks noGrp="1" noChangeArrowheads="1"/>
          </p:cNvSpPr>
          <p:nvPr>
            <p:ph type="sldNum" sz="quarter" idx="10"/>
            <p:custDataLst>
              <p:tags r:id="rId1"/>
            </p:custDataLst>
          </p:nvPr>
        </p:nvSpPr>
        <p:spPr/>
        <p:txBody>
          <a:bodyPr/>
          <a:lstStyle>
            <a:lvl1pPr>
              <a:defRPr/>
            </a:lvl1pPr>
          </a:lstStyle>
          <a:p>
            <a:pPr>
              <a:defRPr/>
            </a:pPr>
            <a:fld id="{A3FCBC10-4179-4BBD-BB20-FF60559BA489}" type="slidenum">
              <a:rPr lang="en-US" altLang="en-US" smtClean="0"/>
              <a:pPr>
                <a:defRPr/>
              </a:pPr>
              <a:t>‹#›</a:t>
            </a:fld>
            <a:endParaRPr lang="en-US" altLang="en-US"/>
          </a:p>
        </p:txBody>
      </p:sp>
      <p:sp>
        <p:nvSpPr>
          <p:cNvPr id="10" name="Text Placeholder 11"/>
          <p:cNvSpPr>
            <a:spLocks noGrp="1"/>
          </p:cNvSpPr>
          <p:nvPr>
            <p:ph type="body" sz="quarter" idx="17" hasCustomPrompt="1"/>
          </p:nvPr>
        </p:nvSpPr>
        <p:spPr>
          <a:xfrm>
            <a:off x="442999" y="1506547"/>
            <a:ext cx="8265582" cy="4589461"/>
          </a:xfrm>
        </p:spPr>
        <p:txBody>
          <a:bodyPr/>
          <a:lstStyle>
            <a:lvl1pPr>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itle 13"/>
          <p:cNvSpPr>
            <a:spLocks noGrp="1"/>
          </p:cNvSpPr>
          <p:nvPr>
            <p:ph type="title" hasCustomPrompt="1"/>
          </p:nvPr>
        </p:nvSpPr>
        <p:spPr>
          <a:xfrm>
            <a:off x="297543" y="121920"/>
            <a:ext cx="6016171" cy="906780"/>
          </a:xfrm>
        </p:spPr>
        <p:txBody>
          <a:bodyPr/>
          <a:lstStyle>
            <a:lvl1pPr>
              <a:defRPr>
                <a:solidFill>
                  <a:schemeClr val="bg1"/>
                </a:solidFill>
              </a:defRPr>
            </a:lvl1pPr>
          </a:lstStyle>
          <a:p>
            <a:r>
              <a:rPr lang="en-US" dirty="0" smtClean="0"/>
              <a:t>Click to add title</a:t>
            </a:r>
            <a:endParaRPr lang="en-US" dirty="0"/>
          </a:p>
        </p:txBody>
      </p:sp>
      <p:pic>
        <p:nvPicPr>
          <p:cNvPr id="6" name="Picture 9" descr="WhitePage_1a"/>
          <p:cNvPicPr>
            <a:picLocks noChangeAspect="1" noChangeArrowheads="1"/>
          </p:cNvPicPr>
          <p:nvPr userDrawn="1"/>
        </p:nvPicPr>
        <p:blipFill>
          <a:blip r:embed="rId3" cstate="print"/>
          <a:srcRect b="82222"/>
          <a:stretch>
            <a:fillRect/>
          </a:stretch>
        </p:blipFill>
        <p:spPr bwMode="auto">
          <a:xfrm>
            <a:off x="0" y="0"/>
            <a:ext cx="9144000" cy="1219200"/>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15_Title Slide">
    <p:spTree>
      <p:nvGrpSpPr>
        <p:cNvPr id="1" name=""/>
        <p:cNvGrpSpPr/>
        <p:nvPr/>
      </p:nvGrpSpPr>
      <p:grpSpPr>
        <a:xfrm>
          <a:off x="0" y="0"/>
          <a:ext cx="0" cy="0"/>
          <a:chOff x="0" y="0"/>
          <a:chExt cx="0" cy="0"/>
        </a:xfrm>
      </p:grpSpPr>
      <p:pic>
        <p:nvPicPr>
          <p:cNvPr id="2" name="Picture 9" descr="WhitePage_1a"/>
          <p:cNvPicPr>
            <a:picLocks noChangeAspect="1" noChangeArrowheads="1"/>
          </p:cNvPicPr>
          <p:nvPr/>
        </p:nvPicPr>
        <p:blipFill>
          <a:blip r:embed="rId3" cstate="print"/>
          <a:srcRect b="82222"/>
          <a:stretch>
            <a:fillRect/>
          </a:stretch>
        </p:blipFill>
        <p:spPr bwMode="auto">
          <a:xfrm>
            <a:off x="0" y="0"/>
            <a:ext cx="9144000" cy="1219200"/>
          </a:xfrm>
          <a:prstGeom prst="rect">
            <a:avLst/>
          </a:prstGeom>
          <a:noFill/>
        </p:spPr>
      </p:pic>
      <p:sp>
        <p:nvSpPr>
          <p:cNvPr id="4" name="pg num"/>
          <p:cNvSpPr>
            <a:spLocks noGrp="1" noChangeArrowheads="1"/>
          </p:cNvSpPr>
          <p:nvPr>
            <p:ph type="sldNum" sz="quarter" idx="10"/>
            <p:custDataLst>
              <p:tags r:id="rId1"/>
            </p:custDataLst>
          </p:nvPr>
        </p:nvSpPr>
        <p:spPr/>
        <p:txBody>
          <a:bodyPr/>
          <a:lstStyle>
            <a:lvl1pPr>
              <a:defRPr/>
            </a:lvl1pPr>
          </a:lstStyle>
          <a:p>
            <a:pPr>
              <a:defRPr/>
            </a:pPr>
            <a:fld id="{857139A0-71AB-4319-B32B-7830310B9084}" type="slidenum">
              <a:rPr lang="en-US" altLang="en-US" smtClean="0"/>
              <a:pPr>
                <a:defRPr/>
              </a:pPr>
              <a:t>‹#›</a:t>
            </a:fld>
            <a:endParaRPr lang="en-US" altLang="en-US"/>
          </a:p>
        </p:txBody>
      </p:sp>
      <p:sp>
        <p:nvSpPr>
          <p:cNvPr id="10" name="Text Placeholder 11"/>
          <p:cNvSpPr>
            <a:spLocks noGrp="1"/>
          </p:cNvSpPr>
          <p:nvPr>
            <p:ph type="body" sz="quarter" idx="17" hasCustomPrompt="1"/>
          </p:nvPr>
        </p:nvSpPr>
        <p:spPr>
          <a:xfrm>
            <a:off x="442999" y="1506547"/>
            <a:ext cx="8265582" cy="4589461"/>
          </a:xfrm>
        </p:spPr>
        <p:txBody>
          <a:bodyPr/>
          <a:lstStyle>
            <a:lvl1pPr>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itle 13"/>
          <p:cNvSpPr>
            <a:spLocks noGrp="1"/>
          </p:cNvSpPr>
          <p:nvPr>
            <p:ph type="title" hasCustomPrompt="1"/>
          </p:nvPr>
        </p:nvSpPr>
        <p:spPr>
          <a:xfrm>
            <a:off x="297543" y="121920"/>
            <a:ext cx="6016171" cy="906780"/>
          </a:xfrm>
        </p:spPr>
        <p:txBody>
          <a:bodyPr/>
          <a:lstStyle>
            <a:lvl1pPr>
              <a:defRPr>
                <a:solidFill>
                  <a:schemeClr val="bg1"/>
                </a:solidFill>
              </a:defRPr>
            </a:lvl1pPr>
          </a:lstStyle>
          <a:p>
            <a:r>
              <a:rPr lang="en-US" dirty="0" smtClean="0"/>
              <a:t>Click to add title</a:t>
            </a:r>
            <a:endParaRPr lang="en-US" dirty="0"/>
          </a:p>
        </p:txBody>
      </p:sp>
      <p:pic>
        <p:nvPicPr>
          <p:cNvPr id="6" name="Picture 9" descr="WhitePage_1a"/>
          <p:cNvPicPr>
            <a:picLocks noChangeAspect="1" noChangeArrowheads="1"/>
          </p:cNvPicPr>
          <p:nvPr userDrawn="1"/>
        </p:nvPicPr>
        <p:blipFill>
          <a:blip r:embed="rId3" cstate="print"/>
          <a:srcRect b="82222"/>
          <a:stretch>
            <a:fillRect/>
          </a:stretch>
        </p:blipFill>
        <p:spPr bwMode="auto">
          <a:xfrm>
            <a:off x="0" y="0"/>
            <a:ext cx="9144000" cy="1219200"/>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pic>
        <p:nvPicPr>
          <p:cNvPr id="2" name="Picture 9" descr="WhitePage_1a"/>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3" name="pg num"/>
          <p:cNvSpPr>
            <a:spLocks noGrp="1" noChangeArrowheads="1"/>
          </p:cNvSpPr>
          <p:nvPr>
            <p:ph type="sldNum" sz="quarter" idx="10"/>
            <p:custDataLst>
              <p:tags r:id="rId1"/>
            </p:custDataLst>
          </p:nvPr>
        </p:nvSpPr>
        <p:spPr>
          <a:xfrm>
            <a:off x="6553200" y="6506339"/>
            <a:ext cx="2133600" cy="123111"/>
          </a:xfrm>
        </p:spPr>
        <p:txBody>
          <a:bodyPr/>
          <a:lstStyle>
            <a:lvl1pPr>
              <a:defRPr/>
            </a:lvl1pPr>
          </a:lstStyle>
          <a:p>
            <a:pPr>
              <a:defRPr/>
            </a:pPr>
            <a:fld id="{C0014F1D-6C81-4BF2-8460-2CC12118F536}" type="slidenum">
              <a:rPr lang="en-US" altLang="en-US" smtClean="0"/>
              <a:pPr>
                <a:defRPr/>
              </a:pPr>
              <a:t>‹#›</a:t>
            </a:fld>
            <a:endParaRPr lang="en-US" altLang="en-US" dirty="0"/>
          </a:p>
        </p:txBody>
      </p:sp>
      <p:pic>
        <p:nvPicPr>
          <p:cNvPr id="4" name="Picture 9" descr="WhitePage_1a"/>
          <p:cNvPicPr>
            <a:picLocks noChangeAspect="1" noChangeArrowheads="1"/>
          </p:cNvPicPr>
          <p:nvPr userDrawn="1"/>
        </p:nvPicPr>
        <p:blipFill>
          <a:blip r:embed="rId3" cstate="print"/>
          <a:srcRect/>
          <a:stretch>
            <a:fillRect/>
          </a:stretch>
        </p:blipFill>
        <p:spPr bwMode="auto">
          <a:xfrm>
            <a:off x="0" y="0"/>
            <a:ext cx="9144000" cy="6858000"/>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1165" cy="158750"/>
        </p:xfrm>
        <a:graphic>
          <a:graphicData uri="http://schemas.openxmlformats.org/presentationml/2006/ole">
            <mc:AlternateContent xmlns:mc="http://schemas.openxmlformats.org/markup-compatibility/2006">
              <mc:Choice xmlns:v="urn:schemas-microsoft-com:vml" Requires="v">
                <p:oleObj spid="_x0000_s7414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116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smtClean="0"/>
              <a:t>Click to edit Master title style</a:t>
            </a:r>
            <a:endParaRPr lang="en-US"/>
          </a:p>
        </p:txBody>
      </p:sp>
      <p:sp>
        <p:nvSpPr>
          <p:cNvPr id="5" name="Text Placeholder 4"/>
          <p:cNvSpPr>
            <a:spLocks noGrp="1"/>
          </p:cNvSpPr>
          <p:nvPr>
            <p:ph type="body" sz="quarter" idx="13"/>
            <p:custDataLst>
              <p:tags r:id="rId4"/>
            </p:custDataLst>
          </p:nvPr>
        </p:nvSpPr>
        <p:spPr>
          <a:xfrm>
            <a:off x="435356" y="1508400"/>
            <a:ext cx="8275203" cy="4615200"/>
          </a:xfrm>
        </p:spPr>
        <p:txBody>
          <a:bodyPr/>
          <a:lstStyle>
            <a:lvl1pPr>
              <a:defRPr/>
            </a:lvl1pPr>
            <a:lvl2pPr>
              <a:defRPr/>
            </a:lvl2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659171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meline">
    <p:spTree>
      <p:nvGrpSpPr>
        <p:cNvPr id="1" name=""/>
        <p:cNvGrpSpPr/>
        <p:nvPr/>
      </p:nvGrpSpPr>
      <p:grpSpPr>
        <a:xfrm>
          <a:off x="0" y="0"/>
          <a:ext cx="0" cy="0"/>
          <a:chOff x="0" y="0"/>
          <a:chExt cx="0" cy="0"/>
        </a:xfrm>
      </p:grpSpPr>
      <p:grpSp>
        <p:nvGrpSpPr>
          <p:cNvPr id="2" name="Group 13"/>
          <p:cNvGrpSpPr/>
          <p:nvPr/>
        </p:nvGrpSpPr>
        <p:grpSpPr>
          <a:xfrm>
            <a:off x="457200" y="2057400"/>
            <a:ext cx="8229600" cy="4800600"/>
            <a:chOff x="609600" y="0"/>
            <a:chExt cx="10972800" cy="6858000"/>
          </a:xfrm>
        </p:grpSpPr>
        <p:cxnSp>
          <p:nvCxnSpPr>
            <p:cNvPr id="15" name="Straight Connector 14"/>
            <p:cNvCxnSpPr/>
            <p:nvPr/>
          </p:nvCxnSpPr>
          <p:spPr>
            <a:xfrm>
              <a:off x="6096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2192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8288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4384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0480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6576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42672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60960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8768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54864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056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3152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79248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85344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91440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97536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03632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09728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15824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grpSp>
      <p:grpSp>
        <p:nvGrpSpPr>
          <p:cNvPr id="3" name="Group 33"/>
          <p:cNvGrpSpPr/>
          <p:nvPr/>
        </p:nvGrpSpPr>
        <p:grpSpPr>
          <a:xfrm>
            <a:off x="91440" y="5934076"/>
            <a:ext cx="8961120" cy="695325"/>
            <a:chOff x="121920" y="6553200"/>
            <a:chExt cx="11948160" cy="304800"/>
          </a:xfrm>
        </p:grpSpPr>
        <p:grpSp>
          <p:nvGrpSpPr>
            <p:cNvPr id="4" name="Group 34"/>
            <p:cNvGrpSpPr/>
            <p:nvPr/>
          </p:nvGrpSpPr>
          <p:grpSpPr>
            <a:xfrm>
              <a:off x="121920" y="6553200"/>
              <a:ext cx="5852160" cy="304800"/>
              <a:chOff x="121920" y="6553200"/>
              <a:chExt cx="5852160" cy="304800"/>
            </a:xfrm>
          </p:grpSpPr>
          <p:grpSp>
            <p:nvGrpSpPr>
              <p:cNvPr id="5" name="Group 86"/>
              <p:cNvGrpSpPr/>
              <p:nvPr/>
            </p:nvGrpSpPr>
            <p:grpSpPr>
              <a:xfrm>
                <a:off x="731520" y="6553200"/>
                <a:ext cx="365760" cy="304800"/>
                <a:chOff x="-2819400" y="0"/>
                <a:chExt cx="1828800" cy="6858000"/>
              </a:xfrm>
            </p:grpSpPr>
            <p:cxnSp>
              <p:nvCxnSpPr>
                <p:cNvPr id="133" name="Straight Connector 132"/>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roup 87"/>
              <p:cNvGrpSpPr/>
              <p:nvPr/>
            </p:nvGrpSpPr>
            <p:grpSpPr>
              <a:xfrm>
                <a:off x="1341120" y="6553200"/>
                <a:ext cx="365760" cy="304800"/>
                <a:chOff x="-2819400" y="0"/>
                <a:chExt cx="1828800" cy="6858000"/>
              </a:xfrm>
            </p:grpSpPr>
            <p:cxnSp>
              <p:nvCxnSpPr>
                <p:cNvPr id="129" name="Straight Connector 128"/>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9" name="Group 88"/>
              <p:cNvGrpSpPr/>
              <p:nvPr/>
            </p:nvGrpSpPr>
            <p:grpSpPr>
              <a:xfrm>
                <a:off x="1950720" y="6553200"/>
                <a:ext cx="365760" cy="304800"/>
                <a:chOff x="-2819400" y="0"/>
                <a:chExt cx="1828800" cy="6858000"/>
              </a:xfrm>
            </p:grpSpPr>
            <p:cxnSp>
              <p:nvCxnSpPr>
                <p:cNvPr id="125" name="Straight Connector 124"/>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10" name="Group 89"/>
              <p:cNvGrpSpPr/>
              <p:nvPr/>
            </p:nvGrpSpPr>
            <p:grpSpPr>
              <a:xfrm>
                <a:off x="2560320" y="6553200"/>
                <a:ext cx="365760" cy="304800"/>
                <a:chOff x="-2819400" y="0"/>
                <a:chExt cx="1828800" cy="6858000"/>
              </a:xfrm>
            </p:grpSpPr>
            <p:cxnSp>
              <p:nvCxnSpPr>
                <p:cNvPr id="121" name="Straight Connector 120"/>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11" name="Group 90"/>
              <p:cNvGrpSpPr/>
              <p:nvPr/>
            </p:nvGrpSpPr>
            <p:grpSpPr>
              <a:xfrm>
                <a:off x="121920" y="6553200"/>
                <a:ext cx="365760" cy="304800"/>
                <a:chOff x="-2819400" y="0"/>
                <a:chExt cx="1828800" cy="6858000"/>
              </a:xfrm>
            </p:grpSpPr>
            <p:cxnSp>
              <p:nvCxnSpPr>
                <p:cNvPr id="117" name="Straight Connector 116"/>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12" name="Group 91"/>
              <p:cNvGrpSpPr/>
              <p:nvPr/>
            </p:nvGrpSpPr>
            <p:grpSpPr>
              <a:xfrm>
                <a:off x="3779520" y="6553200"/>
                <a:ext cx="365760" cy="304800"/>
                <a:chOff x="-2819400" y="0"/>
                <a:chExt cx="1828800" cy="6858000"/>
              </a:xfrm>
            </p:grpSpPr>
            <p:cxnSp>
              <p:nvCxnSpPr>
                <p:cNvPr id="113" name="Straight Connector 112"/>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13" name="Group 92"/>
              <p:cNvGrpSpPr/>
              <p:nvPr/>
            </p:nvGrpSpPr>
            <p:grpSpPr>
              <a:xfrm>
                <a:off x="4389120" y="6553200"/>
                <a:ext cx="365760" cy="304800"/>
                <a:chOff x="-2819400" y="0"/>
                <a:chExt cx="1828800" cy="6858000"/>
              </a:xfrm>
            </p:grpSpPr>
            <p:cxnSp>
              <p:nvCxnSpPr>
                <p:cNvPr id="109" name="Straight Connector 108"/>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14" name="Group 93"/>
              <p:cNvGrpSpPr/>
              <p:nvPr/>
            </p:nvGrpSpPr>
            <p:grpSpPr>
              <a:xfrm>
                <a:off x="4998720" y="6553200"/>
                <a:ext cx="365760" cy="304800"/>
                <a:chOff x="-2819400" y="0"/>
                <a:chExt cx="1828800" cy="6858000"/>
              </a:xfrm>
            </p:grpSpPr>
            <p:cxnSp>
              <p:nvCxnSpPr>
                <p:cNvPr id="105" name="Straight Connector 104"/>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34" name="Group 94"/>
              <p:cNvGrpSpPr/>
              <p:nvPr/>
            </p:nvGrpSpPr>
            <p:grpSpPr>
              <a:xfrm>
                <a:off x="5608320" y="6553200"/>
                <a:ext cx="365760" cy="304800"/>
                <a:chOff x="-2819400" y="0"/>
                <a:chExt cx="1828800" cy="6858000"/>
              </a:xfrm>
            </p:grpSpPr>
            <p:cxnSp>
              <p:nvCxnSpPr>
                <p:cNvPr id="101" name="Straight Connector 100"/>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35" name="Group 95"/>
              <p:cNvGrpSpPr/>
              <p:nvPr/>
            </p:nvGrpSpPr>
            <p:grpSpPr>
              <a:xfrm>
                <a:off x="3169920" y="6553200"/>
                <a:ext cx="365760" cy="304800"/>
                <a:chOff x="-2819400" y="0"/>
                <a:chExt cx="1828800" cy="6858000"/>
              </a:xfrm>
            </p:grpSpPr>
            <p:cxnSp>
              <p:nvCxnSpPr>
                <p:cNvPr id="97" name="Straight Connector 96"/>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grpSp>
          <p:nvGrpSpPr>
            <p:cNvPr id="36" name="Group 35"/>
            <p:cNvGrpSpPr/>
            <p:nvPr/>
          </p:nvGrpSpPr>
          <p:grpSpPr>
            <a:xfrm>
              <a:off x="6217920" y="6553200"/>
              <a:ext cx="5852160" cy="304800"/>
              <a:chOff x="121920" y="6553200"/>
              <a:chExt cx="5852160" cy="304800"/>
            </a:xfrm>
          </p:grpSpPr>
          <p:grpSp>
            <p:nvGrpSpPr>
              <p:cNvPr id="37" name="Group 36"/>
              <p:cNvGrpSpPr/>
              <p:nvPr/>
            </p:nvGrpSpPr>
            <p:grpSpPr>
              <a:xfrm>
                <a:off x="731520" y="6553200"/>
                <a:ext cx="365760" cy="304800"/>
                <a:chOff x="-2819400" y="0"/>
                <a:chExt cx="1828800" cy="6858000"/>
              </a:xfrm>
            </p:grpSpPr>
            <p:cxnSp>
              <p:nvCxnSpPr>
                <p:cNvPr id="83" name="Straight Connector 82"/>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38" name="Group 37"/>
              <p:cNvGrpSpPr/>
              <p:nvPr/>
            </p:nvGrpSpPr>
            <p:grpSpPr>
              <a:xfrm>
                <a:off x="1341120" y="6553200"/>
                <a:ext cx="365760" cy="304800"/>
                <a:chOff x="-2819400" y="0"/>
                <a:chExt cx="1828800" cy="6858000"/>
              </a:xfrm>
            </p:grpSpPr>
            <p:cxnSp>
              <p:nvCxnSpPr>
                <p:cNvPr id="79" name="Straight Connector 78"/>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39" name="Group 38"/>
              <p:cNvGrpSpPr/>
              <p:nvPr/>
            </p:nvGrpSpPr>
            <p:grpSpPr>
              <a:xfrm>
                <a:off x="1950720" y="6553200"/>
                <a:ext cx="365760" cy="304800"/>
                <a:chOff x="-2819400" y="0"/>
                <a:chExt cx="1828800" cy="6858000"/>
              </a:xfrm>
            </p:grpSpPr>
            <p:cxnSp>
              <p:nvCxnSpPr>
                <p:cNvPr id="75" name="Straight Connector 74"/>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0" name="Group 39"/>
              <p:cNvGrpSpPr/>
              <p:nvPr/>
            </p:nvGrpSpPr>
            <p:grpSpPr>
              <a:xfrm>
                <a:off x="2560320" y="6553200"/>
                <a:ext cx="365760" cy="304800"/>
                <a:chOff x="-2819400" y="0"/>
                <a:chExt cx="1828800" cy="6858000"/>
              </a:xfrm>
            </p:grpSpPr>
            <p:cxnSp>
              <p:nvCxnSpPr>
                <p:cNvPr id="71" name="Straight Connector 70"/>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21920" y="6553200"/>
                <a:ext cx="365760" cy="304800"/>
                <a:chOff x="-2819400" y="0"/>
                <a:chExt cx="1828800" cy="6858000"/>
              </a:xfrm>
            </p:grpSpPr>
            <p:cxnSp>
              <p:nvCxnSpPr>
                <p:cNvPr id="67" name="Straight Connector 66"/>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3779520" y="6553200"/>
                <a:ext cx="365760" cy="304800"/>
                <a:chOff x="-2819400" y="0"/>
                <a:chExt cx="1828800" cy="6858000"/>
              </a:xfrm>
            </p:grpSpPr>
            <p:cxnSp>
              <p:nvCxnSpPr>
                <p:cNvPr id="63" name="Straight Connector 62"/>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4389120" y="6553200"/>
                <a:ext cx="365760" cy="304800"/>
                <a:chOff x="-2819400" y="0"/>
                <a:chExt cx="1828800" cy="6858000"/>
              </a:xfrm>
            </p:grpSpPr>
            <p:cxnSp>
              <p:nvCxnSpPr>
                <p:cNvPr id="59" name="Straight Connector 58"/>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4998720" y="6553200"/>
                <a:ext cx="365760" cy="304800"/>
                <a:chOff x="-2819400" y="0"/>
                <a:chExt cx="1828800" cy="6858000"/>
              </a:xfrm>
            </p:grpSpPr>
            <p:cxnSp>
              <p:nvCxnSpPr>
                <p:cNvPr id="55" name="Straight Connector 54"/>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5" name="Group 44"/>
              <p:cNvGrpSpPr/>
              <p:nvPr/>
            </p:nvGrpSpPr>
            <p:grpSpPr>
              <a:xfrm>
                <a:off x="5608320" y="6553200"/>
                <a:ext cx="365760" cy="304800"/>
                <a:chOff x="-2819400" y="0"/>
                <a:chExt cx="1828800" cy="6858000"/>
              </a:xfrm>
            </p:grpSpPr>
            <p:cxnSp>
              <p:nvCxnSpPr>
                <p:cNvPr id="51" name="Straight Connector 50"/>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p:nvGrpSpPr>
            <p:grpSpPr>
              <a:xfrm>
                <a:off x="3169920" y="6553200"/>
                <a:ext cx="365760" cy="304800"/>
                <a:chOff x="-2819400" y="0"/>
                <a:chExt cx="1828800" cy="6858000"/>
              </a:xfrm>
            </p:grpSpPr>
            <p:cxnSp>
              <p:nvCxnSpPr>
                <p:cNvPr id="47" name="Straight Connector 46"/>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grpSp>
      <p:pic>
        <p:nvPicPr>
          <p:cNvPr id="6" name="Picture 5" descr="HD-ShadowLong.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970240"/>
            <a:ext cx="7828359" cy="321164"/>
          </a:xfrm>
          <a:prstGeom prst="rect">
            <a:avLst/>
          </a:prstGeom>
        </p:spPr>
      </p:pic>
      <p:pic>
        <p:nvPicPr>
          <p:cNvPr id="7" name="Picture 6" descr="HD-ShadowShor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39370" y="1971234"/>
            <a:ext cx="1202248" cy="144270"/>
          </a:xfrm>
          <a:prstGeom prst="rect">
            <a:avLst/>
          </a:prstGeom>
        </p:spPr>
      </p:pic>
      <p:sp>
        <p:nvSpPr>
          <p:cNvPr id="138" name="Text Placeholder 137"/>
          <p:cNvSpPr>
            <a:spLocks noGrp="1"/>
          </p:cNvSpPr>
          <p:nvPr>
            <p:ph type="body" sz="quarter" idx="10" hasCustomPrompt="1"/>
          </p:nvPr>
        </p:nvSpPr>
        <p:spPr>
          <a:xfrm rot="16200000">
            <a:off x="-17096" y="6123620"/>
            <a:ext cx="980414" cy="274320"/>
          </a:xfrm>
        </p:spPr>
        <p:txBody>
          <a:bodyPr anchor="ctr">
            <a:noAutofit/>
          </a:bodyPr>
          <a:lstStyle>
            <a:lvl1pPr marL="0" indent="0" algn="ctr">
              <a:buNone/>
              <a:defRPr sz="1800" b="1" spc="300">
                <a:effectLst/>
              </a:defRPr>
            </a:lvl1pPr>
            <a:lvl2pPr marL="0" indent="0">
              <a:buNone/>
              <a:defRPr sz="1800"/>
            </a:lvl2pPr>
            <a:lvl3pPr marL="0" indent="0">
              <a:buNone/>
              <a:defRPr sz="1800"/>
            </a:lvl3pPr>
            <a:lvl4pPr marL="0" indent="0">
              <a:buNone/>
              <a:defRPr sz="1800"/>
            </a:lvl4pPr>
            <a:lvl5pPr marL="0" indent="0">
              <a:buNone/>
              <a:defRPr sz="1800"/>
            </a:lvl5pPr>
          </a:lstStyle>
          <a:p>
            <a:pPr lvl="0"/>
            <a:r>
              <a:rPr lang="en-US" smtClean="0"/>
              <a:t>YEAR</a:t>
            </a:r>
            <a:endParaRPr lang="en-US"/>
          </a:p>
        </p:txBody>
      </p:sp>
      <p:sp>
        <p:nvSpPr>
          <p:cNvPr id="139" name="Text Placeholder 137"/>
          <p:cNvSpPr>
            <a:spLocks noGrp="1"/>
          </p:cNvSpPr>
          <p:nvPr>
            <p:ph type="body" sz="quarter" idx="11" hasCustomPrompt="1"/>
          </p:nvPr>
        </p:nvSpPr>
        <p:spPr>
          <a:xfrm rot="16200000">
            <a:off x="2247811" y="6123620"/>
            <a:ext cx="980414" cy="274320"/>
          </a:xfrm>
        </p:spPr>
        <p:txBody>
          <a:bodyPr anchor="ctr">
            <a:noAutofit/>
          </a:bodyPr>
          <a:lstStyle>
            <a:lvl1pPr marL="0" indent="0" algn="ctr">
              <a:buNone/>
              <a:defRPr sz="1800" b="1" spc="300">
                <a:effectLst/>
              </a:defRPr>
            </a:lvl1pPr>
            <a:lvl2pPr marL="0" indent="0">
              <a:buNone/>
              <a:defRPr sz="1800"/>
            </a:lvl2pPr>
            <a:lvl3pPr marL="0" indent="0">
              <a:buNone/>
              <a:defRPr sz="1800"/>
            </a:lvl3pPr>
            <a:lvl4pPr marL="0" indent="0">
              <a:buNone/>
              <a:defRPr sz="1800"/>
            </a:lvl4pPr>
            <a:lvl5pPr marL="0" indent="0">
              <a:buNone/>
              <a:defRPr sz="1800"/>
            </a:lvl5pPr>
          </a:lstStyle>
          <a:p>
            <a:pPr lvl="0"/>
            <a:r>
              <a:rPr lang="en-US" smtClean="0"/>
              <a:t>YEAR</a:t>
            </a:r>
            <a:endParaRPr lang="en-US"/>
          </a:p>
        </p:txBody>
      </p:sp>
      <p:sp>
        <p:nvSpPr>
          <p:cNvPr id="140" name="Text Placeholder 137"/>
          <p:cNvSpPr>
            <a:spLocks noGrp="1"/>
          </p:cNvSpPr>
          <p:nvPr>
            <p:ph type="body" sz="quarter" idx="12" hasCustomPrompt="1"/>
          </p:nvPr>
        </p:nvSpPr>
        <p:spPr>
          <a:xfrm rot="16200000">
            <a:off x="4543844" y="6123620"/>
            <a:ext cx="980414" cy="274320"/>
          </a:xfrm>
        </p:spPr>
        <p:txBody>
          <a:bodyPr anchor="ctr">
            <a:noAutofit/>
          </a:bodyPr>
          <a:lstStyle>
            <a:lvl1pPr marL="0" indent="0" algn="ctr">
              <a:buNone/>
              <a:defRPr sz="1800" b="1" spc="300">
                <a:effectLst/>
              </a:defRPr>
            </a:lvl1pPr>
            <a:lvl2pPr marL="0" indent="0">
              <a:buNone/>
              <a:defRPr sz="1800"/>
            </a:lvl2pPr>
            <a:lvl3pPr marL="0" indent="0">
              <a:buNone/>
              <a:defRPr sz="1800"/>
            </a:lvl3pPr>
            <a:lvl4pPr marL="0" indent="0">
              <a:buNone/>
              <a:defRPr sz="1800"/>
            </a:lvl4pPr>
            <a:lvl5pPr marL="0" indent="0">
              <a:buNone/>
              <a:defRPr sz="1800"/>
            </a:lvl5pPr>
          </a:lstStyle>
          <a:p>
            <a:pPr lvl="0"/>
            <a:r>
              <a:rPr lang="en-US" smtClean="0"/>
              <a:t>YEAR</a:t>
            </a:r>
            <a:endParaRPr lang="en-US"/>
          </a:p>
        </p:txBody>
      </p:sp>
      <p:sp>
        <p:nvSpPr>
          <p:cNvPr id="141" name="Text Placeholder 137"/>
          <p:cNvSpPr>
            <a:spLocks noGrp="1"/>
          </p:cNvSpPr>
          <p:nvPr>
            <p:ph type="body" sz="quarter" idx="13" hasCustomPrompt="1"/>
          </p:nvPr>
        </p:nvSpPr>
        <p:spPr>
          <a:xfrm rot="16200000">
            <a:off x="6830176" y="6123620"/>
            <a:ext cx="980414" cy="274320"/>
          </a:xfrm>
        </p:spPr>
        <p:txBody>
          <a:bodyPr anchor="ctr">
            <a:noAutofit/>
          </a:bodyPr>
          <a:lstStyle>
            <a:lvl1pPr marL="0" indent="0" algn="ctr">
              <a:buNone/>
              <a:defRPr sz="1800" b="1" spc="300">
                <a:effectLst/>
              </a:defRPr>
            </a:lvl1pPr>
            <a:lvl2pPr marL="0" indent="0">
              <a:buNone/>
              <a:defRPr sz="1800"/>
            </a:lvl2pPr>
            <a:lvl3pPr marL="0" indent="0">
              <a:buNone/>
              <a:defRPr sz="1800"/>
            </a:lvl3pPr>
            <a:lvl4pPr marL="0" indent="0">
              <a:buNone/>
              <a:defRPr sz="1800"/>
            </a:lvl4pPr>
            <a:lvl5pPr marL="0" indent="0">
              <a:buNone/>
              <a:defRPr sz="1800"/>
            </a:lvl5pPr>
          </a:lstStyle>
          <a:p>
            <a:pPr lvl="0"/>
            <a:r>
              <a:rPr lang="en-US" smtClean="0"/>
              <a:t>YEAR</a:t>
            </a:r>
            <a:endParaRPr lang="en-US"/>
          </a:p>
        </p:txBody>
      </p:sp>
      <p:sp>
        <p:nvSpPr>
          <p:cNvPr id="177" name="Text Placeholder 174"/>
          <p:cNvSpPr>
            <a:spLocks noGrp="1"/>
          </p:cNvSpPr>
          <p:nvPr>
            <p:ph type="body" sz="quarter" idx="29" hasCustomPrompt="1"/>
          </p:nvPr>
        </p:nvSpPr>
        <p:spPr>
          <a:xfrm>
            <a:off x="632846" y="3653736"/>
            <a:ext cx="994410" cy="2290486"/>
          </a:xfrm>
          <a:blipFill>
            <a:blip r:embed="rId4" cstate="print"/>
            <a:srcRect/>
            <a:stretch>
              <a:fillRect t="-2" b="-87334"/>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Mon Year</a:t>
            </a:r>
          </a:p>
          <a:p>
            <a:pPr lvl="1"/>
            <a:r>
              <a:rPr lang="en-US" smtClean="0"/>
              <a:t>Add event details here</a:t>
            </a:r>
          </a:p>
        </p:txBody>
      </p:sp>
      <p:sp>
        <p:nvSpPr>
          <p:cNvPr id="176" name="Text Placeholder 174"/>
          <p:cNvSpPr>
            <a:spLocks noGrp="1"/>
          </p:cNvSpPr>
          <p:nvPr>
            <p:ph type="body" sz="quarter" idx="28" hasCustomPrompt="1"/>
          </p:nvPr>
        </p:nvSpPr>
        <p:spPr>
          <a:xfrm>
            <a:off x="2096060" y="2973492"/>
            <a:ext cx="994410" cy="2970730"/>
          </a:xfrm>
          <a:blipFill>
            <a:blip r:embed="rId5" cstate="print"/>
            <a:srcRect/>
            <a:stretch>
              <a:fillRect t="-4" b="-44435"/>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Mon Year</a:t>
            </a:r>
          </a:p>
          <a:p>
            <a:pPr lvl="1"/>
            <a:r>
              <a:rPr lang="en-US" smtClean="0"/>
              <a:t>Add event details here</a:t>
            </a:r>
          </a:p>
        </p:txBody>
      </p:sp>
      <p:sp>
        <p:nvSpPr>
          <p:cNvPr id="175" name="Text Placeholder 174"/>
          <p:cNvSpPr>
            <a:spLocks noGrp="1"/>
          </p:cNvSpPr>
          <p:nvPr>
            <p:ph type="body" sz="quarter" idx="27" hasCustomPrompt="1"/>
          </p:nvPr>
        </p:nvSpPr>
        <p:spPr>
          <a:xfrm>
            <a:off x="3466415" y="2281258"/>
            <a:ext cx="994410" cy="3662964"/>
          </a:xfrm>
          <a:blipFill>
            <a:blip r:embed="rId6" cstate="print"/>
            <a:srcRect/>
            <a:stretch>
              <a:fillRect t="-3" b="-17141"/>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Mon Year</a:t>
            </a:r>
          </a:p>
          <a:p>
            <a:pPr lvl="1"/>
            <a:r>
              <a:rPr lang="en-US" smtClean="0"/>
              <a:t>Add event details here</a:t>
            </a:r>
          </a:p>
        </p:txBody>
      </p:sp>
      <p:sp>
        <p:nvSpPr>
          <p:cNvPr id="178" name="Text Placeholder 174"/>
          <p:cNvSpPr>
            <a:spLocks noGrp="1"/>
          </p:cNvSpPr>
          <p:nvPr>
            <p:ph type="body" sz="quarter" idx="30" hasCustomPrompt="1"/>
          </p:nvPr>
        </p:nvSpPr>
        <p:spPr>
          <a:xfrm>
            <a:off x="4556817" y="3661974"/>
            <a:ext cx="994410" cy="2282248"/>
          </a:xfrm>
          <a:blipFill>
            <a:blip r:embed="rId4" cstate="print"/>
            <a:srcRect/>
            <a:stretch>
              <a:fillRect t="-1" b="-88011"/>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Mon Year</a:t>
            </a:r>
          </a:p>
          <a:p>
            <a:pPr lvl="1"/>
            <a:r>
              <a:rPr lang="en-US" smtClean="0"/>
              <a:t>Add event details here</a:t>
            </a:r>
          </a:p>
        </p:txBody>
      </p:sp>
      <p:sp>
        <p:nvSpPr>
          <p:cNvPr id="179" name="Text Placeholder 174"/>
          <p:cNvSpPr>
            <a:spLocks noGrp="1"/>
          </p:cNvSpPr>
          <p:nvPr>
            <p:ph type="body" sz="quarter" idx="31" hasCustomPrompt="1"/>
          </p:nvPr>
        </p:nvSpPr>
        <p:spPr>
          <a:xfrm>
            <a:off x="6027185" y="2969022"/>
            <a:ext cx="994410" cy="2975201"/>
          </a:xfrm>
          <a:blipFill>
            <a:blip r:embed="rId5" cstate="print"/>
            <a:srcRect/>
            <a:stretch>
              <a:fillRect t="-4" b="-44219"/>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Mon Year</a:t>
            </a:r>
          </a:p>
          <a:p>
            <a:pPr lvl="1"/>
            <a:r>
              <a:rPr lang="en-US" smtClean="0"/>
              <a:t>Add event details here</a:t>
            </a:r>
          </a:p>
        </p:txBody>
      </p:sp>
      <p:sp>
        <p:nvSpPr>
          <p:cNvPr id="180" name="Text Placeholder 174"/>
          <p:cNvSpPr>
            <a:spLocks noGrp="1"/>
          </p:cNvSpPr>
          <p:nvPr>
            <p:ph type="body" sz="quarter" idx="32" hasCustomPrompt="1"/>
          </p:nvPr>
        </p:nvSpPr>
        <p:spPr>
          <a:xfrm>
            <a:off x="7579708" y="2281258"/>
            <a:ext cx="994410" cy="3662964"/>
          </a:xfrm>
          <a:blipFill>
            <a:blip r:embed="rId6" cstate="print"/>
            <a:srcRect/>
            <a:stretch>
              <a:fillRect t="-3" b="-17141"/>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Mon Year</a:t>
            </a:r>
          </a:p>
          <a:p>
            <a:pPr lvl="1"/>
            <a:r>
              <a:rPr lang="en-US" smtClean="0"/>
              <a:t>Add event details here</a:t>
            </a:r>
          </a:p>
        </p:txBody>
      </p:sp>
    </p:spTree>
    <p:extLst>
      <p:ext uri="{BB962C8B-B14F-4D97-AF65-F5344CB8AC3E}">
        <p14:creationId xmlns:p14="http://schemas.microsoft.com/office/powerpoint/2010/main" val="314161651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42989" y="1506540"/>
            <a:ext cx="8265582" cy="4589461"/>
          </a:xfrm>
        </p:spPr>
        <p:txBody>
          <a:bodyPr/>
          <a:lstStyle>
            <a:lvl1pPr>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itle 13"/>
          <p:cNvSpPr>
            <a:spLocks noGrp="1"/>
          </p:cNvSpPr>
          <p:nvPr>
            <p:ph type="title" hasCustomPrompt="1"/>
          </p:nvPr>
        </p:nvSpPr>
        <p:spPr>
          <a:xfrm>
            <a:off x="297543" y="121920"/>
            <a:ext cx="6016171" cy="906780"/>
          </a:xfrm>
        </p:spPr>
        <p:txBody>
          <a:bodyPr/>
          <a:lstStyle>
            <a:lvl1pPr>
              <a:defRPr>
                <a:solidFill>
                  <a:schemeClr val="bg1"/>
                </a:solidFill>
              </a:defRPr>
            </a:lvl1pPr>
          </a:lstStyle>
          <a:p>
            <a:r>
              <a:rPr lang="en-US" dirty="0" smtClean="0"/>
              <a:t>Click to add title</a:t>
            </a:r>
            <a:endParaRPr lang="en-US" dirty="0"/>
          </a:p>
        </p:txBody>
      </p:sp>
      <p:pic>
        <p:nvPicPr>
          <p:cNvPr id="30721" name="Picture 1" descr="pfizer_rgb_pos"/>
          <p:cNvPicPr>
            <a:picLocks noChangeAspect="1" noChangeArrowheads="1"/>
          </p:cNvPicPr>
          <p:nvPr userDrawn="1"/>
        </p:nvPicPr>
        <p:blipFill>
          <a:blip r:embed="rId2" cstate="print"/>
          <a:srcRect/>
          <a:stretch>
            <a:fillRect/>
          </a:stretch>
        </p:blipFill>
        <p:spPr bwMode="auto">
          <a:xfrm>
            <a:off x="251520" y="5949280"/>
            <a:ext cx="1066800" cy="612921"/>
          </a:xfrm>
          <a:prstGeom prst="rect">
            <a:avLst/>
          </a:prstGeom>
          <a:noFill/>
          <a:ln w="9525">
            <a:noFill/>
            <a:miter lim="800000"/>
            <a:headEnd/>
            <a:tailEnd/>
          </a:ln>
        </p:spPr>
      </p:pic>
      <p:pic>
        <p:nvPicPr>
          <p:cNvPr id="31745" name="Picture 1"/>
          <p:cNvPicPr>
            <a:picLocks noChangeAspect="1" noChangeArrowheads="1"/>
          </p:cNvPicPr>
          <p:nvPr userDrawn="1"/>
        </p:nvPicPr>
        <p:blipFill>
          <a:blip r:embed="rId3" cstate="print"/>
          <a:srcRect/>
          <a:stretch>
            <a:fillRect/>
          </a:stretch>
        </p:blipFill>
        <p:spPr bwMode="auto">
          <a:xfrm>
            <a:off x="7164288" y="5805264"/>
            <a:ext cx="1745836" cy="838200"/>
          </a:xfrm>
          <a:prstGeom prst="rect">
            <a:avLst/>
          </a:prstGeom>
          <a:noFill/>
          <a:ln w="9525">
            <a:noFill/>
            <a:miter lim="800000"/>
            <a:headEnd/>
            <a:tailEnd/>
          </a:ln>
          <a:effectLst/>
        </p:spPr>
      </p:pic>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A25E25DD-8492-4331-B99F-4CBD59111506}"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690" y="4407439"/>
            <a:ext cx="7772703"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690" y="2906713"/>
            <a:ext cx="7772703"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A376707E-1700-4C8C-AA8F-AA8596E8F4E4}"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605" y="273050"/>
            <a:ext cx="3008690"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655" y="27352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605" y="1435103"/>
            <a:ext cx="300869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134AC33E-1702-4DE2-8E1D-738076B6C579}"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76465" y="1300170"/>
            <a:ext cx="4122964" cy="49482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4841" y="1300170"/>
            <a:ext cx="4122965" cy="49482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08A44517-6920-4C1E-B411-7C83E2A27DFC}"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605" y="274638"/>
            <a:ext cx="823081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595" y="1535113"/>
            <a:ext cx="404132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595" y="2174875"/>
            <a:ext cx="404132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4841" y="1535113"/>
            <a:ext cx="40428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4841" y="2174875"/>
            <a:ext cx="40428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31E4F563-FBB7-43F5-AB18-FCAA841EF3AF}"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1973B073-708A-410C-9ACF-C34BB64BA82D}"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BEEED8E6-823E-4323-AFE4-53D3C7443FD3}"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605" y="273050"/>
            <a:ext cx="3008690"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655" y="27352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605" y="1435103"/>
            <a:ext cx="300869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19585CA4-E056-4B6A-9ECD-24AC88F3A50F}"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608" y="4800600"/>
            <a:ext cx="5486702"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1608" y="612775"/>
            <a:ext cx="5486702"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791608" y="5367338"/>
            <a:ext cx="548670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E6D0FAF8-8161-4993-A909-55BE41EB74BB}"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A4DF94A8-6580-4828-8428-90AFF3B7B80F}"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8225" y="152400"/>
            <a:ext cx="2127250" cy="6096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76656" y="152400"/>
            <a:ext cx="6236607" cy="6096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10F7F771-72D3-4D76-9CFA-CBC33080D433}"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bl" preserve="1">
  <p:cSld name="Title and Table">
    <p:spTree>
      <p:nvGrpSpPr>
        <p:cNvPr id="1" name=""/>
        <p:cNvGrpSpPr/>
        <p:nvPr/>
      </p:nvGrpSpPr>
      <p:grpSpPr>
        <a:xfrm>
          <a:off x="0" y="0"/>
          <a:ext cx="0" cy="0"/>
          <a:chOff x="0" y="0"/>
          <a:chExt cx="0" cy="0"/>
        </a:xfrm>
      </p:grpSpPr>
      <p:graphicFrame>
        <p:nvGraphicFramePr>
          <p:cNvPr id="4" name="Rectangle 11" hidden="1"/>
          <p:cNvGraphicFramePr>
            <a:graphicFrameLocks/>
          </p:cNvGraphicFramePr>
          <p:nvPr>
            <p:custDataLst>
              <p:tags r:id="rId2"/>
            </p:custDataLst>
          </p:nvPr>
        </p:nvGraphicFramePr>
        <p:xfrm>
          <a:off x="-1476" y="0"/>
          <a:ext cx="151191" cy="158750"/>
        </p:xfrm>
        <a:graphic>
          <a:graphicData uri="http://schemas.openxmlformats.org/presentationml/2006/ole">
            <mc:AlternateContent xmlns:mc="http://schemas.openxmlformats.org/markup-compatibility/2006">
              <mc:Choice xmlns:v="urn:schemas-microsoft-com:vml" Requires="v">
                <p:oleObj spid="_x0000_s76190" r:id="rId5" imgW="0" imgH="0" progId="">
                  <p:embed/>
                </p:oleObj>
              </mc:Choice>
              <mc:Fallback>
                <p:oleObj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476" y="0"/>
                        <a:ext cx="15119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0" descr="WhitePage_1"/>
          <p:cNvPicPr>
            <a:picLocks noChangeAspect="1" noChangeArrowheads="1"/>
          </p:cNvPicPr>
          <p:nvPr userDrawn="1"/>
        </p:nvPicPr>
        <p:blipFill>
          <a:blip r:embed="rId6" cstate="print"/>
          <a:srcRect/>
          <a:stretch>
            <a:fillRect/>
          </a:stretch>
        </p:blipFill>
        <p:spPr bwMode="auto">
          <a:xfrm>
            <a:off x="0" y="0"/>
            <a:ext cx="9144000" cy="6858000"/>
          </a:xfrm>
          <a:prstGeom prst="rect">
            <a:avLst/>
          </a:prstGeom>
          <a:noFill/>
          <a:ln w="9525">
            <a:noFill/>
            <a:miter lim="800000"/>
            <a:headEnd/>
            <a:tailEnd/>
          </a:ln>
        </p:spPr>
      </p:pic>
      <p:sp>
        <p:nvSpPr>
          <p:cNvPr id="6" name="doc id"/>
          <p:cNvSpPr>
            <a:spLocks noChangeArrowheads="1"/>
          </p:cNvSpPr>
          <p:nvPr userDrawn="1">
            <p:custDataLst>
              <p:tags r:id="rId3"/>
            </p:custDataLst>
          </p:nvPr>
        </p:nvSpPr>
        <p:spPr bwMode="gray">
          <a:xfrm>
            <a:off x="217984" y="6597650"/>
            <a:ext cx="7926917" cy="107950"/>
          </a:xfrm>
          <a:prstGeom prst="rect">
            <a:avLst/>
          </a:prstGeom>
          <a:noFill/>
          <a:ln w="9525" algn="ctr">
            <a:noFill/>
            <a:miter lim="800000"/>
            <a:headEnd/>
            <a:tailEnd/>
          </a:ln>
          <a:effectLst/>
        </p:spPr>
        <p:txBody>
          <a:bodyPr lIns="0" tIns="0" rIns="0" bIns="0" anchor="b">
            <a:spAutoFit/>
          </a:bodyPr>
          <a:lstStyle/>
          <a:p>
            <a:pPr defTabSz="912813">
              <a:defRPr/>
            </a:pPr>
            <a:r>
              <a:rPr lang="en-US" sz="700">
                <a:solidFill>
                  <a:srgbClr val="007CC2"/>
                </a:solidFill>
                <a:latin typeface="Arial" charset="0"/>
              </a:rPr>
              <a:t>Confidential and Internal to Pfizer - subject to works council and/or union consultations and other legal requirements.</a:t>
            </a:r>
          </a:p>
        </p:txBody>
      </p:sp>
      <p:sp>
        <p:nvSpPr>
          <p:cNvPr id="2" name="Title 1"/>
          <p:cNvSpPr>
            <a:spLocks noGrp="1"/>
          </p:cNvSpPr>
          <p:nvPr>
            <p:ph type="title"/>
          </p:nvPr>
        </p:nvSpPr>
        <p:spPr>
          <a:xfrm>
            <a:off x="2565703" y="152400"/>
            <a:ext cx="6319762" cy="711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76727" y="1300170"/>
            <a:ext cx="8391071" cy="4948237"/>
          </a:xfrm>
        </p:spPr>
        <p:txBody>
          <a:bodyPr/>
          <a:lstStyle/>
          <a:p>
            <a:pPr lvl="0"/>
            <a:r>
              <a:rPr lang="en-US" noProof="0" smtClean="0"/>
              <a:t>Click icon to add table</a:t>
            </a:r>
            <a:endParaRPr lang="en-US" noProof="0"/>
          </a:p>
        </p:txBody>
      </p:sp>
      <p:sp>
        <p:nvSpPr>
          <p:cNvPr id="7" name="Slide Number Placeholder 3"/>
          <p:cNvSpPr>
            <a:spLocks noGrp="1"/>
          </p:cNvSpPr>
          <p:nvPr>
            <p:ph type="sldNum" sz="quarter" idx="10"/>
          </p:nvPr>
        </p:nvSpPr>
        <p:spPr>
          <a:xfrm>
            <a:off x="8548310" y="6688677"/>
            <a:ext cx="355298" cy="122237"/>
          </a:xfrm>
        </p:spPr>
        <p:txBody>
          <a:bodyPr/>
          <a:lstStyle>
            <a:lvl1pPr>
              <a:defRPr/>
            </a:lvl1pPr>
          </a:lstStyle>
          <a:p>
            <a:pPr>
              <a:defRPr/>
            </a:pPr>
            <a:fld id="{B80C637A-881C-428C-8407-C1478B508862}"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pic>
        <p:nvPicPr>
          <p:cNvPr id="2" name="Picture 9" descr="WhitePage_1a"/>
          <p:cNvPicPr>
            <a:picLocks noChangeAspect="1" noChangeArrowheads="1"/>
          </p:cNvPicPr>
          <p:nvPr userDrawn="1"/>
        </p:nvPicPr>
        <p:blipFill>
          <a:blip r:embed="rId3" cstate="print"/>
          <a:srcRect b="82222"/>
          <a:stretch>
            <a:fillRect/>
          </a:stretch>
        </p:blipFill>
        <p:spPr bwMode="auto">
          <a:xfrm>
            <a:off x="0" y="0"/>
            <a:ext cx="9144000" cy="1219200"/>
          </a:xfrm>
          <a:prstGeom prst="rect">
            <a:avLst/>
          </a:prstGeom>
          <a:noFill/>
        </p:spPr>
      </p:pic>
      <p:sp>
        <p:nvSpPr>
          <p:cNvPr id="4" name="pg num"/>
          <p:cNvSpPr>
            <a:spLocks noGrp="1" noChangeArrowheads="1"/>
          </p:cNvSpPr>
          <p:nvPr>
            <p:ph type="sldNum" sz="quarter" idx="10"/>
            <p:custDataLst>
              <p:tags r:id="rId1"/>
            </p:custDataLst>
          </p:nvPr>
        </p:nvSpPr>
        <p:spPr/>
        <p:txBody>
          <a:bodyPr/>
          <a:lstStyle>
            <a:lvl1pPr>
              <a:defRPr/>
            </a:lvl1pPr>
          </a:lstStyle>
          <a:p>
            <a:fld id="{BCA94449-4AD4-4972-905D-CDEBEC5E1649}" type="slidenum">
              <a:rPr lang="en-US" altLang="en-US"/>
              <a:pPr/>
              <a:t>‹#›</a:t>
            </a:fld>
            <a:endParaRPr lang="en-US" altLang="en-US"/>
          </a:p>
        </p:txBody>
      </p:sp>
      <p:sp>
        <p:nvSpPr>
          <p:cNvPr id="10" name="Text Placeholder 11"/>
          <p:cNvSpPr>
            <a:spLocks noGrp="1"/>
          </p:cNvSpPr>
          <p:nvPr>
            <p:ph type="body" sz="quarter" idx="17" hasCustomPrompt="1"/>
          </p:nvPr>
        </p:nvSpPr>
        <p:spPr>
          <a:xfrm>
            <a:off x="442999" y="1506547"/>
            <a:ext cx="8265582" cy="4589461"/>
          </a:xfrm>
        </p:spPr>
        <p:txBody>
          <a:bodyPr/>
          <a:lstStyle>
            <a:lvl1pPr>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itle 13"/>
          <p:cNvSpPr>
            <a:spLocks noGrp="1"/>
          </p:cNvSpPr>
          <p:nvPr>
            <p:ph type="title" hasCustomPrompt="1"/>
          </p:nvPr>
        </p:nvSpPr>
        <p:spPr>
          <a:xfrm>
            <a:off x="297543" y="121920"/>
            <a:ext cx="6016171" cy="906780"/>
          </a:xfrm>
        </p:spPr>
        <p:txBody>
          <a:bodyPr/>
          <a:lstStyle>
            <a:lvl1pPr>
              <a:defRPr>
                <a:solidFill>
                  <a:schemeClr val="bg1"/>
                </a:solidFill>
              </a:defRPr>
            </a:lvl1pPr>
          </a:lstStyle>
          <a:p>
            <a:r>
              <a:rPr lang="en-US" dirty="0" smtClean="0"/>
              <a:t>Click to add title</a:t>
            </a: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608" y="4800600"/>
            <a:ext cx="5486702"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1608" y="612775"/>
            <a:ext cx="5486702"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1608" y="5367338"/>
            <a:ext cx="5486702"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0A82AA8E-3D09-4E6A-92CF-1FB5FC83CBA3}" type="slidenum">
              <a:rPr lang="en-US" altLang="en-US"/>
              <a:pPr>
                <a:defRPr/>
              </a:pPr>
              <a:t>‹#›</a:t>
            </a:fld>
            <a:endParaRPr lang="en-US" alt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pic>
        <p:nvPicPr>
          <p:cNvPr id="2" name="Picture 9" descr="WhitePage_1a"/>
          <p:cNvPicPr>
            <a:picLocks noChangeAspect="1" noChangeArrowheads="1"/>
          </p:cNvPicPr>
          <p:nvPr userDrawn="1"/>
        </p:nvPicPr>
        <p:blipFill>
          <a:blip r:embed="rId3" cstate="print"/>
          <a:srcRect b="82222"/>
          <a:stretch>
            <a:fillRect/>
          </a:stretch>
        </p:blipFill>
        <p:spPr bwMode="auto">
          <a:xfrm>
            <a:off x="0" y="0"/>
            <a:ext cx="9144000" cy="1219200"/>
          </a:xfrm>
          <a:prstGeom prst="rect">
            <a:avLst/>
          </a:prstGeom>
          <a:noFill/>
        </p:spPr>
      </p:pic>
      <p:sp>
        <p:nvSpPr>
          <p:cNvPr id="4" name="pg num"/>
          <p:cNvSpPr>
            <a:spLocks noGrp="1" noChangeArrowheads="1"/>
          </p:cNvSpPr>
          <p:nvPr>
            <p:ph type="sldNum" sz="quarter" idx="10"/>
            <p:custDataLst>
              <p:tags r:id="rId1"/>
            </p:custDataLst>
          </p:nvPr>
        </p:nvSpPr>
        <p:spPr/>
        <p:txBody>
          <a:bodyPr/>
          <a:lstStyle>
            <a:lvl1pPr>
              <a:defRPr/>
            </a:lvl1pPr>
          </a:lstStyle>
          <a:p>
            <a:fld id="{BCA94449-4AD4-4972-905D-CDEBEC5E1649}" type="slidenum">
              <a:rPr lang="en-US" altLang="en-US"/>
              <a:pPr/>
              <a:t>‹#›</a:t>
            </a:fld>
            <a:endParaRPr lang="en-US" altLang="en-US"/>
          </a:p>
        </p:txBody>
      </p:sp>
      <p:sp>
        <p:nvSpPr>
          <p:cNvPr id="10" name="Text Placeholder 11"/>
          <p:cNvSpPr>
            <a:spLocks noGrp="1"/>
          </p:cNvSpPr>
          <p:nvPr>
            <p:ph type="body" sz="quarter" idx="17" hasCustomPrompt="1"/>
          </p:nvPr>
        </p:nvSpPr>
        <p:spPr>
          <a:xfrm>
            <a:off x="442999" y="1506547"/>
            <a:ext cx="8265582" cy="4589461"/>
          </a:xfrm>
        </p:spPr>
        <p:txBody>
          <a:bodyPr/>
          <a:lstStyle>
            <a:lvl1pPr>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itle 13"/>
          <p:cNvSpPr>
            <a:spLocks noGrp="1"/>
          </p:cNvSpPr>
          <p:nvPr>
            <p:ph type="title" hasCustomPrompt="1"/>
          </p:nvPr>
        </p:nvSpPr>
        <p:spPr>
          <a:xfrm>
            <a:off x="297543" y="121920"/>
            <a:ext cx="6016171" cy="906780"/>
          </a:xfrm>
        </p:spPr>
        <p:txBody>
          <a:bodyPr/>
          <a:lstStyle>
            <a:lvl1pPr>
              <a:defRPr>
                <a:solidFill>
                  <a:schemeClr val="bg1"/>
                </a:solidFill>
              </a:defRPr>
            </a:lvl1pPr>
          </a:lstStyle>
          <a:p>
            <a:r>
              <a:rPr lang="en-US" dirty="0" smtClean="0"/>
              <a:t>Click to add title</a:t>
            </a: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2" name="Picture 9" descr="WhitePage_1a"/>
          <p:cNvPicPr>
            <a:picLocks noChangeAspect="1" noChangeArrowheads="1"/>
          </p:cNvPicPr>
          <p:nvPr userDrawn="1"/>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3" name="pg num"/>
          <p:cNvSpPr>
            <a:spLocks noGrp="1" noChangeArrowheads="1"/>
          </p:cNvSpPr>
          <p:nvPr>
            <p:ph type="sldNum" sz="quarter" idx="10"/>
            <p:custDataLst>
              <p:tags r:id="rId1"/>
            </p:custDataLst>
          </p:nvPr>
        </p:nvSpPr>
        <p:spPr>
          <a:xfrm>
            <a:off x="6553200" y="6506339"/>
            <a:ext cx="2133600" cy="123111"/>
          </a:xfrm>
        </p:spPr>
        <p:txBody>
          <a:bodyPr/>
          <a:lstStyle>
            <a:lvl1pPr>
              <a:defRPr/>
            </a:lvl1pPr>
          </a:lstStyle>
          <a:p>
            <a:pPr>
              <a:defRPr/>
            </a:pPr>
            <a:fld id="{6D0CBF2D-470F-4E63-931D-AD334797B431}" type="slidenum">
              <a:rPr lang="en-US" altLang="en-US"/>
              <a:pPr>
                <a:defRPr/>
              </a:pPr>
              <a:t>‹#›</a:t>
            </a:fld>
            <a:endParaRPr lang="en-US" altLang="en-US" dirty="0"/>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1165" cy="158750"/>
        </p:xfrm>
        <a:graphic>
          <a:graphicData uri="http://schemas.openxmlformats.org/presentationml/2006/ole">
            <mc:AlternateContent xmlns:mc="http://schemas.openxmlformats.org/markup-compatibility/2006">
              <mc:Choice xmlns:v="urn:schemas-microsoft-com:vml" Requires="v">
                <p:oleObj spid="_x0000_s7721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116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smtClean="0"/>
              <a:t>Click to edit Master title style</a:t>
            </a:r>
            <a:endParaRPr lang="en-US"/>
          </a:p>
        </p:txBody>
      </p:sp>
      <p:sp>
        <p:nvSpPr>
          <p:cNvPr id="5" name="Text Placeholder 4"/>
          <p:cNvSpPr>
            <a:spLocks noGrp="1"/>
          </p:cNvSpPr>
          <p:nvPr>
            <p:ph type="body" sz="quarter" idx="13"/>
            <p:custDataLst>
              <p:tags r:id="rId4"/>
            </p:custDataLst>
          </p:nvPr>
        </p:nvSpPr>
        <p:spPr>
          <a:xfrm>
            <a:off x="435356" y="1508400"/>
            <a:ext cx="8275203" cy="4615200"/>
          </a:xfrm>
        </p:spPr>
        <p:txBody>
          <a:bodyPr/>
          <a:lstStyle>
            <a:lvl1pPr>
              <a:defRPr/>
            </a:lvl1pPr>
            <a:lvl2pPr>
              <a:defRPr/>
            </a:lvl2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659171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grpSp>
        <p:nvGrpSpPr>
          <p:cNvPr id="2" name="Group 13"/>
          <p:cNvGrpSpPr/>
          <p:nvPr/>
        </p:nvGrpSpPr>
        <p:grpSpPr>
          <a:xfrm>
            <a:off x="457200" y="2057400"/>
            <a:ext cx="8229600" cy="4800600"/>
            <a:chOff x="609600" y="0"/>
            <a:chExt cx="10972800" cy="6858000"/>
          </a:xfrm>
        </p:grpSpPr>
        <p:cxnSp>
          <p:nvCxnSpPr>
            <p:cNvPr id="15" name="Straight Connector 14"/>
            <p:cNvCxnSpPr/>
            <p:nvPr/>
          </p:nvCxnSpPr>
          <p:spPr>
            <a:xfrm>
              <a:off x="6096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2192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8288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4384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0480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6576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42672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60960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8768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54864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7056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3152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79248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85344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91440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97536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03632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09728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1582400" y="0"/>
              <a:ext cx="0" cy="6858000"/>
            </a:xfrm>
            <a:prstGeom prst="line">
              <a:avLst/>
            </a:prstGeom>
            <a:ln w="19050">
              <a:gradFill flip="none" rotWithShape="1">
                <a:gsLst>
                  <a:gs pos="0">
                    <a:schemeClr val="tx1">
                      <a:alpha val="0"/>
                    </a:schemeClr>
                  </a:gs>
                  <a:gs pos="100000">
                    <a:schemeClr val="tx1">
                      <a:alpha val="50000"/>
                    </a:schemeClr>
                  </a:gs>
                </a:gsLst>
                <a:lin ang="5400000" scaled="1"/>
                <a:tileRect/>
              </a:gradFill>
              <a:miter lim="800000"/>
            </a:ln>
          </p:spPr>
          <p:style>
            <a:lnRef idx="1">
              <a:schemeClr val="accent1"/>
            </a:lnRef>
            <a:fillRef idx="0">
              <a:schemeClr val="accent1"/>
            </a:fillRef>
            <a:effectRef idx="0">
              <a:schemeClr val="accent1"/>
            </a:effectRef>
            <a:fontRef idx="minor">
              <a:schemeClr val="tx1"/>
            </a:fontRef>
          </p:style>
        </p:cxnSp>
      </p:grpSp>
      <p:grpSp>
        <p:nvGrpSpPr>
          <p:cNvPr id="3" name="Group 33"/>
          <p:cNvGrpSpPr/>
          <p:nvPr/>
        </p:nvGrpSpPr>
        <p:grpSpPr>
          <a:xfrm>
            <a:off x="91440" y="5934076"/>
            <a:ext cx="8961120" cy="695325"/>
            <a:chOff x="121920" y="6553200"/>
            <a:chExt cx="11948160" cy="304800"/>
          </a:xfrm>
        </p:grpSpPr>
        <p:grpSp>
          <p:nvGrpSpPr>
            <p:cNvPr id="4" name="Group 34"/>
            <p:cNvGrpSpPr/>
            <p:nvPr/>
          </p:nvGrpSpPr>
          <p:grpSpPr>
            <a:xfrm>
              <a:off x="121920" y="6553200"/>
              <a:ext cx="5852160" cy="304800"/>
              <a:chOff x="121920" y="6553200"/>
              <a:chExt cx="5852160" cy="304800"/>
            </a:xfrm>
          </p:grpSpPr>
          <p:grpSp>
            <p:nvGrpSpPr>
              <p:cNvPr id="5" name="Group 86"/>
              <p:cNvGrpSpPr/>
              <p:nvPr/>
            </p:nvGrpSpPr>
            <p:grpSpPr>
              <a:xfrm>
                <a:off x="731520" y="6553200"/>
                <a:ext cx="365760" cy="304800"/>
                <a:chOff x="-2819400" y="0"/>
                <a:chExt cx="1828800" cy="6858000"/>
              </a:xfrm>
            </p:grpSpPr>
            <p:cxnSp>
              <p:nvCxnSpPr>
                <p:cNvPr id="133" name="Straight Connector 132"/>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roup 87"/>
              <p:cNvGrpSpPr/>
              <p:nvPr/>
            </p:nvGrpSpPr>
            <p:grpSpPr>
              <a:xfrm>
                <a:off x="1341120" y="6553200"/>
                <a:ext cx="365760" cy="304800"/>
                <a:chOff x="-2819400" y="0"/>
                <a:chExt cx="1828800" cy="6858000"/>
              </a:xfrm>
            </p:grpSpPr>
            <p:cxnSp>
              <p:nvCxnSpPr>
                <p:cNvPr id="129" name="Straight Connector 128"/>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9" name="Group 88"/>
              <p:cNvGrpSpPr/>
              <p:nvPr/>
            </p:nvGrpSpPr>
            <p:grpSpPr>
              <a:xfrm>
                <a:off x="1950720" y="6553200"/>
                <a:ext cx="365760" cy="304800"/>
                <a:chOff x="-2819400" y="0"/>
                <a:chExt cx="1828800" cy="6858000"/>
              </a:xfrm>
            </p:grpSpPr>
            <p:cxnSp>
              <p:nvCxnSpPr>
                <p:cNvPr id="125" name="Straight Connector 124"/>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10" name="Group 89"/>
              <p:cNvGrpSpPr/>
              <p:nvPr/>
            </p:nvGrpSpPr>
            <p:grpSpPr>
              <a:xfrm>
                <a:off x="2560320" y="6553200"/>
                <a:ext cx="365760" cy="304800"/>
                <a:chOff x="-2819400" y="0"/>
                <a:chExt cx="1828800" cy="6858000"/>
              </a:xfrm>
            </p:grpSpPr>
            <p:cxnSp>
              <p:nvCxnSpPr>
                <p:cNvPr id="121" name="Straight Connector 120"/>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11" name="Group 90"/>
              <p:cNvGrpSpPr/>
              <p:nvPr/>
            </p:nvGrpSpPr>
            <p:grpSpPr>
              <a:xfrm>
                <a:off x="121920" y="6553200"/>
                <a:ext cx="365760" cy="304800"/>
                <a:chOff x="-2819400" y="0"/>
                <a:chExt cx="1828800" cy="6858000"/>
              </a:xfrm>
            </p:grpSpPr>
            <p:cxnSp>
              <p:nvCxnSpPr>
                <p:cNvPr id="117" name="Straight Connector 116"/>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12" name="Group 91"/>
              <p:cNvGrpSpPr/>
              <p:nvPr/>
            </p:nvGrpSpPr>
            <p:grpSpPr>
              <a:xfrm>
                <a:off x="3779520" y="6553200"/>
                <a:ext cx="365760" cy="304800"/>
                <a:chOff x="-2819400" y="0"/>
                <a:chExt cx="1828800" cy="6858000"/>
              </a:xfrm>
            </p:grpSpPr>
            <p:cxnSp>
              <p:nvCxnSpPr>
                <p:cNvPr id="113" name="Straight Connector 112"/>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13" name="Group 92"/>
              <p:cNvGrpSpPr/>
              <p:nvPr/>
            </p:nvGrpSpPr>
            <p:grpSpPr>
              <a:xfrm>
                <a:off x="4389120" y="6553200"/>
                <a:ext cx="365760" cy="304800"/>
                <a:chOff x="-2819400" y="0"/>
                <a:chExt cx="1828800" cy="6858000"/>
              </a:xfrm>
            </p:grpSpPr>
            <p:cxnSp>
              <p:nvCxnSpPr>
                <p:cNvPr id="109" name="Straight Connector 108"/>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14" name="Group 93"/>
              <p:cNvGrpSpPr/>
              <p:nvPr/>
            </p:nvGrpSpPr>
            <p:grpSpPr>
              <a:xfrm>
                <a:off x="4998720" y="6553200"/>
                <a:ext cx="365760" cy="304800"/>
                <a:chOff x="-2819400" y="0"/>
                <a:chExt cx="1828800" cy="6858000"/>
              </a:xfrm>
            </p:grpSpPr>
            <p:cxnSp>
              <p:nvCxnSpPr>
                <p:cNvPr id="105" name="Straight Connector 104"/>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34" name="Group 94"/>
              <p:cNvGrpSpPr/>
              <p:nvPr/>
            </p:nvGrpSpPr>
            <p:grpSpPr>
              <a:xfrm>
                <a:off x="5608320" y="6553200"/>
                <a:ext cx="365760" cy="304800"/>
                <a:chOff x="-2819400" y="0"/>
                <a:chExt cx="1828800" cy="6858000"/>
              </a:xfrm>
            </p:grpSpPr>
            <p:cxnSp>
              <p:nvCxnSpPr>
                <p:cNvPr id="101" name="Straight Connector 100"/>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35" name="Group 95"/>
              <p:cNvGrpSpPr/>
              <p:nvPr/>
            </p:nvGrpSpPr>
            <p:grpSpPr>
              <a:xfrm>
                <a:off x="3169920" y="6553200"/>
                <a:ext cx="365760" cy="304800"/>
                <a:chOff x="-2819400" y="0"/>
                <a:chExt cx="1828800" cy="6858000"/>
              </a:xfrm>
            </p:grpSpPr>
            <p:cxnSp>
              <p:nvCxnSpPr>
                <p:cNvPr id="97" name="Straight Connector 96"/>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grpSp>
          <p:nvGrpSpPr>
            <p:cNvPr id="36" name="Group 35"/>
            <p:cNvGrpSpPr/>
            <p:nvPr/>
          </p:nvGrpSpPr>
          <p:grpSpPr>
            <a:xfrm>
              <a:off x="6217920" y="6553200"/>
              <a:ext cx="5852160" cy="304800"/>
              <a:chOff x="121920" y="6553200"/>
              <a:chExt cx="5852160" cy="304800"/>
            </a:xfrm>
          </p:grpSpPr>
          <p:grpSp>
            <p:nvGrpSpPr>
              <p:cNvPr id="37" name="Group 36"/>
              <p:cNvGrpSpPr/>
              <p:nvPr/>
            </p:nvGrpSpPr>
            <p:grpSpPr>
              <a:xfrm>
                <a:off x="731520" y="6553200"/>
                <a:ext cx="365760" cy="304800"/>
                <a:chOff x="-2819400" y="0"/>
                <a:chExt cx="1828800" cy="6858000"/>
              </a:xfrm>
            </p:grpSpPr>
            <p:cxnSp>
              <p:nvCxnSpPr>
                <p:cNvPr id="83" name="Straight Connector 82"/>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38" name="Group 37"/>
              <p:cNvGrpSpPr/>
              <p:nvPr/>
            </p:nvGrpSpPr>
            <p:grpSpPr>
              <a:xfrm>
                <a:off x="1341120" y="6553200"/>
                <a:ext cx="365760" cy="304800"/>
                <a:chOff x="-2819400" y="0"/>
                <a:chExt cx="1828800" cy="6858000"/>
              </a:xfrm>
            </p:grpSpPr>
            <p:cxnSp>
              <p:nvCxnSpPr>
                <p:cNvPr id="79" name="Straight Connector 78"/>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39" name="Group 38"/>
              <p:cNvGrpSpPr/>
              <p:nvPr/>
            </p:nvGrpSpPr>
            <p:grpSpPr>
              <a:xfrm>
                <a:off x="1950720" y="6553200"/>
                <a:ext cx="365760" cy="304800"/>
                <a:chOff x="-2819400" y="0"/>
                <a:chExt cx="1828800" cy="6858000"/>
              </a:xfrm>
            </p:grpSpPr>
            <p:cxnSp>
              <p:nvCxnSpPr>
                <p:cNvPr id="75" name="Straight Connector 74"/>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0" name="Group 39"/>
              <p:cNvGrpSpPr/>
              <p:nvPr/>
            </p:nvGrpSpPr>
            <p:grpSpPr>
              <a:xfrm>
                <a:off x="2560320" y="6553200"/>
                <a:ext cx="365760" cy="304800"/>
                <a:chOff x="-2819400" y="0"/>
                <a:chExt cx="1828800" cy="6858000"/>
              </a:xfrm>
            </p:grpSpPr>
            <p:cxnSp>
              <p:nvCxnSpPr>
                <p:cNvPr id="71" name="Straight Connector 70"/>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121920" y="6553200"/>
                <a:ext cx="365760" cy="304800"/>
                <a:chOff x="-2819400" y="0"/>
                <a:chExt cx="1828800" cy="6858000"/>
              </a:xfrm>
            </p:grpSpPr>
            <p:cxnSp>
              <p:nvCxnSpPr>
                <p:cNvPr id="67" name="Straight Connector 66"/>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3779520" y="6553200"/>
                <a:ext cx="365760" cy="304800"/>
                <a:chOff x="-2819400" y="0"/>
                <a:chExt cx="1828800" cy="6858000"/>
              </a:xfrm>
            </p:grpSpPr>
            <p:cxnSp>
              <p:nvCxnSpPr>
                <p:cNvPr id="63" name="Straight Connector 62"/>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4389120" y="6553200"/>
                <a:ext cx="365760" cy="304800"/>
                <a:chOff x="-2819400" y="0"/>
                <a:chExt cx="1828800" cy="6858000"/>
              </a:xfrm>
            </p:grpSpPr>
            <p:cxnSp>
              <p:nvCxnSpPr>
                <p:cNvPr id="59" name="Straight Connector 58"/>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4998720" y="6553200"/>
                <a:ext cx="365760" cy="304800"/>
                <a:chOff x="-2819400" y="0"/>
                <a:chExt cx="1828800" cy="6858000"/>
              </a:xfrm>
            </p:grpSpPr>
            <p:cxnSp>
              <p:nvCxnSpPr>
                <p:cNvPr id="55" name="Straight Connector 54"/>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5" name="Group 44"/>
              <p:cNvGrpSpPr/>
              <p:nvPr/>
            </p:nvGrpSpPr>
            <p:grpSpPr>
              <a:xfrm>
                <a:off x="5608320" y="6553200"/>
                <a:ext cx="365760" cy="304800"/>
                <a:chOff x="-2819400" y="0"/>
                <a:chExt cx="1828800" cy="6858000"/>
              </a:xfrm>
            </p:grpSpPr>
            <p:cxnSp>
              <p:nvCxnSpPr>
                <p:cNvPr id="51" name="Straight Connector 50"/>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p:nvGrpSpPr>
            <p:grpSpPr>
              <a:xfrm>
                <a:off x="3169920" y="6553200"/>
                <a:ext cx="365760" cy="304800"/>
                <a:chOff x="-2819400" y="0"/>
                <a:chExt cx="1828800" cy="6858000"/>
              </a:xfrm>
            </p:grpSpPr>
            <p:cxnSp>
              <p:nvCxnSpPr>
                <p:cNvPr id="47" name="Straight Connector 46"/>
                <p:cNvCxnSpPr/>
                <p:nvPr/>
              </p:nvCxnSpPr>
              <p:spPr>
                <a:xfrm>
                  <a:off x="-28194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22098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6002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990600" y="0"/>
                  <a:ext cx="0" cy="6858000"/>
                </a:xfrm>
                <a:prstGeom prst="line">
                  <a:avLst/>
                </a:prstGeom>
                <a:ln w="12700">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grpSp>
        </p:grpSp>
      </p:grpSp>
      <p:pic>
        <p:nvPicPr>
          <p:cNvPr id="6" name="Picture 5" descr="HD-ShadowLong.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970240"/>
            <a:ext cx="7828359" cy="321164"/>
          </a:xfrm>
          <a:prstGeom prst="rect">
            <a:avLst/>
          </a:prstGeom>
        </p:spPr>
      </p:pic>
      <p:pic>
        <p:nvPicPr>
          <p:cNvPr id="7" name="Picture 6" descr="HD-ShadowShor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39370" y="1971234"/>
            <a:ext cx="1202248" cy="144270"/>
          </a:xfrm>
          <a:prstGeom prst="rect">
            <a:avLst/>
          </a:prstGeom>
        </p:spPr>
      </p:pic>
      <p:sp>
        <p:nvSpPr>
          <p:cNvPr id="138" name="Text Placeholder 137"/>
          <p:cNvSpPr>
            <a:spLocks noGrp="1"/>
          </p:cNvSpPr>
          <p:nvPr>
            <p:ph type="body" sz="quarter" idx="10" hasCustomPrompt="1"/>
          </p:nvPr>
        </p:nvSpPr>
        <p:spPr>
          <a:xfrm rot="16200000">
            <a:off x="-17096" y="6123620"/>
            <a:ext cx="980414" cy="274320"/>
          </a:xfrm>
        </p:spPr>
        <p:txBody>
          <a:bodyPr anchor="ctr">
            <a:noAutofit/>
          </a:bodyPr>
          <a:lstStyle>
            <a:lvl1pPr marL="0" indent="0" algn="ctr">
              <a:buNone/>
              <a:defRPr sz="1800" b="1" spc="300">
                <a:effectLst/>
              </a:defRPr>
            </a:lvl1pPr>
            <a:lvl2pPr marL="0" indent="0">
              <a:buNone/>
              <a:defRPr sz="1800"/>
            </a:lvl2pPr>
            <a:lvl3pPr marL="0" indent="0">
              <a:buNone/>
              <a:defRPr sz="1800"/>
            </a:lvl3pPr>
            <a:lvl4pPr marL="0" indent="0">
              <a:buNone/>
              <a:defRPr sz="1800"/>
            </a:lvl4pPr>
            <a:lvl5pPr marL="0" indent="0">
              <a:buNone/>
              <a:defRPr sz="1800"/>
            </a:lvl5pPr>
          </a:lstStyle>
          <a:p>
            <a:pPr lvl="0"/>
            <a:r>
              <a:rPr lang="en-US" smtClean="0"/>
              <a:t>YEAR</a:t>
            </a:r>
            <a:endParaRPr lang="en-US"/>
          </a:p>
        </p:txBody>
      </p:sp>
      <p:sp>
        <p:nvSpPr>
          <p:cNvPr id="139" name="Text Placeholder 137"/>
          <p:cNvSpPr>
            <a:spLocks noGrp="1"/>
          </p:cNvSpPr>
          <p:nvPr>
            <p:ph type="body" sz="quarter" idx="11" hasCustomPrompt="1"/>
          </p:nvPr>
        </p:nvSpPr>
        <p:spPr>
          <a:xfrm rot="16200000">
            <a:off x="2247811" y="6123620"/>
            <a:ext cx="980414" cy="274320"/>
          </a:xfrm>
        </p:spPr>
        <p:txBody>
          <a:bodyPr anchor="ctr">
            <a:noAutofit/>
          </a:bodyPr>
          <a:lstStyle>
            <a:lvl1pPr marL="0" indent="0" algn="ctr">
              <a:buNone/>
              <a:defRPr sz="1800" b="1" spc="300">
                <a:effectLst/>
              </a:defRPr>
            </a:lvl1pPr>
            <a:lvl2pPr marL="0" indent="0">
              <a:buNone/>
              <a:defRPr sz="1800"/>
            </a:lvl2pPr>
            <a:lvl3pPr marL="0" indent="0">
              <a:buNone/>
              <a:defRPr sz="1800"/>
            </a:lvl3pPr>
            <a:lvl4pPr marL="0" indent="0">
              <a:buNone/>
              <a:defRPr sz="1800"/>
            </a:lvl4pPr>
            <a:lvl5pPr marL="0" indent="0">
              <a:buNone/>
              <a:defRPr sz="1800"/>
            </a:lvl5pPr>
          </a:lstStyle>
          <a:p>
            <a:pPr lvl="0"/>
            <a:r>
              <a:rPr lang="en-US" smtClean="0"/>
              <a:t>YEAR</a:t>
            </a:r>
            <a:endParaRPr lang="en-US"/>
          </a:p>
        </p:txBody>
      </p:sp>
      <p:sp>
        <p:nvSpPr>
          <p:cNvPr id="140" name="Text Placeholder 137"/>
          <p:cNvSpPr>
            <a:spLocks noGrp="1"/>
          </p:cNvSpPr>
          <p:nvPr>
            <p:ph type="body" sz="quarter" idx="12" hasCustomPrompt="1"/>
          </p:nvPr>
        </p:nvSpPr>
        <p:spPr>
          <a:xfrm rot="16200000">
            <a:off x="4543844" y="6123620"/>
            <a:ext cx="980414" cy="274320"/>
          </a:xfrm>
        </p:spPr>
        <p:txBody>
          <a:bodyPr anchor="ctr">
            <a:noAutofit/>
          </a:bodyPr>
          <a:lstStyle>
            <a:lvl1pPr marL="0" indent="0" algn="ctr">
              <a:buNone/>
              <a:defRPr sz="1800" b="1" spc="300">
                <a:effectLst/>
              </a:defRPr>
            </a:lvl1pPr>
            <a:lvl2pPr marL="0" indent="0">
              <a:buNone/>
              <a:defRPr sz="1800"/>
            </a:lvl2pPr>
            <a:lvl3pPr marL="0" indent="0">
              <a:buNone/>
              <a:defRPr sz="1800"/>
            </a:lvl3pPr>
            <a:lvl4pPr marL="0" indent="0">
              <a:buNone/>
              <a:defRPr sz="1800"/>
            </a:lvl4pPr>
            <a:lvl5pPr marL="0" indent="0">
              <a:buNone/>
              <a:defRPr sz="1800"/>
            </a:lvl5pPr>
          </a:lstStyle>
          <a:p>
            <a:pPr lvl="0"/>
            <a:r>
              <a:rPr lang="en-US" smtClean="0"/>
              <a:t>YEAR</a:t>
            </a:r>
            <a:endParaRPr lang="en-US"/>
          </a:p>
        </p:txBody>
      </p:sp>
      <p:sp>
        <p:nvSpPr>
          <p:cNvPr id="141" name="Text Placeholder 137"/>
          <p:cNvSpPr>
            <a:spLocks noGrp="1"/>
          </p:cNvSpPr>
          <p:nvPr>
            <p:ph type="body" sz="quarter" idx="13" hasCustomPrompt="1"/>
          </p:nvPr>
        </p:nvSpPr>
        <p:spPr>
          <a:xfrm rot="16200000">
            <a:off x="6830176" y="6123620"/>
            <a:ext cx="980414" cy="274320"/>
          </a:xfrm>
        </p:spPr>
        <p:txBody>
          <a:bodyPr anchor="ctr">
            <a:noAutofit/>
          </a:bodyPr>
          <a:lstStyle>
            <a:lvl1pPr marL="0" indent="0" algn="ctr">
              <a:buNone/>
              <a:defRPr sz="1800" b="1" spc="300">
                <a:effectLst/>
              </a:defRPr>
            </a:lvl1pPr>
            <a:lvl2pPr marL="0" indent="0">
              <a:buNone/>
              <a:defRPr sz="1800"/>
            </a:lvl2pPr>
            <a:lvl3pPr marL="0" indent="0">
              <a:buNone/>
              <a:defRPr sz="1800"/>
            </a:lvl3pPr>
            <a:lvl4pPr marL="0" indent="0">
              <a:buNone/>
              <a:defRPr sz="1800"/>
            </a:lvl4pPr>
            <a:lvl5pPr marL="0" indent="0">
              <a:buNone/>
              <a:defRPr sz="1800"/>
            </a:lvl5pPr>
          </a:lstStyle>
          <a:p>
            <a:pPr lvl="0"/>
            <a:r>
              <a:rPr lang="en-US" smtClean="0"/>
              <a:t>YEAR</a:t>
            </a:r>
            <a:endParaRPr lang="en-US"/>
          </a:p>
        </p:txBody>
      </p:sp>
      <p:sp>
        <p:nvSpPr>
          <p:cNvPr id="177" name="Text Placeholder 174"/>
          <p:cNvSpPr>
            <a:spLocks noGrp="1"/>
          </p:cNvSpPr>
          <p:nvPr>
            <p:ph type="body" sz="quarter" idx="29" hasCustomPrompt="1"/>
          </p:nvPr>
        </p:nvSpPr>
        <p:spPr>
          <a:xfrm>
            <a:off x="632846" y="3653736"/>
            <a:ext cx="994410" cy="2290486"/>
          </a:xfrm>
          <a:blipFill>
            <a:blip r:embed="rId4" cstate="print"/>
            <a:srcRect/>
            <a:stretch>
              <a:fillRect t="-2" b="-87334"/>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Mon Year</a:t>
            </a:r>
          </a:p>
          <a:p>
            <a:pPr lvl="1"/>
            <a:r>
              <a:rPr lang="en-US" smtClean="0"/>
              <a:t>Add event details here</a:t>
            </a:r>
          </a:p>
        </p:txBody>
      </p:sp>
      <p:sp>
        <p:nvSpPr>
          <p:cNvPr id="176" name="Text Placeholder 174"/>
          <p:cNvSpPr>
            <a:spLocks noGrp="1"/>
          </p:cNvSpPr>
          <p:nvPr>
            <p:ph type="body" sz="quarter" idx="28" hasCustomPrompt="1"/>
          </p:nvPr>
        </p:nvSpPr>
        <p:spPr>
          <a:xfrm>
            <a:off x="2096060" y="2973492"/>
            <a:ext cx="994410" cy="2970730"/>
          </a:xfrm>
          <a:blipFill>
            <a:blip r:embed="rId5" cstate="print"/>
            <a:srcRect/>
            <a:stretch>
              <a:fillRect t="-4" b="-44435"/>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Mon Year</a:t>
            </a:r>
          </a:p>
          <a:p>
            <a:pPr lvl="1"/>
            <a:r>
              <a:rPr lang="en-US" smtClean="0"/>
              <a:t>Add event details here</a:t>
            </a:r>
          </a:p>
        </p:txBody>
      </p:sp>
      <p:sp>
        <p:nvSpPr>
          <p:cNvPr id="175" name="Text Placeholder 174"/>
          <p:cNvSpPr>
            <a:spLocks noGrp="1"/>
          </p:cNvSpPr>
          <p:nvPr>
            <p:ph type="body" sz="quarter" idx="27" hasCustomPrompt="1"/>
          </p:nvPr>
        </p:nvSpPr>
        <p:spPr>
          <a:xfrm>
            <a:off x="3466415" y="2281258"/>
            <a:ext cx="994410" cy="3662964"/>
          </a:xfrm>
          <a:blipFill>
            <a:blip r:embed="rId6" cstate="print"/>
            <a:srcRect/>
            <a:stretch>
              <a:fillRect t="-3" b="-17141"/>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Mon Year</a:t>
            </a:r>
          </a:p>
          <a:p>
            <a:pPr lvl="1"/>
            <a:r>
              <a:rPr lang="en-US" smtClean="0"/>
              <a:t>Add event details here</a:t>
            </a:r>
          </a:p>
        </p:txBody>
      </p:sp>
      <p:sp>
        <p:nvSpPr>
          <p:cNvPr id="178" name="Text Placeholder 174"/>
          <p:cNvSpPr>
            <a:spLocks noGrp="1"/>
          </p:cNvSpPr>
          <p:nvPr>
            <p:ph type="body" sz="quarter" idx="30" hasCustomPrompt="1"/>
          </p:nvPr>
        </p:nvSpPr>
        <p:spPr>
          <a:xfrm>
            <a:off x="4556817" y="3661974"/>
            <a:ext cx="994410" cy="2282248"/>
          </a:xfrm>
          <a:blipFill>
            <a:blip r:embed="rId4" cstate="print"/>
            <a:srcRect/>
            <a:stretch>
              <a:fillRect t="-1" b="-88011"/>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Mon Year</a:t>
            </a:r>
          </a:p>
          <a:p>
            <a:pPr lvl="1"/>
            <a:r>
              <a:rPr lang="en-US" smtClean="0"/>
              <a:t>Add event details here</a:t>
            </a:r>
          </a:p>
        </p:txBody>
      </p:sp>
      <p:sp>
        <p:nvSpPr>
          <p:cNvPr id="179" name="Text Placeholder 174"/>
          <p:cNvSpPr>
            <a:spLocks noGrp="1"/>
          </p:cNvSpPr>
          <p:nvPr>
            <p:ph type="body" sz="quarter" idx="31" hasCustomPrompt="1"/>
          </p:nvPr>
        </p:nvSpPr>
        <p:spPr>
          <a:xfrm>
            <a:off x="6027185" y="2969022"/>
            <a:ext cx="994410" cy="2975201"/>
          </a:xfrm>
          <a:blipFill>
            <a:blip r:embed="rId5" cstate="print"/>
            <a:srcRect/>
            <a:stretch>
              <a:fillRect t="-4" b="-44219"/>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Mon Year</a:t>
            </a:r>
          </a:p>
          <a:p>
            <a:pPr lvl="1"/>
            <a:r>
              <a:rPr lang="en-US" smtClean="0"/>
              <a:t>Add event details here</a:t>
            </a:r>
          </a:p>
        </p:txBody>
      </p:sp>
      <p:sp>
        <p:nvSpPr>
          <p:cNvPr id="180" name="Text Placeholder 174"/>
          <p:cNvSpPr>
            <a:spLocks noGrp="1"/>
          </p:cNvSpPr>
          <p:nvPr>
            <p:ph type="body" sz="quarter" idx="32" hasCustomPrompt="1"/>
          </p:nvPr>
        </p:nvSpPr>
        <p:spPr>
          <a:xfrm>
            <a:off x="7579708" y="2281258"/>
            <a:ext cx="994410" cy="3662964"/>
          </a:xfrm>
          <a:blipFill>
            <a:blip r:embed="rId6" cstate="print"/>
            <a:srcRect/>
            <a:stretch>
              <a:fillRect t="-3" b="-17141"/>
            </a:stretch>
          </a:blipFill>
        </p:spPr>
        <p:txBody>
          <a:bodyPr tIns="228600">
            <a:normAutofit/>
          </a:bodyPr>
          <a:lstStyle>
            <a:lvl1pPr marL="60325" indent="-60325">
              <a:spcBef>
                <a:spcPts val="0"/>
              </a:spcBef>
              <a:spcAft>
                <a:spcPts val="2400"/>
              </a:spcAft>
              <a:buFont typeface="Trebuchet MS" panose="020B0603020202020204" pitchFamily="34" charset="0"/>
              <a:buChar char=" "/>
              <a:defRPr sz="1400">
                <a:solidFill>
                  <a:schemeClr val="bg1"/>
                </a:solidFill>
                <a:effectLst/>
              </a:defRPr>
            </a:lvl1pPr>
            <a:lvl2pPr marL="109728" indent="-47625">
              <a:buFont typeface="Trebuchet MS" panose="020B0603020202020204" pitchFamily="34" charset="0"/>
              <a:buChar char=" "/>
              <a:defRPr sz="1200">
                <a:effectLst/>
              </a:defRPr>
            </a:lvl2pPr>
            <a:lvl3pPr marL="164592" indent="-45720">
              <a:buFont typeface="Trebuchet MS" panose="020B0603020202020204" pitchFamily="34" charset="0"/>
              <a:buChar char=" "/>
              <a:defRPr sz="1200">
                <a:effectLst/>
              </a:defRPr>
            </a:lvl3pPr>
            <a:lvl4pPr marL="64008" indent="0">
              <a:buFont typeface="Trebuchet MS" panose="020B0603020202020204" pitchFamily="34" charset="0"/>
              <a:buNone/>
              <a:defRPr sz="1200">
                <a:effectLst/>
              </a:defRPr>
            </a:lvl4pPr>
            <a:lvl5pPr marL="109728" indent="-45720">
              <a:buFont typeface="Trebuchet MS" panose="020B0603020202020204" pitchFamily="34" charset="0"/>
              <a:buChar char=" "/>
              <a:defRPr sz="1200">
                <a:effectLst/>
              </a:defRPr>
            </a:lvl5pPr>
            <a:lvl6pPr marL="109728" indent="-45720">
              <a:buFont typeface="Trebuchet MS" panose="020B0603020202020204" pitchFamily="34" charset="0"/>
              <a:buChar char=" "/>
              <a:defRPr sz="1200"/>
            </a:lvl6pPr>
            <a:lvl7pPr marL="109728" indent="-45720">
              <a:buFont typeface="Trebuchet MS" panose="020B0603020202020204" pitchFamily="34" charset="0"/>
              <a:buChar char=" "/>
              <a:defRPr sz="1200"/>
            </a:lvl7pPr>
            <a:lvl8pPr marL="109728" indent="-45720">
              <a:buFont typeface="Trebuchet MS" panose="020B0603020202020204" pitchFamily="34" charset="0"/>
              <a:buChar char=" "/>
              <a:defRPr sz="1200"/>
            </a:lvl8pPr>
            <a:lvl9pPr marL="109728" indent="-45720">
              <a:buFont typeface="Trebuchet MS" panose="020B0603020202020204" pitchFamily="34" charset="0"/>
              <a:buChar char=" "/>
              <a:defRPr sz="1200"/>
            </a:lvl9pPr>
          </a:lstStyle>
          <a:p>
            <a:pPr lvl="0"/>
            <a:r>
              <a:rPr lang="en-US" smtClean="0"/>
              <a:t>Mon Year</a:t>
            </a:r>
          </a:p>
          <a:p>
            <a:pPr lvl="1"/>
            <a:r>
              <a:rPr lang="en-US" smtClean="0"/>
              <a:t>Add event details here</a:t>
            </a:r>
          </a:p>
        </p:txBody>
      </p:sp>
    </p:spTree>
    <p:extLst>
      <p:ext uri="{BB962C8B-B14F-4D97-AF65-F5344CB8AC3E}">
        <p14:creationId xmlns:p14="http://schemas.microsoft.com/office/powerpoint/2010/main" val="314161651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p:spPr>
        <p:txBody>
          <a:bodyPr/>
          <a:lstStyle/>
          <a:p>
            <a:r>
              <a:rPr lang="en-US" smtClean="0"/>
              <a:t>Click to edit Master title style</a:t>
            </a:r>
            <a:endParaRPr lang="es-CL"/>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s-CL"/>
          </a:p>
        </p:txBody>
      </p:sp>
      <p:sp>
        <p:nvSpPr>
          <p:cNvPr id="4" name="3 Marcador de fecha"/>
          <p:cNvSpPr>
            <a:spLocks noGrp="1"/>
          </p:cNvSpPr>
          <p:nvPr>
            <p:ph type="dt" sz="half" idx="10"/>
          </p:nvPr>
        </p:nvSpPr>
        <p:spPr/>
        <p:txBody>
          <a:bodyPr/>
          <a:lstStyle/>
          <a:p>
            <a:fld id="{D6832674-AE60-413F-BD97-1CB2E5EBF967}" type="datetimeFigureOut">
              <a:rPr lang="es-CL" smtClean="0"/>
              <a:t>5/30/16</a:t>
            </a:fld>
            <a:endParaRPr lang="es-CL"/>
          </a:p>
        </p:txBody>
      </p:sp>
      <p:sp>
        <p:nvSpPr>
          <p:cNvPr id="5" name="4 Marcador de pie de página"/>
          <p:cNvSpPr>
            <a:spLocks noGrp="1"/>
          </p:cNvSpPr>
          <p:nvPr>
            <p:ph type="ftr" sz="quarter" idx="11"/>
          </p:nvPr>
        </p:nvSpPr>
        <p:spPr/>
        <p:txBody>
          <a:bodyPr/>
          <a:lstStyle/>
          <a:p>
            <a:endParaRPr lang="es-CL"/>
          </a:p>
        </p:txBody>
      </p:sp>
      <p:sp>
        <p:nvSpPr>
          <p:cNvPr id="6" name="5 Marcador de número de diapositiva"/>
          <p:cNvSpPr>
            <a:spLocks noGrp="1"/>
          </p:cNvSpPr>
          <p:nvPr>
            <p:ph type="sldNum" sz="quarter" idx="12"/>
          </p:nvPr>
        </p:nvSpPr>
        <p:spPr/>
        <p:txBody>
          <a:bodyPr/>
          <a:lstStyle/>
          <a:p>
            <a:pPr>
              <a:defRPr/>
            </a:pPr>
            <a:fld id="{369AF959-3F19-45C0-BDE8-016007A35A46}" type="slidenum">
              <a:rPr lang="en-US" altLang="en-US" smtClean="0"/>
              <a:pPr>
                <a:defRPr/>
              </a:pPr>
              <a:t>‹#›</a:t>
            </a:fld>
            <a:endParaRPr lang="en-US" altLang="en-US"/>
          </a:p>
        </p:txBody>
      </p:sp>
    </p:spTree>
    <p:extLst>
      <p:ext uri="{BB962C8B-B14F-4D97-AF65-F5344CB8AC3E}">
        <p14:creationId xmlns:p14="http://schemas.microsoft.com/office/powerpoint/2010/main" val="353727263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hf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smtClean="0"/>
              <a:t>Click to edit Master title style</a:t>
            </a:r>
            <a:endParaRPr lang="es-CL"/>
          </a:p>
        </p:txBody>
      </p:sp>
      <p:sp>
        <p:nvSpPr>
          <p:cNvPr id="3" name="2 Marcador de contenido"/>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3 Marcador de fecha"/>
          <p:cNvSpPr>
            <a:spLocks noGrp="1"/>
          </p:cNvSpPr>
          <p:nvPr>
            <p:ph type="dt" sz="half" idx="10"/>
          </p:nvPr>
        </p:nvSpPr>
        <p:spPr/>
        <p:txBody>
          <a:bodyPr/>
          <a:lstStyle/>
          <a:p>
            <a:fld id="{D6832674-AE60-413F-BD97-1CB2E5EBF967}" type="datetimeFigureOut">
              <a:rPr lang="es-CL" smtClean="0"/>
              <a:t>5/30/16</a:t>
            </a:fld>
            <a:endParaRPr lang="es-CL"/>
          </a:p>
        </p:txBody>
      </p:sp>
      <p:sp>
        <p:nvSpPr>
          <p:cNvPr id="5" name="4 Marcador de pie de página"/>
          <p:cNvSpPr>
            <a:spLocks noGrp="1"/>
          </p:cNvSpPr>
          <p:nvPr>
            <p:ph type="ftr" sz="quarter" idx="11"/>
          </p:nvPr>
        </p:nvSpPr>
        <p:spPr/>
        <p:txBody>
          <a:bodyPr/>
          <a:lstStyle/>
          <a:p>
            <a:endParaRPr lang="es-CL"/>
          </a:p>
        </p:txBody>
      </p:sp>
      <p:sp>
        <p:nvSpPr>
          <p:cNvPr id="6" name="5 Marcador de número de diapositiva"/>
          <p:cNvSpPr>
            <a:spLocks noGrp="1"/>
          </p:cNvSpPr>
          <p:nvPr>
            <p:ph type="sldNum" sz="quarter" idx="12"/>
          </p:nvPr>
        </p:nvSpPr>
        <p:spPr/>
        <p:txBody>
          <a:bodyPr/>
          <a:lstStyle/>
          <a:p>
            <a:pPr>
              <a:defRPr/>
            </a:pPr>
            <a:fld id="{369AF959-3F19-45C0-BDE8-016007A35A46}" type="slidenum">
              <a:rPr lang="en-US" altLang="en-US" smtClean="0"/>
              <a:pPr>
                <a:defRPr/>
              </a:pPr>
              <a:t>‹#›</a:t>
            </a:fld>
            <a:endParaRPr lang="en-US" altLang="en-US"/>
          </a:p>
        </p:txBody>
      </p:sp>
    </p:spTree>
    <p:extLst>
      <p:ext uri="{BB962C8B-B14F-4D97-AF65-F5344CB8AC3E}">
        <p14:creationId xmlns:p14="http://schemas.microsoft.com/office/powerpoint/2010/main" val="46993816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hf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s-CL"/>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3 Marcador de fecha"/>
          <p:cNvSpPr>
            <a:spLocks noGrp="1"/>
          </p:cNvSpPr>
          <p:nvPr>
            <p:ph type="dt" sz="half" idx="10"/>
          </p:nvPr>
        </p:nvSpPr>
        <p:spPr/>
        <p:txBody>
          <a:bodyPr/>
          <a:lstStyle/>
          <a:p>
            <a:fld id="{D6832674-AE60-413F-BD97-1CB2E5EBF967}" type="datetimeFigureOut">
              <a:rPr lang="es-CL" smtClean="0"/>
              <a:t>5/30/16</a:t>
            </a:fld>
            <a:endParaRPr lang="es-CL"/>
          </a:p>
        </p:txBody>
      </p:sp>
      <p:sp>
        <p:nvSpPr>
          <p:cNvPr id="5" name="4 Marcador de pie de página"/>
          <p:cNvSpPr>
            <a:spLocks noGrp="1"/>
          </p:cNvSpPr>
          <p:nvPr>
            <p:ph type="ftr" sz="quarter" idx="11"/>
          </p:nvPr>
        </p:nvSpPr>
        <p:spPr/>
        <p:txBody>
          <a:bodyPr/>
          <a:lstStyle/>
          <a:p>
            <a:endParaRPr lang="es-CL"/>
          </a:p>
        </p:txBody>
      </p:sp>
      <p:sp>
        <p:nvSpPr>
          <p:cNvPr id="6" name="5 Marcador de número de diapositiva"/>
          <p:cNvSpPr>
            <a:spLocks noGrp="1"/>
          </p:cNvSpPr>
          <p:nvPr>
            <p:ph type="sldNum" sz="quarter" idx="12"/>
          </p:nvPr>
        </p:nvSpPr>
        <p:spPr/>
        <p:txBody>
          <a:bodyPr/>
          <a:lstStyle/>
          <a:p>
            <a:pPr>
              <a:defRPr/>
            </a:pPr>
            <a:fld id="{369AF959-3F19-45C0-BDE8-016007A35A46}" type="slidenum">
              <a:rPr lang="en-US" altLang="en-US" smtClean="0"/>
              <a:pPr>
                <a:defRPr/>
              </a:pPr>
              <a:t>‹#›</a:t>
            </a:fld>
            <a:endParaRPr lang="en-US" altLang="en-US"/>
          </a:p>
        </p:txBody>
      </p:sp>
    </p:spTree>
    <p:extLst>
      <p:ext uri="{BB962C8B-B14F-4D97-AF65-F5344CB8AC3E}">
        <p14:creationId xmlns:p14="http://schemas.microsoft.com/office/powerpoint/2010/main" val="294014866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hf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smtClean="0"/>
              <a:t>Click to edit Master title style</a:t>
            </a:r>
            <a:endParaRPr lang="es-CL"/>
          </a:p>
        </p:txBody>
      </p:sp>
      <p:sp>
        <p:nvSpPr>
          <p:cNvPr id="3" name="2 Marcador de contenido"/>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3 Marcador de contenido"/>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4 Marcador de fecha"/>
          <p:cNvSpPr>
            <a:spLocks noGrp="1"/>
          </p:cNvSpPr>
          <p:nvPr>
            <p:ph type="dt" sz="half" idx="10"/>
          </p:nvPr>
        </p:nvSpPr>
        <p:spPr/>
        <p:txBody>
          <a:bodyPr/>
          <a:lstStyle/>
          <a:p>
            <a:fld id="{D6832674-AE60-413F-BD97-1CB2E5EBF967}" type="datetimeFigureOut">
              <a:rPr lang="es-CL" smtClean="0"/>
              <a:t>5/30/16</a:t>
            </a:fld>
            <a:endParaRPr lang="es-CL"/>
          </a:p>
        </p:txBody>
      </p:sp>
      <p:sp>
        <p:nvSpPr>
          <p:cNvPr id="6" name="5 Marcador de pie de página"/>
          <p:cNvSpPr>
            <a:spLocks noGrp="1"/>
          </p:cNvSpPr>
          <p:nvPr>
            <p:ph type="ftr" sz="quarter" idx="11"/>
          </p:nvPr>
        </p:nvSpPr>
        <p:spPr/>
        <p:txBody>
          <a:bodyPr/>
          <a:lstStyle/>
          <a:p>
            <a:endParaRPr lang="es-CL"/>
          </a:p>
        </p:txBody>
      </p:sp>
      <p:sp>
        <p:nvSpPr>
          <p:cNvPr id="7" name="6 Marcador de número de diapositiva"/>
          <p:cNvSpPr>
            <a:spLocks noGrp="1"/>
          </p:cNvSpPr>
          <p:nvPr>
            <p:ph type="sldNum" sz="quarter" idx="12"/>
          </p:nvPr>
        </p:nvSpPr>
        <p:spPr/>
        <p:txBody>
          <a:bodyPr/>
          <a:lstStyle/>
          <a:p>
            <a:pPr>
              <a:defRPr/>
            </a:pPr>
            <a:fld id="{369AF959-3F19-45C0-BDE8-016007A35A46}" type="slidenum">
              <a:rPr lang="en-US" altLang="en-US" smtClean="0"/>
              <a:pPr>
                <a:defRPr/>
              </a:pPr>
              <a:t>‹#›</a:t>
            </a:fld>
            <a:endParaRPr lang="en-US" altLang="en-US"/>
          </a:p>
        </p:txBody>
      </p:sp>
    </p:spTree>
    <p:extLst>
      <p:ext uri="{BB962C8B-B14F-4D97-AF65-F5344CB8AC3E}">
        <p14:creationId xmlns:p14="http://schemas.microsoft.com/office/powerpoint/2010/main" val="262223984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hf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n-US" smtClean="0"/>
              <a:t>Click to edit Master title style</a:t>
            </a:r>
            <a:endParaRPr lang="es-CL"/>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7" name="6 Marcador de fecha"/>
          <p:cNvSpPr>
            <a:spLocks noGrp="1"/>
          </p:cNvSpPr>
          <p:nvPr>
            <p:ph type="dt" sz="half" idx="10"/>
          </p:nvPr>
        </p:nvSpPr>
        <p:spPr/>
        <p:txBody>
          <a:bodyPr/>
          <a:lstStyle/>
          <a:p>
            <a:fld id="{D6832674-AE60-413F-BD97-1CB2E5EBF967}" type="datetimeFigureOut">
              <a:rPr lang="es-CL" smtClean="0"/>
              <a:t>5/30/16</a:t>
            </a:fld>
            <a:endParaRPr lang="es-CL"/>
          </a:p>
        </p:txBody>
      </p:sp>
      <p:sp>
        <p:nvSpPr>
          <p:cNvPr id="8" name="7 Marcador de pie de página"/>
          <p:cNvSpPr>
            <a:spLocks noGrp="1"/>
          </p:cNvSpPr>
          <p:nvPr>
            <p:ph type="ftr" sz="quarter" idx="11"/>
          </p:nvPr>
        </p:nvSpPr>
        <p:spPr/>
        <p:txBody>
          <a:bodyPr/>
          <a:lstStyle/>
          <a:p>
            <a:endParaRPr lang="es-CL"/>
          </a:p>
        </p:txBody>
      </p:sp>
      <p:sp>
        <p:nvSpPr>
          <p:cNvPr id="9" name="8 Marcador de número de diapositiva"/>
          <p:cNvSpPr>
            <a:spLocks noGrp="1"/>
          </p:cNvSpPr>
          <p:nvPr>
            <p:ph type="sldNum" sz="quarter" idx="12"/>
          </p:nvPr>
        </p:nvSpPr>
        <p:spPr/>
        <p:txBody>
          <a:bodyPr/>
          <a:lstStyle/>
          <a:p>
            <a:pPr>
              <a:defRPr/>
            </a:pPr>
            <a:fld id="{369AF959-3F19-45C0-BDE8-016007A35A46}" type="slidenum">
              <a:rPr lang="en-US" altLang="en-US" smtClean="0"/>
              <a:pPr>
                <a:defRPr/>
              </a:pPr>
              <a:t>‹#›</a:t>
            </a:fld>
            <a:endParaRPr lang="en-US" altLang="en-US"/>
          </a:p>
        </p:txBody>
      </p:sp>
    </p:spTree>
    <p:extLst>
      <p:ext uri="{BB962C8B-B14F-4D97-AF65-F5344CB8AC3E}">
        <p14:creationId xmlns:p14="http://schemas.microsoft.com/office/powerpoint/2010/main" val="38317926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hf hdr="0" ftr="0" dt="0"/>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smtClean="0"/>
              <a:t>Click to edit Master title style</a:t>
            </a:r>
            <a:endParaRPr lang="es-CL"/>
          </a:p>
        </p:txBody>
      </p:sp>
      <p:sp>
        <p:nvSpPr>
          <p:cNvPr id="3" name="2 Marcador de fecha"/>
          <p:cNvSpPr>
            <a:spLocks noGrp="1"/>
          </p:cNvSpPr>
          <p:nvPr>
            <p:ph type="dt" sz="half" idx="10"/>
          </p:nvPr>
        </p:nvSpPr>
        <p:spPr/>
        <p:txBody>
          <a:bodyPr/>
          <a:lstStyle/>
          <a:p>
            <a:fld id="{D6832674-AE60-413F-BD97-1CB2E5EBF967}" type="datetimeFigureOut">
              <a:rPr lang="es-CL" smtClean="0"/>
              <a:t>5/30/16</a:t>
            </a:fld>
            <a:endParaRPr lang="es-CL"/>
          </a:p>
        </p:txBody>
      </p:sp>
      <p:sp>
        <p:nvSpPr>
          <p:cNvPr id="4" name="3 Marcador de pie de página"/>
          <p:cNvSpPr>
            <a:spLocks noGrp="1"/>
          </p:cNvSpPr>
          <p:nvPr>
            <p:ph type="ftr" sz="quarter" idx="11"/>
          </p:nvPr>
        </p:nvSpPr>
        <p:spPr/>
        <p:txBody>
          <a:bodyPr/>
          <a:lstStyle/>
          <a:p>
            <a:endParaRPr lang="es-CL"/>
          </a:p>
        </p:txBody>
      </p:sp>
      <p:sp>
        <p:nvSpPr>
          <p:cNvPr id="5" name="4 Marcador de número de diapositiva"/>
          <p:cNvSpPr>
            <a:spLocks noGrp="1"/>
          </p:cNvSpPr>
          <p:nvPr>
            <p:ph type="sldNum" sz="quarter" idx="12"/>
          </p:nvPr>
        </p:nvSpPr>
        <p:spPr/>
        <p:txBody>
          <a:bodyPr/>
          <a:lstStyle/>
          <a:p>
            <a:pPr>
              <a:defRPr/>
            </a:pPr>
            <a:fld id="{369AF959-3F19-45C0-BDE8-016007A35A46}" type="slidenum">
              <a:rPr lang="en-US" altLang="en-US" smtClean="0"/>
              <a:pPr>
                <a:defRPr/>
              </a:pPr>
              <a:t>‹#›</a:t>
            </a:fld>
            <a:endParaRPr lang="en-US" altLang="en-US"/>
          </a:p>
        </p:txBody>
      </p:sp>
    </p:spTree>
    <p:extLst>
      <p:ext uri="{BB962C8B-B14F-4D97-AF65-F5344CB8AC3E}">
        <p14:creationId xmlns:p14="http://schemas.microsoft.com/office/powerpoint/2010/main" val="228642713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hf hdr="0" ftr="0" dt="0"/>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theme" Target="../theme/theme1.xml"/><Relationship Id="rId24" Type="http://schemas.openxmlformats.org/officeDocument/2006/relationships/vmlDrawing" Target="../drawings/vmlDrawing1.vml"/><Relationship Id="rId25" Type="http://schemas.openxmlformats.org/officeDocument/2006/relationships/tags" Target="../tags/tag1.xml"/><Relationship Id="rId26" Type="http://schemas.openxmlformats.org/officeDocument/2006/relationships/tags" Target="../tags/tag2.xml"/><Relationship Id="rId27" Type="http://schemas.openxmlformats.org/officeDocument/2006/relationships/tags" Target="../tags/tag3.xml"/><Relationship Id="rId28" Type="http://schemas.openxmlformats.org/officeDocument/2006/relationships/tags" Target="../tags/tag4.xml"/><Relationship Id="rId29" Type="http://schemas.openxmlformats.org/officeDocument/2006/relationships/oleObject" Target="../embeddings/oleObject1.bin"/><Relationship Id="rId30" Type="http://schemas.openxmlformats.org/officeDocument/2006/relationships/image" Target="../media/image1.jpe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31.xml"/><Relationship Id="rId20" Type="http://schemas.openxmlformats.org/officeDocument/2006/relationships/theme" Target="../theme/theme2.xml"/><Relationship Id="rId21" Type="http://schemas.openxmlformats.org/officeDocument/2006/relationships/vmlDrawing" Target="../drawings/vmlDrawing11.vml"/><Relationship Id="rId22" Type="http://schemas.openxmlformats.org/officeDocument/2006/relationships/tags" Target="../tags/tag32.xml"/><Relationship Id="rId23" Type="http://schemas.openxmlformats.org/officeDocument/2006/relationships/tags" Target="../tags/tag33.xml"/><Relationship Id="rId24" Type="http://schemas.openxmlformats.org/officeDocument/2006/relationships/tags" Target="../tags/tag34.xml"/><Relationship Id="rId25" Type="http://schemas.openxmlformats.org/officeDocument/2006/relationships/tags" Target="../tags/tag35.xml"/><Relationship Id="rId26" Type="http://schemas.openxmlformats.org/officeDocument/2006/relationships/oleObject" Target="../embeddings/oleObject12.bin"/><Relationship Id="rId27" Type="http://schemas.openxmlformats.org/officeDocument/2006/relationships/image" Target="../media/image11.jpeg"/><Relationship Id="rId10" Type="http://schemas.openxmlformats.org/officeDocument/2006/relationships/slideLayout" Target="../slideLayouts/slideLayout32.xml"/><Relationship Id="rId11" Type="http://schemas.openxmlformats.org/officeDocument/2006/relationships/slideLayout" Target="../slideLayouts/slideLayout33.xml"/><Relationship Id="rId12" Type="http://schemas.openxmlformats.org/officeDocument/2006/relationships/slideLayout" Target="../slideLayouts/slideLayout34.xml"/><Relationship Id="rId13" Type="http://schemas.openxmlformats.org/officeDocument/2006/relationships/slideLayout" Target="../slideLayouts/slideLayout35.xml"/><Relationship Id="rId14" Type="http://schemas.openxmlformats.org/officeDocument/2006/relationships/slideLayout" Target="../slideLayouts/slideLayout36.xml"/><Relationship Id="rId15" Type="http://schemas.openxmlformats.org/officeDocument/2006/relationships/slideLayout" Target="../slideLayouts/slideLayout37.xml"/><Relationship Id="rId16" Type="http://schemas.openxmlformats.org/officeDocument/2006/relationships/slideLayout" Target="../slideLayouts/slideLayout38.xml"/><Relationship Id="rId17" Type="http://schemas.openxmlformats.org/officeDocument/2006/relationships/slideLayout" Target="../slideLayouts/slideLayout39.xml"/><Relationship Id="rId18" Type="http://schemas.openxmlformats.org/officeDocument/2006/relationships/slideLayout" Target="../slideLayouts/slideLayout40.xml"/><Relationship Id="rId19" Type="http://schemas.openxmlformats.org/officeDocument/2006/relationships/slideLayout" Target="../slideLayouts/slideLayout41.xml"/><Relationship Id="rId1" Type="http://schemas.openxmlformats.org/officeDocument/2006/relationships/slideLayout" Target="../slideLayouts/slideLayout23.xml"/><Relationship Id="rId2" Type="http://schemas.openxmlformats.org/officeDocument/2006/relationships/slideLayout" Target="../slideLayouts/slideLayout24.xml"/><Relationship Id="rId3" Type="http://schemas.openxmlformats.org/officeDocument/2006/relationships/slideLayout" Target="../slideLayouts/slideLayout25.xml"/><Relationship Id="rId4" Type="http://schemas.openxmlformats.org/officeDocument/2006/relationships/slideLayout" Target="../slideLayouts/slideLayout26.xml"/><Relationship Id="rId5" Type="http://schemas.openxmlformats.org/officeDocument/2006/relationships/slideLayout" Target="../slideLayouts/slideLayout27.xml"/><Relationship Id="rId6" Type="http://schemas.openxmlformats.org/officeDocument/2006/relationships/slideLayout" Target="../slideLayouts/slideLayout28.xml"/><Relationship Id="rId7" Type="http://schemas.openxmlformats.org/officeDocument/2006/relationships/slideLayout" Target="../slideLayouts/slideLayout29.xml"/><Relationship Id="rId8"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50.xml"/><Relationship Id="rId20" Type="http://schemas.openxmlformats.org/officeDocument/2006/relationships/tags" Target="../tags/tag55.xml"/><Relationship Id="rId21" Type="http://schemas.openxmlformats.org/officeDocument/2006/relationships/tags" Target="../tags/tag56.xml"/><Relationship Id="rId22" Type="http://schemas.openxmlformats.org/officeDocument/2006/relationships/tags" Target="../tags/tag57.xml"/><Relationship Id="rId23" Type="http://schemas.openxmlformats.org/officeDocument/2006/relationships/tags" Target="../tags/tag58.xml"/><Relationship Id="rId24" Type="http://schemas.openxmlformats.org/officeDocument/2006/relationships/oleObject" Target="../embeddings/oleObject15.bin"/><Relationship Id="rId25" Type="http://schemas.openxmlformats.org/officeDocument/2006/relationships/image" Target="../media/image11.jpeg"/><Relationship Id="rId10" Type="http://schemas.openxmlformats.org/officeDocument/2006/relationships/slideLayout" Target="../slideLayouts/slideLayout51.xml"/><Relationship Id="rId11" Type="http://schemas.openxmlformats.org/officeDocument/2006/relationships/slideLayout" Target="../slideLayouts/slideLayout52.xml"/><Relationship Id="rId12" Type="http://schemas.openxmlformats.org/officeDocument/2006/relationships/slideLayout" Target="../slideLayouts/slideLayout53.xml"/><Relationship Id="rId13" Type="http://schemas.openxmlformats.org/officeDocument/2006/relationships/slideLayout" Target="../slideLayouts/slideLayout54.xml"/><Relationship Id="rId14" Type="http://schemas.openxmlformats.org/officeDocument/2006/relationships/slideLayout" Target="../slideLayouts/slideLayout55.xml"/><Relationship Id="rId15" Type="http://schemas.openxmlformats.org/officeDocument/2006/relationships/slideLayout" Target="../slideLayouts/slideLayout56.xml"/><Relationship Id="rId16" Type="http://schemas.openxmlformats.org/officeDocument/2006/relationships/slideLayout" Target="../slideLayouts/slideLayout57.xml"/><Relationship Id="rId17" Type="http://schemas.openxmlformats.org/officeDocument/2006/relationships/slideLayout" Target="../slideLayouts/slideLayout58.xml"/><Relationship Id="rId18" Type="http://schemas.openxmlformats.org/officeDocument/2006/relationships/theme" Target="../theme/theme3.xml"/><Relationship Id="rId19" Type="http://schemas.openxmlformats.org/officeDocument/2006/relationships/vmlDrawing" Target="../drawings/vmlDrawing14.vml"/><Relationship Id="rId1" Type="http://schemas.openxmlformats.org/officeDocument/2006/relationships/slideLayout" Target="../slideLayouts/slideLayout42.xml"/><Relationship Id="rId2" Type="http://schemas.openxmlformats.org/officeDocument/2006/relationships/slideLayout" Target="../slideLayouts/slideLayout43.xml"/><Relationship Id="rId3" Type="http://schemas.openxmlformats.org/officeDocument/2006/relationships/slideLayout" Target="../slideLayouts/slideLayout44.xml"/><Relationship Id="rId4" Type="http://schemas.openxmlformats.org/officeDocument/2006/relationships/slideLayout" Target="../slideLayouts/slideLayout45.xml"/><Relationship Id="rId5" Type="http://schemas.openxmlformats.org/officeDocument/2006/relationships/slideLayout" Target="../slideLayouts/slideLayout46.xml"/><Relationship Id="rId6" Type="http://schemas.openxmlformats.org/officeDocument/2006/relationships/slideLayout" Target="../slideLayouts/slideLayout47.xml"/><Relationship Id="rId7" Type="http://schemas.openxmlformats.org/officeDocument/2006/relationships/slideLayout" Target="../slideLayouts/slideLayout48.xml"/><Relationship Id="rId8"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67.xml"/><Relationship Id="rId20" Type="http://schemas.openxmlformats.org/officeDocument/2006/relationships/vmlDrawing" Target="../drawings/vmlDrawing17.vml"/><Relationship Id="rId21" Type="http://schemas.openxmlformats.org/officeDocument/2006/relationships/tags" Target="../tags/tag77.xml"/><Relationship Id="rId22" Type="http://schemas.openxmlformats.org/officeDocument/2006/relationships/tags" Target="../tags/tag78.xml"/><Relationship Id="rId23" Type="http://schemas.openxmlformats.org/officeDocument/2006/relationships/tags" Target="../tags/tag79.xml"/><Relationship Id="rId24" Type="http://schemas.openxmlformats.org/officeDocument/2006/relationships/tags" Target="../tags/tag80.xml"/><Relationship Id="rId25" Type="http://schemas.openxmlformats.org/officeDocument/2006/relationships/oleObject" Target="../embeddings/oleObject18.bin"/><Relationship Id="rId26" Type="http://schemas.openxmlformats.org/officeDocument/2006/relationships/image" Target="../media/image11.jpeg"/><Relationship Id="rId10" Type="http://schemas.openxmlformats.org/officeDocument/2006/relationships/slideLayout" Target="../slideLayouts/slideLayout68.xml"/><Relationship Id="rId11" Type="http://schemas.openxmlformats.org/officeDocument/2006/relationships/slideLayout" Target="../slideLayouts/slideLayout69.xml"/><Relationship Id="rId12" Type="http://schemas.openxmlformats.org/officeDocument/2006/relationships/slideLayout" Target="../slideLayouts/slideLayout70.xml"/><Relationship Id="rId13" Type="http://schemas.openxmlformats.org/officeDocument/2006/relationships/slideLayout" Target="../slideLayouts/slideLayout71.xml"/><Relationship Id="rId14" Type="http://schemas.openxmlformats.org/officeDocument/2006/relationships/slideLayout" Target="../slideLayouts/slideLayout72.xml"/><Relationship Id="rId15" Type="http://schemas.openxmlformats.org/officeDocument/2006/relationships/slideLayout" Target="../slideLayouts/slideLayout73.xml"/><Relationship Id="rId16" Type="http://schemas.openxmlformats.org/officeDocument/2006/relationships/slideLayout" Target="../slideLayouts/slideLayout74.xml"/><Relationship Id="rId17" Type="http://schemas.openxmlformats.org/officeDocument/2006/relationships/slideLayout" Target="../slideLayouts/slideLayout75.xml"/><Relationship Id="rId18" Type="http://schemas.openxmlformats.org/officeDocument/2006/relationships/slideLayout" Target="../slideLayouts/slideLayout76.xml"/><Relationship Id="rId19" Type="http://schemas.openxmlformats.org/officeDocument/2006/relationships/theme" Target="../theme/theme4.xml"/><Relationship Id="rId1" Type="http://schemas.openxmlformats.org/officeDocument/2006/relationships/slideLayout" Target="../slideLayouts/slideLayout59.xml"/><Relationship Id="rId2" Type="http://schemas.openxmlformats.org/officeDocument/2006/relationships/slideLayout" Target="../slideLayouts/slideLayout60.xml"/><Relationship Id="rId3" Type="http://schemas.openxmlformats.org/officeDocument/2006/relationships/slideLayout" Target="../slideLayouts/slideLayout61.xml"/><Relationship Id="rId4" Type="http://schemas.openxmlformats.org/officeDocument/2006/relationships/slideLayout" Target="../slideLayouts/slideLayout62.xml"/><Relationship Id="rId5" Type="http://schemas.openxmlformats.org/officeDocument/2006/relationships/slideLayout" Target="../slideLayouts/slideLayout63.xml"/><Relationship Id="rId6" Type="http://schemas.openxmlformats.org/officeDocument/2006/relationships/slideLayout" Target="../slideLayouts/slideLayout64.xml"/><Relationship Id="rId7" Type="http://schemas.openxmlformats.org/officeDocument/2006/relationships/slideLayout" Target="../slideLayouts/slideLayout65.xml"/><Relationship Id="rId8" Type="http://schemas.openxmlformats.org/officeDocument/2006/relationships/slideLayout" Target="../slideLayouts/slideLayout66.xml"/></Relationships>
</file>

<file path=ppt/slideMasters/_rels/slideMaster5.xml.rels><?xml version="1.0" encoding="UTF-8" standalone="yes"?>
<Relationships xmlns="http://schemas.openxmlformats.org/package/2006/relationships"><Relationship Id="rId9" Type="http://schemas.openxmlformats.org/officeDocument/2006/relationships/slideLayout" Target="../slideLayouts/slideLayout85.xml"/><Relationship Id="rId20" Type="http://schemas.openxmlformats.org/officeDocument/2006/relationships/tags" Target="../tags/tag100.xml"/><Relationship Id="rId21" Type="http://schemas.openxmlformats.org/officeDocument/2006/relationships/tags" Target="../tags/tag101.xml"/><Relationship Id="rId22" Type="http://schemas.openxmlformats.org/officeDocument/2006/relationships/tags" Target="../tags/tag102.xml"/><Relationship Id="rId23" Type="http://schemas.openxmlformats.org/officeDocument/2006/relationships/tags" Target="../tags/tag103.xml"/><Relationship Id="rId24" Type="http://schemas.openxmlformats.org/officeDocument/2006/relationships/oleObject" Target="../embeddings/oleObject21.bin"/><Relationship Id="rId25" Type="http://schemas.openxmlformats.org/officeDocument/2006/relationships/image" Target="../media/image11.jpeg"/><Relationship Id="rId10" Type="http://schemas.openxmlformats.org/officeDocument/2006/relationships/slideLayout" Target="../slideLayouts/slideLayout86.xml"/><Relationship Id="rId11" Type="http://schemas.openxmlformats.org/officeDocument/2006/relationships/slideLayout" Target="../slideLayouts/slideLayout87.xml"/><Relationship Id="rId12" Type="http://schemas.openxmlformats.org/officeDocument/2006/relationships/slideLayout" Target="../slideLayouts/slideLayout88.xml"/><Relationship Id="rId13" Type="http://schemas.openxmlformats.org/officeDocument/2006/relationships/slideLayout" Target="../slideLayouts/slideLayout89.xml"/><Relationship Id="rId14" Type="http://schemas.openxmlformats.org/officeDocument/2006/relationships/slideLayout" Target="../slideLayouts/slideLayout90.xml"/><Relationship Id="rId15" Type="http://schemas.openxmlformats.org/officeDocument/2006/relationships/slideLayout" Target="../slideLayouts/slideLayout91.xml"/><Relationship Id="rId16" Type="http://schemas.openxmlformats.org/officeDocument/2006/relationships/slideLayout" Target="../slideLayouts/slideLayout92.xml"/><Relationship Id="rId17" Type="http://schemas.openxmlformats.org/officeDocument/2006/relationships/slideLayout" Target="../slideLayouts/slideLayout93.xml"/><Relationship Id="rId18" Type="http://schemas.openxmlformats.org/officeDocument/2006/relationships/theme" Target="../theme/theme5.xml"/><Relationship Id="rId19" Type="http://schemas.openxmlformats.org/officeDocument/2006/relationships/vmlDrawing" Target="../drawings/vmlDrawing20.vml"/><Relationship Id="rId1" Type="http://schemas.openxmlformats.org/officeDocument/2006/relationships/slideLayout" Target="../slideLayouts/slideLayout77.xml"/><Relationship Id="rId2" Type="http://schemas.openxmlformats.org/officeDocument/2006/relationships/slideLayout" Target="../slideLayouts/slideLayout78.xml"/><Relationship Id="rId3" Type="http://schemas.openxmlformats.org/officeDocument/2006/relationships/slideLayout" Target="../slideLayouts/slideLayout79.xml"/><Relationship Id="rId4" Type="http://schemas.openxmlformats.org/officeDocument/2006/relationships/slideLayout" Target="../slideLayouts/slideLayout80.xml"/><Relationship Id="rId5" Type="http://schemas.openxmlformats.org/officeDocument/2006/relationships/slideLayout" Target="../slideLayouts/slideLayout81.xml"/><Relationship Id="rId6" Type="http://schemas.openxmlformats.org/officeDocument/2006/relationships/slideLayout" Target="../slideLayouts/slideLayout82.xml"/><Relationship Id="rId7" Type="http://schemas.openxmlformats.org/officeDocument/2006/relationships/slideLayout" Target="../slideLayouts/slideLayout83.xml"/><Relationship Id="rId8" Type="http://schemas.openxmlformats.org/officeDocument/2006/relationships/slideLayout" Target="../slideLayouts/slideLayout84.xml"/></Relationships>
</file>

<file path=ppt/slideMasters/_rels/slideMaster6.xml.rels><?xml version="1.0" encoding="UTF-8" standalone="yes"?>
<Relationships xmlns="http://schemas.openxmlformats.org/package/2006/relationships"><Relationship Id="rId11" Type="http://schemas.openxmlformats.org/officeDocument/2006/relationships/slideLayout" Target="../slideLayouts/slideLayout104.xml"/><Relationship Id="rId12" Type="http://schemas.openxmlformats.org/officeDocument/2006/relationships/slideLayout" Target="../slideLayouts/slideLayout105.xml"/><Relationship Id="rId13" Type="http://schemas.openxmlformats.org/officeDocument/2006/relationships/slideLayout" Target="../slideLayouts/slideLayout106.xml"/><Relationship Id="rId14" Type="http://schemas.openxmlformats.org/officeDocument/2006/relationships/slideLayout" Target="../slideLayouts/slideLayout107.xml"/><Relationship Id="rId15" Type="http://schemas.openxmlformats.org/officeDocument/2006/relationships/theme" Target="../theme/theme6.xml"/><Relationship Id="rId16" Type="http://schemas.openxmlformats.org/officeDocument/2006/relationships/image" Target="../media/image12.jpg"/><Relationship Id="rId1" Type="http://schemas.openxmlformats.org/officeDocument/2006/relationships/slideLayout" Target="../slideLayouts/slideLayout94.xml"/><Relationship Id="rId2" Type="http://schemas.openxmlformats.org/officeDocument/2006/relationships/slideLayout" Target="../slideLayouts/slideLayout95.xml"/><Relationship Id="rId3" Type="http://schemas.openxmlformats.org/officeDocument/2006/relationships/slideLayout" Target="../slideLayouts/slideLayout96.xml"/><Relationship Id="rId4" Type="http://schemas.openxmlformats.org/officeDocument/2006/relationships/slideLayout" Target="../slideLayouts/slideLayout97.xml"/><Relationship Id="rId5" Type="http://schemas.openxmlformats.org/officeDocument/2006/relationships/slideLayout" Target="../slideLayouts/slideLayout98.xml"/><Relationship Id="rId6" Type="http://schemas.openxmlformats.org/officeDocument/2006/relationships/slideLayout" Target="../slideLayouts/slideLayout99.xml"/><Relationship Id="rId7" Type="http://schemas.openxmlformats.org/officeDocument/2006/relationships/slideLayout" Target="../slideLayouts/slideLayout100.xml"/><Relationship Id="rId8" Type="http://schemas.openxmlformats.org/officeDocument/2006/relationships/slideLayout" Target="../slideLayouts/slideLayout101.xml"/><Relationship Id="rId9" Type="http://schemas.openxmlformats.org/officeDocument/2006/relationships/slideLayout" Target="../slideLayouts/slideLayout102.xml"/><Relationship Id="rId10"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074" name="AutoShape 23"/>
          <p:cNvGraphicFramePr>
            <a:graphicFrameLocks/>
          </p:cNvGraphicFramePr>
          <p:nvPr>
            <p:custDataLst>
              <p:tags r:id="rId25"/>
            </p:custDataLst>
          </p:nvPr>
        </p:nvGraphicFramePr>
        <p:xfrm>
          <a:off x="-1588" y="0"/>
          <a:ext cx="150813" cy="158750"/>
        </p:xfrm>
        <a:graphic>
          <a:graphicData uri="http://schemas.openxmlformats.org/presentationml/2006/ole">
            <mc:AlternateContent xmlns:mc="http://schemas.openxmlformats.org/markup-compatibility/2006">
              <mc:Choice xmlns:v="urn:schemas-microsoft-com:vml" Requires="v">
                <p:oleObj spid="_x0000_s3555" r:id="rId29" imgW="0" imgH="0" progId="">
                  <p:embed/>
                </p:oleObj>
              </mc:Choice>
              <mc:Fallback>
                <p:oleObj r:id="rId29" imgW="0" imgH="0" progId="">
                  <p:embed/>
                  <p:pic>
                    <p:nvPicPr>
                      <p:cNvPr id="0" name="AutoShape 2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076" name="Picture 50" descr="WhitePage_1"/>
          <p:cNvPicPr>
            <a:picLocks noChangeAspect="1" noChangeArrowheads="1"/>
          </p:cNvPicPr>
          <p:nvPr/>
        </p:nvPicPr>
        <p:blipFill>
          <a:blip r:embed="rId30" cstate="print"/>
          <a:srcRect/>
          <a:stretch>
            <a:fillRect/>
          </a:stretch>
        </p:blipFill>
        <p:spPr bwMode="auto">
          <a:xfrm>
            <a:off x="0" y="0"/>
            <a:ext cx="9144000" cy="6858000"/>
          </a:xfrm>
          <a:prstGeom prst="rect">
            <a:avLst/>
          </a:prstGeom>
          <a:noFill/>
          <a:ln w="9525">
            <a:noFill/>
            <a:miter lim="800000"/>
            <a:headEnd/>
            <a:tailEnd/>
          </a:ln>
        </p:spPr>
      </p:pic>
      <p:sp>
        <p:nvSpPr>
          <p:cNvPr id="39950" name="pg num"/>
          <p:cNvSpPr>
            <a:spLocks noGrp="1" noChangeArrowheads="1"/>
          </p:cNvSpPr>
          <p:nvPr>
            <p:ph type="sldNum" sz="quarter" idx="4"/>
            <p:custDataLst>
              <p:tags r:id="rId26"/>
            </p:custDataLst>
          </p:nvPr>
        </p:nvSpPr>
        <p:spPr bwMode="gray">
          <a:xfrm>
            <a:off x="8548688" y="6581775"/>
            <a:ext cx="355600" cy="122238"/>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eaLnBrk="0" hangingPunct="0">
              <a:buClrTx/>
              <a:buFontTx/>
              <a:buNone/>
              <a:defRPr sz="800" b="0">
                <a:solidFill>
                  <a:srgbClr val="007CC2"/>
                </a:solidFill>
                <a:latin typeface="Arial" charset="0"/>
                <a:cs typeface="Arial" charset="0"/>
              </a:defRPr>
            </a:lvl1pPr>
          </a:lstStyle>
          <a:p>
            <a:pPr>
              <a:defRPr/>
            </a:pPr>
            <a:fld id="{369AF959-3F19-45C0-BDE8-016007A35A46}" type="slidenum">
              <a:rPr lang="en-US" altLang="en-US"/>
              <a:pPr>
                <a:defRPr/>
              </a:pPr>
              <a:t>‹#›</a:t>
            </a:fld>
            <a:endParaRPr lang="en-US" altLang="en-US"/>
          </a:p>
        </p:txBody>
      </p:sp>
      <p:sp>
        <p:nvSpPr>
          <p:cNvPr id="3078" name="Rectangle 15"/>
          <p:cNvSpPr>
            <a:spLocks noGrp="1" noChangeArrowheads="1"/>
          </p:cNvSpPr>
          <p:nvPr>
            <p:ph type="title"/>
            <p:custDataLst>
              <p:tags r:id="rId27"/>
            </p:custDataLst>
          </p:nvPr>
        </p:nvSpPr>
        <p:spPr bwMode="gray">
          <a:xfrm>
            <a:off x="217488" y="84138"/>
            <a:ext cx="7546975" cy="711200"/>
          </a:xfrm>
          <a:prstGeom prst="rect">
            <a:avLst/>
          </a:prstGeom>
          <a:noFill/>
          <a:ln w="9525">
            <a:noFill/>
            <a:miter lim="800000"/>
            <a:headEnd/>
            <a:tailEnd/>
          </a:ln>
        </p:spPr>
        <p:txBody>
          <a:bodyPr vert="horz" wrap="square" lIns="0" tIns="45595" rIns="0" bIns="45595" numCol="1" anchor="b" anchorCtr="0" compatLnSpc="1">
            <a:prstTxWarp prst="textNoShape">
              <a:avLst/>
            </a:prstTxWarp>
          </a:bodyPr>
          <a:lstStyle/>
          <a:p>
            <a:pPr lvl="0"/>
            <a:r>
              <a:rPr lang="en-US" altLang="en-US" smtClean="0"/>
              <a:t>Click to edit Master title style</a:t>
            </a:r>
          </a:p>
        </p:txBody>
      </p:sp>
      <p:sp>
        <p:nvSpPr>
          <p:cNvPr id="3079" name="Rectangle 16"/>
          <p:cNvSpPr>
            <a:spLocks noGrp="1" noChangeArrowheads="1"/>
          </p:cNvSpPr>
          <p:nvPr>
            <p:ph type="body" idx="1"/>
            <p:custDataLst>
              <p:tags r:id="rId28"/>
            </p:custDataLst>
          </p:nvPr>
        </p:nvSpPr>
        <p:spPr bwMode="gray">
          <a:xfrm>
            <a:off x="376238" y="1300163"/>
            <a:ext cx="8391525" cy="4948237"/>
          </a:xfrm>
          <a:prstGeom prst="rect">
            <a:avLst/>
          </a:prstGeom>
          <a:noFill/>
          <a:ln w="9525" algn="ctr">
            <a:noFill/>
            <a:miter lim="800000"/>
            <a:headEnd/>
            <a:tailEnd/>
          </a:ln>
        </p:spPr>
        <p:txBody>
          <a:bodyPr vert="horz" wrap="square" lIns="91440" tIns="91440" rIns="91440" bIns="9144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Tree>
  </p:cSld>
  <p:clrMap bg1="lt1" tx1="dk1" bg2="lt2" tx2="dk2" accent1="accent1" accent2="accent2" accent3="accent3" accent4="accent4" accent5="accent5" accent6="accent6" hlink="hlink" folHlink="folHlink"/>
  <p:sldLayoutIdLst>
    <p:sldLayoutId id="2147484297" r:id="rId1"/>
    <p:sldLayoutId id="2147484282" r:id="rId2"/>
    <p:sldLayoutId id="2147484283" r:id="rId3"/>
    <p:sldLayoutId id="2147484284" r:id="rId4"/>
    <p:sldLayoutId id="2147484285" r:id="rId5"/>
    <p:sldLayoutId id="2147484286" r:id="rId6"/>
    <p:sldLayoutId id="2147484287" r:id="rId7"/>
    <p:sldLayoutId id="2147484288" r:id="rId8"/>
    <p:sldLayoutId id="2147484289" r:id="rId9"/>
    <p:sldLayoutId id="2147484290" r:id="rId10"/>
    <p:sldLayoutId id="2147484291" r:id="rId11"/>
    <p:sldLayoutId id="2147484298" r:id="rId12"/>
    <p:sldLayoutId id="2147484299" r:id="rId13"/>
    <p:sldLayoutId id="2147484300" r:id="rId14"/>
    <p:sldLayoutId id="2147484301" r:id="rId15"/>
    <p:sldLayoutId id="2147484302" r:id="rId16"/>
    <p:sldLayoutId id="2147484303" r:id="rId17"/>
    <p:sldLayoutId id="2147484333" r:id="rId18"/>
    <p:sldLayoutId id="2147484331" r:id="rId19"/>
    <p:sldLayoutId id="2147484292" r:id="rId20"/>
    <p:sldLayoutId id="2147484294" r:id="rId21"/>
    <p:sldLayoutId id="2147484295" r:id="rId22"/>
  </p:sldLayoutIdLst>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hf hdr="0" ftr="0" dt="0"/>
  <p:txStyles>
    <p:titleStyle>
      <a:lvl1pPr algn="l" rtl="0" eaLnBrk="0" fontAlgn="base" hangingPunct="0">
        <a:spcBef>
          <a:spcPct val="0"/>
        </a:spcBef>
        <a:spcAft>
          <a:spcPct val="0"/>
        </a:spcAft>
        <a:defRPr sz="2400" b="1">
          <a:solidFill>
            <a:schemeClr val="bg1"/>
          </a:solidFill>
          <a:latin typeface="+mn-lt"/>
          <a:ea typeface="+mj-ea"/>
          <a:cs typeface="+mj-cs"/>
        </a:defRPr>
      </a:lvl1pPr>
      <a:lvl2pPr algn="l" rtl="0" eaLnBrk="0" fontAlgn="base" hangingPunct="0">
        <a:spcBef>
          <a:spcPct val="0"/>
        </a:spcBef>
        <a:spcAft>
          <a:spcPct val="0"/>
        </a:spcAft>
        <a:defRPr sz="2400" b="1">
          <a:solidFill>
            <a:schemeClr val="bg1"/>
          </a:solidFill>
          <a:latin typeface="Arial" charset="0"/>
          <a:cs typeface="Arial" charset="0"/>
        </a:defRPr>
      </a:lvl2pPr>
      <a:lvl3pPr algn="l" rtl="0" eaLnBrk="0" fontAlgn="base" hangingPunct="0">
        <a:spcBef>
          <a:spcPct val="0"/>
        </a:spcBef>
        <a:spcAft>
          <a:spcPct val="0"/>
        </a:spcAft>
        <a:defRPr sz="2400" b="1">
          <a:solidFill>
            <a:schemeClr val="bg1"/>
          </a:solidFill>
          <a:latin typeface="Arial" charset="0"/>
          <a:cs typeface="Arial" charset="0"/>
        </a:defRPr>
      </a:lvl3pPr>
      <a:lvl4pPr algn="l" rtl="0" eaLnBrk="0" fontAlgn="base" hangingPunct="0">
        <a:spcBef>
          <a:spcPct val="0"/>
        </a:spcBef>
        <a:spcAft>
          <a:spcPct val="0"/>
        </a:spcAft>
        <a:defRPr sz="2400" b="1">
          <a:solidFill>
            <a:schemeClr val="bg1"/>
          </a:solidFill>
          <a:latin typeface="Arial" charset="0"/>
          <a:cs typeface="Arial" charset="0"/>
        </a:defRPr>
      </a:lvl4pPr>
      <a:lvl5pPr algn="l" rtl="0" eaLnBrk="0" fontAlgn="base" hangingPunct="0">
        <a:spcBef>
          <a:spcPct val="0"/>
        </a:spcBef>
        <a:spcAft>
          <a:spcPct val="0"/>
        </a:spcAft>
        <a:defRPr sz="2400" b="1">
          <a:solidFill>
            <a:schemeClr val="bg1"/>
          </a:solidFill>
          <a:latin typeface="Arial" charset="0"/>
          <a:cs typeface="Arial" charset="0"/>
        </a:defRPr>
      </a:lvl5pPr>
      <a:lvl6pPr marL="457200" algn="r" rtl="0" fontAlgn="base">
        <a:spcBef>
          <a:spcPct val="0"/>
        </a:spcBef>
        <a:spcAft>
          <a:spcPct val="0"/>
        </a:spcAft>
        <a:defRPr sz="2400" b="1">
          <a:solidFill>
            <a:schemeClr val="tx2"/>
          </a:solidFill>
          <a:latin typeface="Trebuchet MS" pitchFamily="34" charset="0"/>
          <a:cs typeface="Arial" charset="0"/>
        </a:defRPr>
      </a:lvl6pPr>
      <a:lvl7pPr marL="914400" algn="r" rtl="0" fontAlgn="base">
        <a:spcBef>
          <a:spcPct val="0"/>
        </a:spcBef>
        <a:spcAft>
          <a:spcPct val="0"/>
        </a:spcAft>
        <a:defRPr sz="2400" b="1">
          <a:solidFill>
            <a:schemeClr val="tx2"/>
          </a:solidFill>
          <a:latin typeface="Trebuchet MS" pitchFamily="34" charset="0"/>
          <a:cs typeface="Arial" charset="0"/>
        </a:defRPr>
      </a:lvl7pPr>
      <a:lvl8pPr marL="1371600" algn="r" rtl="0" fontAlgn="base">
        <a:spcBef>
          <a:spcPct val="0"/>
        </a:spcBef>
        <a:spcAft>
          <a:spcPct val="0"/>
        </a:spcAft>
        <a:defRPr sz="2400" b="1">
          <a:solidFill>
            <a:schemeClr val="tx2"/>
          </a:solidFill>
          <a:latin typeface="Trebuchet MS" pitchFamily="34" charset="0"/>
          <a:cs typeface="Arial" charset="0"/>
        </a:defRPr>
      </a:lvl8pPr>
      <a:lvl9pPr marL="1828800" algn="r" rtl="0" fontAlgn="base">
        <a:spcBef>
          <a:spcPct val="0"/>
        </a:spcBef>
        <a:spcAft>
          <a:spcPct val="0"/>
        </a:spcAft>
        <a:defRPr sz="2400" b="1">
          <a:solidFill>
            <a:schemeClr val="tx2"/>
          </a:solidFill>
          <a:latin typeface="Trebuchet MS" pitchFamily="34" charset="0"/>
          <a:cs typeface="Arial" charset="0"/>
        </a:defRPr>
      </a:lvl9pPr>
    </p:titleStyle>
    <p:bodyStyle>
      <a:lvl1pPr marL="342900" indent="-342900" algn="l" rtl="0" eaLnBrk="0" fontAlgn="base" hangingPunct="0">
        <a:spcBef>
          <a:spcPct val="20000"/>
        </a:spcBef>
        <a:spcAft>
          <a:spcPct val="0"/>
        </a:spcAft>
        <a:buChar char="•"/>
        <a:defRPr sz="1600" b="1">
          <a:solidFill>
            <a:srgbClr val="007CC2"/>
          </a:solidFill>
          <a:latin typeface="+mn-lt"/>
          <a:ea typeface="+mn-ea"/>
          <a:cs typeface="+mn-cs"/>
        </a:defRPr>
      </a:lvl1pPr>
      <a:lvl2pPr marL="457200" indent="-228600" algn="l" rtl="0" eaLnBrk="0" fontAlgn="base" hangingPunct="0">
        <a:spcBef>
          <a:spcPct val="0"/>
        </a:spcBef>
        <a:spcAft>
          <a:spcPct val="0"/>
        </a:spcAft>
        <a:buClr>
          <a:schemeClr val="bg1"/>
        </a:buClr>
        <a:buFont typeface="Wingdings" pitchFamily="2" charset="2"/>
        <a:buChar char="§"/>
        <a:defRPr sz="1600">
          <a:solidFill>
            <a:srgbClr val="007CC2"/>
          </a:solidFill>
          <a:latin typeface="+mn-lt"/>
          <a:cs typeface="+mn-cs"/>
        </a:defRPr>
      </a:lvl2pPr>
      <a:lvl3pPr marL="914400" indent="-228600" algn="l" rtl="0" eaLnBrk="0" fontAlgn="base" hangingPunct="0">
        <a:spcBef>
          <a:spcPct val="0"/>
        </a:spcBef>
        <a:spcAft>
          <a:spcPct val="0"/>
        </a:spcAft>
        <a:buClr>
          <a:schemeClr val="bg1"/>
        </a:buClr>
        <a:buFont typeface="Wingdings" pitchFamily="2" charset="2"/>
        <a:buChar char="w"/>
        <a:defRPr sz="1600">
          <a:solidFill>
            <a:srgbClr val="007CC2"/>
          </a:solidFill>
          <a:latin typeface="+mn-lt"/>
          <a:cs typeface="+mn-cs"/>
        </a:defRPr>
      </a:lvl3pPr>
      <a:lvl4pPr marL="1376363" indent="-233363" algn="l" rtl="0" eaLnBrk="0" fontAlgn="base" hangingPunct="0">
        <a:spcBef>
          <a:spcPct val="0"/>
        </a:spcBef>
        <a:spcAft>
          <a:spcPct val="0"/>
        </a:spcAft>
        <a:buClr>
          <a:schemeClr val="bg1"/>
        </a:buClr>
        <a:buFont typeface="Arial" charset="0"/>
        <a:buChar char="–"/>
        <a:defRPr sz="1600">
          <a:solidFill>
            <a:srgbClr val="007CC2"/>
          </a:solidFill>
          <a:latin typeface="+mn-lt"/>
          <a:cs typeface="+mn-cs"/>
        </a:defRPr>
      </a:lvl4pPr>
      <a:lvl5pPr marL="2055813" indent="-227013" algn="l" rtl="0" eaLnBrk="0" fontAlgn="base" hangingPunct="0">
        <a:spcBef>
          <a:spcPct val="0"/>
        </a:spcBef>
        <a:spcAft>
          <a:spcPct val="0"/>
        </a:spcAft>
        <a:buClr>
          <a:schemeClr val="bg1"/>
        </a:buClr>
        <a:buFont typeface="Arial" charset="0"/>
        <a:buChar char="–"/>
        <a:defRPr sz="1600">
          <a:solidFill>
            <a:srgbClr val="007CC2"/>
          </a:solidFill>
          <a:latin typeface="+mn-lt"/>
          <a:cs typeface="+mn-cs"/>
        </a:defRPr>
      </a:lvl5pPr>
      <a:lvl6pPr marL="2513013" indent="-227013" algn="l" rtl="0" fontAlgn="base">
        <a:spcBef>
          <a:spcPct val="0"/>
        </a:spcBef>
        <a:spcAft>
          <a:spcPct val="0"/>
        </a:spcAft>
        <a:buClr>
          <a:srgbClr val="009900"/>
        </a:buClr>
        <a:buFont typeface="Arial" charset="0"/>
        <a:buChar char="–"/>
        <a:defRPr sz="1600">
          <a:solidFill>
            <a:schemeClr val="tx1"/>
          </a:solidFill>
          <a:latin typeface="+mn-lt"/>
          <a:cs typeface="+mn-cs"/>
        </a:defRPr>
      </a:lvl6pPr>
      <a:lvl7pPr marL="2970213" indent="-227013" algn="l" rtl="0" fontAlgn="base">
        <a:spcBef>
          <a:spcPct val="0"/>
        </a:spcBef>
        <a:spcAft>
          <a:spcPct val="0"/>
        </a:spcAft>
        <a:buClr>
          <a:srgbClr val="009900"/>
        </a:buClr>
        <a:buFont typeface="Arial" charset="0"/>
        <a:buChar char="–"/>
        <a:defRPr sz="1600">
          <a:solidFill>
            <a:schemeClr val="tx1"/>
          </a:solidFill>
          <a:latin typeface="+mn-lt"/>
          <a:cs typeface="+mn-cs"/>
        </a:defRPr>
      </a:lvl7pPr>
      <a:lvl8pPr marL="3427413" indent="-227013" algn="l" rtl="0" fontAlgn="base">
        <a:spcBef>
          <a:spcPct val="0"/>
        </a:spcBef>
        <a:spcAft>
          <a:spcPct val="0"/>
        </a:spcAft>
        <a:buClr>
          <a:srgbClr val="009900"/>
        </a:buClr>
        <a:buFont typeface="Arial" charset="0"/>
        <a:buChar char="–"/>
        <a:defRPr sz="1600">
          <a:solidFill>
            <a:schemeClr val="tx1"/>
          </a:solidFill>
          <a:latin typeface="+mn-lt"/>
          <a:cs typeface="+mn-cs"/>
        </a:defRPr>
      </a:lvl8pPr>
      <a:lvl9pPr marL="3884613" indent="-227013" algn="l" rtl="0" fontAlgn="base">
        <a:spcBef>
          <a:spcPct val="0"/>
        </a:spcBef>
        <a:spcAft>
          <a:spcPct val="0"/>
        </a:spcAft>
        <a:buClr>
          <a:srgbClr val="009900"/>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11" hidden="1"/>
          <p:cNvGraphicFramePr>
            <a:graphicFrameLocks/>
          </p:cNvGraphicFramePr>
          <p:nvPr>
            <p:custDataLst>
              <p:tags r:id="rId22"/>
            </p:custDataLst>
          </p:nvPr>
        </p:nvGraphicFramePr>
        <p:xfrm>
          <a:off x="-1476" y="0"/>
          <a:ext cx="151191" cy="158750"/>
        </p:xfrm>
        <a:graphic>
          <a:graphicData uri="http://schemas.openxmlformats.org/presentationml/2006/ole">
            <mc:AlternateContent xmlns:mc="http://schemas.openxmlformats.org/markup-compatibility/2006">
              <mc:Choice xmlns:v="urn:schemas-microsoft-com:vml" Requires="v">
                <p:oleObj spid="_x0000_s65951" r:id="rId26" imgW="0" imgH="0" progId="">
                  <p:embed/>
                </p:oleObj>
              </mc:Choice>
              <mc:Fallback>
                <p:oleObj r:id="rId2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476" y="0"/>
                        <a:ext cx="15119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8" name="Picture 50" descr="WhitePage_1"/>
          <p:cNvPicPr>
            <a:picLocks noChangeAspect="1" noChangeArrowheads="1"/>
          </p:cNvPicPr>
          <p:nvPr/>
        </p:nvPicPr>
        <p:blipFill>
          <a:blip r:embed="rId27" cstate="print"/>
          <a:srcRect/>
          <a:stretch>
            <a:fillRect/>
          </a:stretch>
        </p:blipFill>
        <p:spPr bwMode="auto">
          <a:xfrm>
            <a:off x="0" y="0"/>
            <a:ext cx="9144000" cy="6858000"/>
          </a:xfrm>
          <a:prstGeom prst="rect">
            <a:avLst/>
          </a:prstGeom>
          <a:noFill/>
          <a:ln w="9525">
            <a:noFill/>
            <a:miter lim="800000"/>
            <a:headEnd/>
            <a:tailEnd/>
          </a:ln>
        </p:spPr>
      </p:pic>
      <p:sp>
        <p:nvSpPr>
          <p:cNvPr id="39950" name="pg num"/>
          <p:cNvSpPr>
            <a:spLocks noGrp="1" noChangeArrowheads="1"/>
          </p:cNvSpPr>
          <p:nvPr>
            <p:ph type="sldNum" sz="quarter" idx="4"/>
            <p:custDataLst>
              <p:tags r:id="rId23"/>
            </p:custDataLst>
          </p:nvPr>
        </p:nvSpPr>
        <p:spPr bwMode="gray">
          <a:xfrm>
            <a:off x="8548310" y="6581775"/>
            <a:ext cx="355298" cy="122238"/>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eaLnBrk="0" hangingPunct="0">
              <a:buClrTx/>
              <a:buFontTx/>
              <a:buNone/>
              <a:defRPr sz="800" b="0">
                <a:solidFill>
                  <a:srgbClr val="007CC2"/>
                </a:solidFill>
                <a:latin typeface="Arial" charset="0"/>
                <a:cs typeface="Arial" charset="0"/>
              </a:defRPr>
            </a:lvl1pPr>
          </a:lstStyle>
          <a:p>
            <a:pPr>
              <a:defRPr/>
            </a:pPr>
            <a:fld id="{369AF959-3F19-45C0-BDE8-016007A35A46}" type="slidenum">
              <a:rPr lang="en-US" altLang="en-US" smtClean="0"/>
              <a:pPr>
                <a:defRPr/>
              </a:pPr>
              <a:t>‹#›</a:t>
            </a:fld>
            <a:endParaRPr lang="en-US" altLang="en-US"/>
          </a:p>
        </p:txBody>
      </p:sp>
      <p:sp>
        <p:nvSpPr>
          <p:cNvPr id="1030" name="Rectangle 15"/>
          <p:cNvSpPr>
            <a:spLocks noGrp="1" noChangeArrowheads="1"/>
          </p:cNvSpPr>
          <p:nvPr>
            <p:ph type="title"/>
            <p:custDataLst>
              <p:tags r:id="rId24"/>
            </p:custDataLst>
          </p:nvPr>
        </p:nvSpPr>
        <p:spPr bwMode="gray">
          <a:xfrm>
            <a:off x="217714" y="84138"/>
            <a:ext cx="7547429" cy="711200"/>
          </a:xfrm>
          <a:prstGeom prst="rect">
            <a:avLst/>
          </a:prstGeom>
          <a:noFill/>
          <a:ln w="9525">
            <a:noFill/>
            <a:miter lim="800000"/>
            <a:headEnd/>
            <a:tailEnd/>
          </a:ln>
        </p:spPr>
        <p:txBody>
          <a:bodyPr vert="horz" wrap="square" lIns="0" tIns="45595" rIns="0" bIns="45595" numCol="1" anchor="b" anchorCtr="0" compatLnSpc="1">
            <a:prstTxWarp prst="textNoShape">
              <a:avLst/>
            </a:prstTxWarp>
          </a:bodyPr>
          <a:lstStyle/>
          <a:p>
            <a:pPr lvl="0"/>
            <a:r>
              <a:rPr lang="en-US" altLang="en-US" smtClean="0"/>
              <a:t>Click to edit Master title style</a:t>
            </a:r>
          </a:p>
        </p:txBody>
      </p:sp>
      <p:sp>
        <p:nvSpPr>
          <p:cNvPr id="1031" name="Rectangle 16"/>
          <p:cNvSpPr>
            <a:spLocks noGrp="1" noChangeArrowheads="1"/>
          </p:cNvSpPr>
          <p:nvPr>
            <p:ph type="body" idx="1"/>
            <p:custDataLst>
              <p:tags r:id="rId25"/>
            </p:custDataLst>
          </p:nvPr>
        </p:nvSpPr>
        <p:spPr bwMode="gray">
          <a:xfrm>
            <a:off x="376727" y="1300170"/>
            <a:ext cx="8391071" cy="4948237"/>
          </a:xfrm>
          <a:prstGeom prst="rect">
            <a:avLst/>
          </a:prstGeom>
          <a:noFill/>
          <a:ln w="9525" algn="ctr">
            <a:noFill/>
            <a:miter lim="800000"/>
            <a:headEnd/>
            <a:tailEnd/>
          </a:ln>
        </p:spPr>
        <p:txBody>
          <a:bodyPr vert="horz" wrap="square" lIns="91440" tIns="91440" rIns="91440" bIns="9144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Tree>
  </p:cSld>
  <p:clrMap bg1="lt1" tx1="dk1" bg2="lt2" tx2="dk2" accent1="accent1" accent2="accent2" accent3="accent3" accent4="accent4" accent5="accent5" accent6="accent6" hlink="hlink" folHlink="folHlink"/>
  <p:sldLayoutIdLst>
    <p:sldLayoutId id="2147484335" r:id="rId1"/>
    <p:sldLayoutId id="2147484336" r:id="rId2"/>
    <p:sldLayoutId id="2147484337" r:id="rId3"/>
    <p:sldLayoutId id="2147484338" r:id="rId4"/>
    <p:sldLayoutId id="2147484339" r:id="rId5"/>
    <p:sldLayoutId id="2147484340" r:id="rId6"/>
    <p:sldLayoutId id="2147484341" r:id="rId7"/>
    <p:sldLayoutId id="2147484342" r:id="rId8"/>
    <p:sldLayoutId id="2147484343" r:id="rId9"/>
    <p:sldLayoutId id="2147484344" r:id="rId10"/>
    <p:sldLayoutId id="2147484345" r:id="rId11"/>
    <p:sldLayoutId id="2147484346" r:id="rId12"/>
    <p:sldLayoutId id="2147484347" r:id="rId13"/>
    <p:sldLayoutId id="2147484348" r:id="rId14"/>
    <p:sldLayoutId id="2147484349" r:id="rId15"/>
    <p:sldLayoutId id="2147484350" r:id="rId16"/>
    <p:sldLayoutId id="2147484351" r:id="rId17"/>
    <p:sldLayoutId id="2147484352" r:id="rId18"/>
    <p:sldLayoutId id="2147484451" r:id="rId19"/>
  </p:sldLayoutIdLst>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hf hdr="0" ftr="0" dt="0"/>
  <p:txStyles>
    <p:titleStyle>
      <a:lvl1pPr algn="l" rtl="0" eaLnBrk="1" fontAlgn="base" hangingPunct="1">
        <a:spcBef>
          <a:spcPct val="0"/>
        </a:spcBef>
        <a:spcAft>
          <a:spcPct val="0"/>
        </a:spcAft>
        <a:defRPr sz="2400" b="1">
          <a:solidFill>
            <a:schemeClr val="bg1"/>
          </a:solidFill>
          <a:latin typeface="+mn-lt"/>
          <a:ea typeface="+mj-ea"/>
          <a:cs typeface="+mj-cs"/>
        </a:defRPr>
      </a:lvl1pPr>
      <a:lvl2pPr algn="l" rtl="0" eaLnBrk="1" fontAlgn="base" hangingPunct="1">
        <a:spcBef>
          <a:spcPct val="0"/>
        </a:spcBef>
        <a:spcAft>
          <a:spcPct val="0"/>
        </a:spcAft>
        <a:defRPr sz="2400" b="1">
          <a:solidFill>
            <a:schemeClr val="bg1"/>
          </a:solidFill>
          <a:latin typeface="Arial" charset="0"/>
          <a:cs typeface="Arial" charset="0"/>
        </a:defRPr>
      </a:lvl2pPr>
      <a:lvl3pPr algn="l" rtl="0" eaLnBrk="1" fontAlgn="base" hangingPunct="1">
        <a:spcBef>
          <a:spcPct val="0"/>
        </a:spcBef>
        <a:spcAft>
          <a:spcPct val="0"/>
        </a:spcAft>
        <a:defRPr sz="2400" b="1">
          <a:solidFill>
            <a:schemeClr val="bg1"/>
          </a:solidFill>
          <a:latin typeface="Arial" charset="0"/>
          <a:cs typeface="Arial" charset="0"/>
        </a:defRPr>
      </a:lvl3pPr>
      <a:lvl4pPr algn="l" rtl="0" eaLnBrk="1" fontAlgn="base" hangingPunct="1">
        <a:spcBef>
          <a:spcPct val="0"/>
        </a:spcBef>
        <a:spcAft>
          <a:spcPct val="0"/>
        </a:spcAft>
        <a:defRPr sz="2400" b="1">
          <a:solidFill>
            <a:schemeClr val="bg1"/>
          </a:solidFill>
          <a:latin typeface="Arial" charset="0"/>
          <a:cs typeface="Arial" charset="0"/>
        </a:defRPr>
      </a:lvl4pPr>
      <a:lvl5pPr algn="l" rtl="0" eaLnBrk="1" fontAlgn="base" hangingPunct="1">
        <a:spcBef>
          <a:spcPct val="0"/>
        </a:spcBef>
        <a:spcAft>
          <a:spcPct val="0"/>
        </a:spcAft>
        <a:defRPr sz="2400" b="1">
          <a:solidFill>
            <a:schemeClr val="bg1"/>
          </a:solidFill>
          <a:latin typeface="Arial" charset="0"/>
          <a:cs typeface="Arial" charset="0"/>
        </a:defRPr>
      </a:lvl5pPr>
      <a:lvl6pPr marL="457200" algn="r" rtl="0" eaLnBrk="1" fontAlgn="base" hangingPunct="1">
        <a:spcBef>
          <a:spcPct val="0"/>
        </a:spcBef>
        <a:spcAft>
          <a:spcPct val="0"/>
        </a:spcAft>
        <a:defRPr sz="2400" b="1">
          <a:solidFill>
            <a:schemeClr val="tx2"/>
          </a:solidFill>
          <a:latin typeface="Trebuchet MS" pitchFamily="34" charset="0"/>
          <a:cs typeface="Arial" charset="0"/>
        </a:defRPr>
      </a:lvl6pPr>
      <a:lvl7pPr marL="914400" algn="r" rtl="0" eaLnBrk="1" fontAlgn="base" hangingPunct="1">
        <a:spcBef>
          <a:spcPct val="0"/>
        </a:spcBef>
        <a:spcAft>
          <a:spcPct val="0"/>
        </a:spcAft>
        <a:defRPr sz="2400" b="1">
          <a:solidFill>
            <a:schemeClr val="tx2"/>
          </a:solidFill>
          <a:latin typeface="Trebuchet MS" pitchFamily="34" charset="0"/>
          <a:cs typeface="Arial" charset="0"/>
        </a:defRPr>
      </a:lvl7pPr>
      <a:lvl8pPr marL="1371600" algn="r" rtl="0" eaLnBrk="1" fontAlgn="base" hangingPunct="1">
        <a:spcBef>
          <a:spcPct val="0"/>
        </a:spcBef>
        <a:spcAft>
          <a:spcPct val="0"/>
        </a:spcAft>
        <a:defRPr sz="2400" b="1">
          <a:solidFill>
            <a:schemeClr val="tx2"/>
          </a:solidFill>
          <a:latin typeface="Trebuchet MS" pitchFamily="34" charset="0"/>
          <a:cs typeface="Arial" charset="0"/>
        </a:defRPr>
      </a:lvl8pPr>
      <a:lvl9pPr marL="1828800" algn="r"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marL="342900" indent="-342900" algn="l" rtl="0" eaLnBrk="1" fontAlgn="base" hangingPunct="1">
        <a:spcBef>
          <a:spcPct val="20000"/>
        </a:spcBef>
        <a:spcAft>
          <a:spcPct val="0"/>
        </a:spcAft>
        <a:buChar char="•"/>
        <a:defRPr sz="1600" b="1">
          <a:solidFill>
            <a:srgbClr val="007CC2"/>
          </a:solidFill>
          <a:latin typeface="+mn-lt"/>
          <a:ea typeface="+mn-ea"/>
          <a:cs typeface="+mn-cs"/>
        </a:defRPr>
      </a:lvl1pPr>
      <a:lvl2pPr marL="457200" indent="-228600" algn="l" rtl="0" eaLnBrk="1" fontAlgn="base" hangingPunct="1">
        <a:spcBef>
          <a:spcPct val="0"/>
        </a:spcBef>
        <a:spcAft>
          <a:spcPct val="0"/>
        </a:spcAft>
        <a:buClr>
          <a:schemeClr val="bg1"/>
        </a:buClr>
        <a:buFont typeface="Wingdings" pitchFamily="2" charset="2"/>
        <a:buChar char="§"/>
        <a:defRPr sz="1600">
          <a:solidFill>
            <a:srgbClr val="007CC2"/>
          </a:solidFill>
          <a:latin typeface="+mn-lt"/>
          <a:cs typeface="+mn-cs"/>
        </a:defRPr>
      </a:lvl2pPr>
      <a:lvl3pPr marL="914400" indent="-228600" algn="l" rtl="0" eaLnBrk="1" fontAlgn="base" hangingPunct="1">
        <a:spcBef>
          <a:spcPct val="0"/>
        </a:spcBef>
        <a:spcAft>
          <a:spcPct val="0"/>
        </a:spcAft>
        <a:buClr>
          <a:schemeClr val="bg1"/>
        </a:buClr>
        <a:buFont typeface="Wingdings" pitchFamily="2" charset="2"/>
        <a:buChar char="w"/>
        <a:defRPr sz="1600">
          <a:solidFill>
            <a:srgbClr val="007CC2"/>
          </a:solidFill>
          <a:latin typeface="+mn-lt"/>
          <a:cs typeface="+mn-cs"/>
        </a:defRPr>
      </a:lvl3pPr>
      <a:lvl4pPr marL="1376363" indent="-233363" algn="l" rtl="0" eaLnBrk="1" fontAlgn="base" hangingPunct="1">
        <a:spcBef>
          <a:spcPct val="0"/>
        </a:spcBef>
        <a:spcAft>
          <a:spcPct val="0"/>
        </a:spcAft>
        <a:buClr>
          <a:schemeClr val="bg1"/>
        </a:buClr>
        <a:buFont typeface="Arial" pitchFamily="34" charset="0"/>
        <a:buChar char="–"/>
        <a:defRPr sz="1600">
          <a:solidFill>
            <a:srgbClr val="007CC2"/>
          </a:solidFill>
          <a:latin typeface="+mn-lt"/>
          <a:cs typeface="+mn-cs"/>
        </a:defRPr>
      </a:lvl4pPr>
      <a:lvl5pPr marL="2055813" indent="-227013" algn="l" rtl="0" eaLnBrk="1" fontAlgn="base" hangingPunct="1">
        <a:spcBef>
          <a:spcPct val="0"/>
        </a:spcBef>
        <a:spcAft>
          <a:spcPct val="0"/>
        </a:spcAft>
        <a:buClr>
          <a:schemeClr val="bg1"/>
        </a:buClr>
        <a:buFont typeface="Arial" pitchFamily="34" charset="0"/>
        <a:buChar char="–"/>
        <a:defRPr sz="1600">
          <a:solidFill>
            <a:srgbClr val="007CC2"/>
          </a:solidFill>
          <a:latin typeface="+mn-lt"/>
          <a:cs typeface="+mn-cs"/>
        </a:defRPr>
      </a:lvl5pPr>
      <a:lvl6pPr marL="25130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6pPr>
      <a:lvl7pPr marL="29702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7pPr>
      <a:lvl8pPr marL="34274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8pPr>
      <a:lvl9pPr marL="38846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11" hidden="1"/>
          <p:cNvGraphicFramePr>
            <a:graphicFrameLocks/>
          </p:cNvGraphicFramePr>
          <p:nvPr>
            <p:custDataLst>
              <p:tags r:id="rId20"/>
            </p:custDataLst>
          </p:nvPr>
        </p:nvGraphicFramePr>
        <p:xfrm>
          <a:off x="-1476" y="0"/>
          <a:ext cx="151191" cy="158750"/>
        </p:xfrm>
        <a:graphic>
          <a:graphicData uri="http://schemas.openxmlformats.org/presentationml/2006/ole">
            <mc:AlternateContent xmlns:mc="http://schemas.openxmlformats.org/markup-compatibility/2006">
              <mc:Choice xmlns:v="urn:schemas-microsoft-com:vml" Requires="v">
                <p:oleObj spid="_x0000_s69022" r:id="rId24" imgW="0" imgH="0" progId="">
                  <p:embed/>
                </p:oleObj>
              </mc:Choice>
              <mc:Fallback>
                <p:oleObj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476" y="0"/>
                        <a:ext cx="15119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8" name="Picture 50" descr="WhitePage_1"/>
          <p:cNvPicPr>
            <a:picLocks noChangeAspect="1" noChangeArrowheads="1"/>
          </p:cNvPicPr>
          <p:nvPr/>
        </p:nvPicPr>
        <p:blipFill>
          <a:blip r:embed="rId25" cstate="print"/>
          <a:srcRect/>
          <a:stretch>
            <a:fillRect/>
          </a:stretch>
        </p:blipFill>
        <p:spPr bwMode="auto">
          <a:xfrm>
            <a:off x="0" y="0"/>
            <a:ext cx="9144000" cy="6858000"/>
          </a:xfrm>
          <a:prstGeom prst="rect">
            <a:avLst/>
          </a:prstGeom>
          <a:noFill/>
          <a:ln w="9525">
            <a:noFill/>
            <a:miter lim="800000"/>
            <a:headEnd/>
            <a:tailEnd/>
          </a:ln>
        </p:spPr>
      </p:pic>
      <p:sp>
        <p:nvSpPr>
          <p:cNvPr id="39950" name="pg num"/>
          <p:cNvSpPr>
            <a:spLocks noGrp="1" noChangeArrowheads="1"/>
          </p:cNvSpPr>
          <p:nvPr>
            <p:ph type="sldNum" sz="quarter" idx="4"/>
            <p:custDataLst>
              <p:tags r:id="rId21"/>
            </p:custDataLst>
          </p:nvPr>
        </p:nvSpPr>
        <p:spPr bwMode="gray">
          <a:xfrm>
            <a:off x="8548310" y="6581775"/>
            <a:ext cx="355298" cy="122238"/>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eaLnBrk="0" hangingPunct="0">
              <a:buClrTx/>
              <a:buFontTx/>
              <a:buNone/>
              <a:defRPr sz="800" b="0">
                <a:solidFill>
                  <a:srgbClr val="007CC2"/>
                </a:solidFill>
                <a:latin typeface="Arial" charset="0"/>
                <a:cs typeface="Arial" charset="0"/>
              </a:defRPr>
            </a:lvl1pPr>
          </a:lstStyle>
          <a:p>
            <a:pPr>
              <a:defRPr/>
            </a:pPr>
            <a:fld id="{40D1998B-E081-4263-859D-58159EC798ED}" type="slidenum">
              <a:rPr lang="en-US" altLang="en-US"/>
              <a:pPr>
                <a:defRPr/>
              </a:pPr>
              <a:t>‹#›</a:t>
            </a:fld>
            <a:endParaRPr lang="en-US" altLang="en-US"/>
          </a:p>
        </p:txBody>
      </p:sp>
      <p:sp>
        <p:nvSpPr>
          <p:cNvPr id="1030" name="Rectangle 15"/>
          <p:cNvSpPr>
            <a:spLocks noGrp="1" noChangeArrowheads="1"/>
          </p:cNvSpPr>
          <p:nvPr>
            <p:ph type="title"/>
            <p:custDataLst>
              <p:tags r:id="rId22"/>
            </p:custDataLst>
          </p:nvPr>
        </p:nvSpPr>
        <p:spPr bwMode="gray">
          <a:xfrm>
            <a:off x="217714" y="84138"/>
            <a:ext cx="7547429" cy="711200"/>
          </a:xfrm>
          <a:prstGeom prst="rect">
            <a:avLst/>
          </a:prstGeom>
          <a:noFill/>
          <a:ln w="9525">
            <a:noFill/>
            <a:miter lim="800000"/>
            <a:headEnd/>
            <a:tailEnd/>
          </a:ln>
        </p:spPr>
        <p:txBody>
          <a:bodyPr vert="horz" wrap="square" lIns="0" tIns="45595" rIns="0" bIns="45595" numCol="1" anchor="b" anchorCtr="0" compatLnSpc="1">
            <a:prstTxWarp prst="textNoShape">
              <a:avLst/>
            </a:prstTxWarp>
          </a:bodyPr>
          <a:lstStyle/>
          <a:p>
            <a:pPr lvl="0"/>
            <a:r>
              <a:rPr lang="en-US" altLang="en-US" smtClean="0"/>
              <a:t>Click to edit Master title style</a:t>
            </a:r>
          </a:p>
        </p:txBody>
      </p:sp>
      <p:sp>
        <p:nvSpPr>
          <p:cNvPr id="1031" name="Rectangle 16"/>
          <p:cNvSpPr>
            <a:spLocks noGrp="1" noChangeArrowheads="1"/>
          </p:cNvSpPr>
          <p:nvPr>
            <p:ph type="body" idx="1"/>
            <p:custDataLst>
              <p:tags r:id="rId23"/>
            </p:custDataLst>
          </p:nvPr>
        </p:nvSpPr>
        <p:spPr bwMode="gray">
          <a:xfrm>
            <a:off x="376727" y="1300170"/>
            <a:ext cx="8391071" cy="4948237"/>
          </a:xfrm>
          <a:prstGeom prst="rect">
            <a:avLst/>
          </a:prstGeom>
          <a:noFill/>
          <a:ln w="9525" algn="ctr">
            <a:noFill/>
            <a:miter lim="800000"/>
            <a:headEnd/>
            <a:tailEnd/>
          </a:ln>
        </p:spPr>
        <p:txBody>
          <a:bodyPr vert="horz" wrap="square" lIns="91440" tIns="91440" rIns="91440" bIns="9144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Tree>
  </p:cSld>
  <p:clrMap bg1="lt1" tx1="dk1" bg2="lt2" tx2="dk2" accent1="accent1" accent2="accent2" accent3="accent3" accent4="accent4" accent5="accent5" accent6="accent6" hlink="hlink" folHlink="folHlink"/>
  <p:sldLayoutIdLst>
    <p:sldLayoutId id="2147484354" r:id="rId1"/>
    <p:sldLayoutId id="2147484355" r:id="rId2"/>
    <p:sldLayoutId id="2147484356" r:id="rId3"/>
    <p:sldLayoutId id="2147484357" r:id="rId4"/>
    <p:sldLayoutId id="2147484358" r:id="rId5"/>
    <p:sldLayoutId id="2147484359" r:id="rId6"/>
    <p:sldLayoutId id="2147484360" r:id="rId7"/>
    <p:sldLayoutId id="2147484361" r:id="rId8"/>
    <p:sldLayoutId id="2147484362" r:id="rId9"/>
    <p:sldLayoutId id="2147484363" r:id="rId10"/>
    <p:sldLayoutId id="2147484364" r:id="rId11"/>
    <p:sldLayoutId id="2147484365" r:id="rId12"/>
    <p:sldLayoutId id="2147484366" r:id="rId13"/>
    <p:sldLayoutId id="2147484367" r:id="rId14"/>
    <p:sldLayoutId id="2147484368" r:id="rId15"/>
    <p:sldLayoutId id="2147484369" r:id="rId16"/>
    <p:sldLayoutId id="2147484370" r:id="rId17"/>
  </p:sldLayoutIdLst>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hf hdr="0" ftr="0" dt="0"/>
  <p:txStyles>
    <p:titleStyle>
      <a:lvl1pPr algn="l" rtl="0" eaLnBrk="1" fontAlgn="base" hangingPunct="1">
        <a:spcBef>
          <a:spcPct val="0"/>
        </a:spcBef>
        <a:spcAft>
          <a:spcPct val="0"/>
        </a:spcAft>
        <a:defRPr sz="2400" b="1">
          <a:solidFill>
            <a:schemeClr val="bg1"/>
          </a:solidFill>
          <a:latin typeface="+mn-lt"/>
          <a:ea typeface="+mj-ea"/>
          <a:cs typeface="+mj-cs"/>
        </a:defRPr>
      </a:lvl1pPr>
      <a:lvl2pPr algn="l" rtl="0" eaLnBrk="1" fontAlgn="base" hangingPunct="1">
        <a:spcBef>
          <a:spcPct val="0"/>
        </a:spcBef>
        <a:spcAft>
          <a:spcPct val="0"/>
        </a:spcAft>
        <a:defRPr sz="2400" b="1">
          <a:solidFill>
            <a:schemeClr val="bg1"/>
          </a:solidFill>
          <a:latin typeface="Arial" charset="0"/>
          <a:cs typeface="Arial" charset="0"/>
        </a:defRPr>
      </a:lvl2pPr>
      <a:lvl3pPr algn="l" rtl="0" eaLnBrk="1" fontAlgn="base" hangingPunct="1">
        <a:spcBef>
          <a:spcPct val="0"/>
        </a:spcBef>
        <a:spcAft>
          <a:spcPct val="0"/>
        </a:spcAft>
        <a:defRPr sz="2400" b="1">
          <a:solidFill>
            <a:schemeClr val="bg1"/>
          </a:solidFill>
          <a:latin typeface="Arial" charset="0"/>
          <a:cs typeface="Arial" charset="0"/>
        </a:defRPr>
      </a:lvl3pPr>
      <a:lvl4pPr algn="l" rtl="0" eaLnBrk="1" fontAlgn="base" hangingPunct="1">
        <a:spcBef>
          <a:spcPct val="0"/>
        </a:spcBef>
        <a:spcAft>
          <a:spcPct val="0"/>
        </a:spcAft>
        <a:defRPr sz="2400" b="1">
          <a:solidFill>
            <a:schemeClr val="bg1"/>
          </a:solidFill>
          <a:latin typeface="Arial" charset="0"/>
          <a:cs typeface="Arial" charset="0"/>
        </a:defRPr>
      </a:lvl4pPr>
      <a:lvl5pPr algn="l" rtl="0" eaLnBrk="1" fontAlgn="base" hangingPunct="1">
        <a:spcBef>
          <a:spcPct val="0"/>
        </a:spcBef>
        <a:spcAft>
          <a:spcPct val="0"/>
        </a:spcAft>
        <a:defRPr sz="2400" b="1">
          <a:solidFill>
            <a:schemeClr val="bg1"/>
          </a:solidFill>
          <a:latin typeface="Arial" charset="0"/>
          <a:cs typeface="Arial" charset="0"/>
        </a:defRPr>
      </a:lvl5pPr>
      <a:lvl6pPr marL="457200" algn="r" rtl="0" eaLnBrk="1" fontAlgn="base" hangingPunct="1">
        <a:spcBef>
          <a:spcPct val="0"/>
        </a:spcBef>
        <a:spcAft>
          <a:spcPct val="0"/>
        </a:spcAft>
        <a:defRPr sz="2400" b="1">
          <a:solidFill>
            <a:schemeClr val="tx2"/>
          </a:solidFill>
          <a:latin typeface="Trebuchet MS" pitchFamily="34" charset="0"/>
          <a:cs typeface="Arial" charset="0"/>
        </a:defRPr>
      </a:lvl6pPr>
      <a:lvl7pPr marL="914400" algn="r" rtl="0" eaLnBrk="1" fontAlgn="base" hangingPunct="1">
        <a:spcBef>
          <a:spcPct val="0"/>
        </a:spcBef>
        <a:spcAft>
          <a:spcPct val="0"/>
        </a:spcAft>
        <a:defRPr sz="2400" b="1">
          <a:solidFill>
            <a:schemeClr val="tx2"/>
          </a:solidFill>
          <a:latin typeface="Trebuchet MS" pitchFamily="34" charset="0"/>
          <a:cs typeface="Arial" charset="0"/>
        </a:defRPr>
      </a:lvl7pPr>
      <a:lvl8pPr marL="1371600" algn="r" rtl="0" eaLnBrk="1" fontAlgn="base" hangingPunct="1">
        <a:spcBef>
          <a:spcPct val="0"/>
        </a:spcBef>
        <a:spcAft>
          <a:spcPct val="0"/>
        </a:spcAft>
        <a:defRPr sz="2400" b="1">
          <a:solidFill>
            <a:schemeClr val="tx2"/>
          </a:solidFill>
          <a:latin typeface="Trebuchet MS" pitchFamily="34" charset="0"/>
          <a:cs typeface="Arial" charset="0"/>
        </a:defRPr>
      </a:lvl8pPr>
      <a:lvl9pPr marL="1828800" algn="r"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marL="342900" indent="-342900" algn="l" rtl="0" eaLnBrk="1" fontAlgn="base" hangingPunct="1">
        <a:spcBef>
          <a:spcPct val="20000"/>
        </a:spcBef>
        <a:spcAft>
          <a:spcPct val="0"/>
        </a:spcAft>
        <a:buChar char="•"/>
        <a:defRPr sz="1600" b="1">
          <a:solidFill>
            <a:srgbClr val="007CC2"/>
          </a:solidFill>
          <a:latin typeface="+mn-lt"/>
          <a:ea typeface="+mn-ea"/>
          <a:cs typeface="+mn-cs"/>
        </a:defRPr>
      </a:lvl1pPr>
      <a:lvl2pPr marL="457200" indent="-228600" algn="l" rtl="0" eaLnBrk="1" fontAlgn="base" hangingPunct="1">
        <a:spcBef>
          <a:spcPct val="0"/>
        </a:spcBef>
        <a:spcAft>
          <a:spcPct val="0"/>
        </a:spcAft>
        <a:buClr>
          <a:schemeClr val="bg1"/>
        </a:buClr>
        <a:buFont typeface="Wingdings" pitchFamily="2" charset="2"/>
        <a:buChar char="§"/>
        <a:defRPr sz="1600">
          <a:solidFill>
            <a:srgbClr val="007CC2"/>
          </a:solidFill>
          <a:latin typeface="+mn-lt"/>
          <a:cs typeface="+mn-cs"/>
        </a:defRPr>
      </a:lvl2pPr>
      <a:lvl3pPr marL="914400" indent="-228600" algn="l" rtl="0" eaLnBrk="1" fontAlgn="base" hangingPunct="1">
        <a:spcBef>
          <a:spcPct val="0"/>
        </a:spcBef>
        <a:spcAft>
          <a:spcPct val="0"/>
        </a:spcAft>
        <a:buClr>
          <a:schemeClr val="bg1"/>
        </a:buClr>
        <a:buFont typeface="Wingdings" pitchFamily="2" charset="2"/>
        <a:buChar char="w"/>
        <a:defRPr sz="1600">
          <a:solidFill>
            <a:srgbClr val="007CC2"/>
          </a:solidFill>
          <a:latin typeface="+mn-lt"/>
          <a:cs typeface="+mn-cs"/>
        </a:defRPr>
      </a:lvl3pPr>
      <a:lvl4pPr marL="1376363" indent="-233363" algn="l" rtl="0" eaLnBrk="1" fontAlgn="base" hangingPunct="1">
        <a:spcBef>
          <a:spcPct val="0"/>
        </a:spcBef>
        <a:spcAft>
          <a:spcPct val="0"/>
        </a:spcAft>
        <a:buClr>
          <a:schemeClr val="bg1"/>
        </a:buClr>
        <a:buFont typeface="Arial" pitchFamily="34" charset="0"/>
        <a:buChar char="–"/>
        <a:defRPr sz="1600">
          <a:solidFill>
            <a:srgbClr val="007CC2"/>
          </a:solidFill>
          <a:latin typeface="+mn-lt"/>
          <a:cs typeface="+mn-cs"/>
        </a:defRPr>
      </a:lvl4pPr>
      <a:lvl5pPr marL="2055813" indent="-227013" algn="l" rtl="0" eaLnBrk="1" fontAlgn="base" hangingPunct="1">
        <a:spcBef>
          <a:spcPct val="0"/>
        </a:spcBef>
        <a:spcAft>
          <a:spcPct val="0"/>
        </a:spcAft>
        <a:buClr>
          <a:schemeClr val="bg1"/>
        </a:buClr>
        <a:buFont typeface="Arial" pitchFamily="34" charset="0"/>
        <a:buChar char="–"/>
        <a:defRPr sz="1600">
          <a:solidFill>
            <a:srgbClr val="007CC2"/>
          </a:solidFill>
          <a:latin typeface="+mn-lt"/>
          <a:cs typeface="+mn-cs"/>
        </a:defRPr>
      </a:lvl5pPr>
      <a:lvl6pPr marL="25130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6pPr>
      <a:lvl7pPr marL="29702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7pPr>
      <a:lvl8pPr marL="34274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8pPr>
      <a:lvl9pPr marL="38846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11" hidden="1"/>
          <p:cNvGraphicFramePr>
            <a:graphicFrameLocks/>
          </p:cNvGraphicFramePr>
          <p:nvPr>
            <p:custDataLst>
              <p:tags r:id="rId21"/>
            </p:custDataLst>
          </p:nvPr>
        </p:nvGraphicFramePr>
        <p:xfrm>
          <a:off x="-1476" y="0"/>
          <a:ext cx="151191" cy="158750"/>
        </p:xfrm>
        <a:graphic>
          <a:graphicData uri="http://schemas.openxmlformats.org/presentationml/2006/ole">
            <mc:AlternateContent xmlns:mc="http://schemas.openxmlformats.org/markup-compatibility/2006">
              <mc:Choice xmlns:v="urn:schemas-microsoft-com:vml" Requires="v">
                <p:oleObj spid="_x0000_s72094" r:id="rId25" imgW="0" imgH="0" progId="">
                  <p:embed/>
                </p:oleObj>
              </mc:Choice>
              <mc:Fallback>
                <p:oleObj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476" y="0"/>
                        <a:ext cx="15119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8" name="Picture 50" descr="WhitePage_1"/>
          <p:cNvPicPr>
            <a:picLocks noChangeAspect="1" noChangeArrowheads="1"/>
          </p:cNvPicPr>
          <p:nvPr/>
        </p:nvPicPr>
        <p:blipFill>
          <a:blip r:embed="rId26" cstate="print"/>
          <a:srcRect/>
          <a:stretch>
            <a:fillRect/>
          </a:stretch>
        </p:blipFill>
        <p:spPr bwMode="auto">
          <a:xfrm>
            <a:off x="0" y="0"/>
            <a:ext cx="9144000" cy="6858000"/>
          </a:xfrm>
          <a:prstGeom prst="rect">
            <a:avLst/>
          </a:prstGeom>
          <a:noFill/>
          <a:ln w="9525">
            <a:noFill/>
            <a:miter lim="800000"/>
            <a:headEnd/>
            <a:tailEnd/>
          </a:ln>
        </p:spPr>
      </p:pic>
      <p:sp>
        <p:nvSpPr>
          <p:cNvPr id="39950" name="pg num"/>
          <p:cNvSpPr>
            <a:spLocks noGrp="1" noChangeArrowheads="1"/>
          </p:cNvSpPr>
          <p:nvPr>
            <p:ph type="sldNum" sz="quarter" idx="4"/>
            <p:custDataLst>
              <p:tags r:id="rId22"/>
            </p:custDataLst>
          </p:nvPr>
        </p:nvSpPr>
        <p:spPr bwMode="gray">
          <a:xfrm>
            <a:off x="8548310" y="6581775"/>
            <a:ext cx="355298" cy="122238"/>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eaLnBrk="0" hangingPunct="0">
              <a:buClrTx/>
              <a:buFontTx/>
              <a:buNone/>
              <a:defRPr sz="800" b="0">
                <a:solidFill>
                  <a:srgbClr val="007CC2"/>
                </a:solidFill>
                <a:latin typeface="Arial" charset="0"/>
                <a:cs typeface="Arial" charset="0"/>
              </a:defRPr>
            </a:lvl1pPr>
          </a:lstStyle>
          <a:p>
            <a:pPr>
              <a:defRPr/>
            </a:pPr>
            <a:fld id="{369AF959-3F19-45C0-BDE8-016007A35A46}" type="slidenum">
              <a:rPr lang="en-US" altLang="en-US" smtClean="0"/>
              <a:pPr>
                <a:defRPr/>
              </a:pPr>
              <a:t>‹#›</a:t>
            </a:fld>
            <a:endParaRPr lang="en-US" altLang="en-US"/>
          </a:p>
        </p:txBody>
      </p:sp>
      <p:sp>
        <p:nvSpPr>
          <p:cNvPr id="1030" name="Rectangle 15"/>
          <p:cNvSpPr>
            <a:spLocks noGrp="1" noChangeArrowheads="1"/>
          </p:cNvSpPr>
          <p:nvPr>
            <p:ph type="title"/>
            <p:custDataLst>
              <p:tags r:id="rId23"/>
            </p:custDataLst>
          </p:nvPr>
        </p:nvSpPr>
        <p:spPr bwMode="gray">
          <a:xfrm>
            <a:off x="217714" y="84138"/>
            <a:ext cx="7547429" cy="711200"/>
          </a:xfrm>
          <a:prstGeom prst="rect">
            <a:avLst/>
          </a:prstGeom>
          <a:noFill/>
          <a:ln w="9525">
            <a:noFill/>
            <a:miter lim="800000"/>
            <a:headEnd/>
            <a:tailEnd/>
          </a:ln>
        </p:spPr>
        <p:txBody>
          <a:bodyPr vert="horz" wrap="square" lIns="0" tIns="45595" rIns="0" bIns="45595" numCol="1" anchor="b" anchorCtr="0" compatLnSpc="1">
            <a:prstTxWarp prst="textNoShape">
              <a:avLst/>
            </a:prstTxWarp>
          </a:bodyPr>
          <a:lstStyle/>
          <a:p>
            <a:pPr lvl="0"/>
            <a:r>
              <a:rPr lang="en-US" altLang="en-US" smtClean="0"/>
              <a:t>Click to edit Master title style</a:t>
            </a:r>
          </a:p>
        </p:txBody>
      </p:sp>
      <p:sp>
        <p:nvSpPr>
          <p:cNvPr id="1031" name="Rectangle 16"/>
          <p:cNvSpPr>
            <a:spLocks noGrp="1" noChangeArrowheads="1"/>
          </p:cNvSpPr>
          <p:nvPr>
            <p:ph type="body" idx="1"/>
            <p:custDataLst>
              <p:tags r:id="rId24"/>
            </p:custDataLst>
          </p:nvPr>
        </p:nvSpPr>
        <p:spPr bwMode="gray">
          <a:xfrm>
            <a:off x="376727" y="1300170"/>
            <a:ext cx="8391071" cy="4948237"/>
          </a:xfrm>
          <a:prstGeom prst="rect">
            <a:avLst/>
          </a:prstGeom>
          <a:noFill/>
          <a:ln w="9525" algn="ctr">
            <a:noFill/>
            <a:miter lim="800000"/>
            <a:headEnd/>
            <a:tailEnd/>
          </a:ln>
        </p:spPr>
        <p:txBody>
          <a:bodyPr vert="horz" wrap="square" lIns="91440" tIns="91440" rIns="91440" bIns="9144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Tree>
  </p:cSld>
  <p:clrMap bg1="lt1" tx1="dk1" bg2="lt2" tx2="dk2" accent1="accent1" accent2="accent2" accent3="accent3" accent4="accent4" accent5="accent5" accent6="accent6" hlink="hlink" folHlink="folHlink"/>
  <p:sldLayoutIdLst>
    <p:sldLayoutId id="2147484372" r:id="rId1"/>
    <p:sldLayoutId id="2147484373" r:id="rId2"/>
    <p:sldLayoutId id="2147484374" r:id="rId3"/>
    <p:sldLayoutId id="2147484375" r:id="rId4"/>
    <p:sldLayoutId id="2147484376" r:id="rId5"/>
    <p:sldLayoutId id="2147484377" r:id="rId6"/>
    <p:sldLayoutId id="2147484378" r:id="rId7"/>
    <p:sldLayoutId id="2147484379" r:id="rId8"/>
    <p:sldLayoutId id="2147484380" r:id="rId9"/>
    <p:sldLayoutId id="2147484381" r:id="rId10"/>
    <p:sldLayoutId id="2147484382" r:id="rId11"/>
    <p:sldLayoutId id="2147484383" r:id="rId12"/>
    <p:sldLayoutId id="2147484384" r:id="rId13"/>
    <p:sldLayoutId id="2147484385" r:id="rId14"/>
    <p:sldLayoutId id="2147484386" r:id="rId15"/>
    <p:sldLayoutId id="2147484387" r:id="rId16"/>
    <p:sldLayoutId id="2147484388" r:id="rId17"/>
    <p:sldLayoutId id="2147484389" r:id="rId18"/>
  </p:sldLayoutIdLst>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hf hdr="0" ftr="0" dt="0"/>
  <p:txStyles>
    <p:titleStyle>
      <a:lvl1pPr algn="l" rtl="0" eaLnBrk="1" fontAlgn="base" hangingPunct="1">
        <a:spcBef>
          <a:spcPct val="0"/>
        </a:spcBef>
        <a:spcAft>
          <a:spcPct val="0"/>
        </a:spcAft>
        <a:defRPr sz="2400" b="1">
          <a:solidFill>
            <a:schemeClr val="bg1"/>
          </a:solidFill>
          <a:latin typeface="+mn-lt"/>
          <a:ea typeface="+mj-ea"/>
          <a:cs typeface="+mj-cs"/>
        </a:defRPr>
      </a:lvl1pPr>
      <a:lvl2pPr algn="l" rtl="0" eaLnBrk="1" fontAlgn="base" hangingPunct="1">
        <a:spcBef>
          <a:spcPct val="0"/>
        </a:spcBef>
        <a:spcAft>
          <a:spcPct val="0"/>
        </a:spcAft>
        <a:defRPr sz="2400" b="1">
          <a:solidFill>
            <a:schemeClr val="bg1"/>
          </a:solidFill>
          <a:latin typeface="Arial" charset="0"/>
          <a:cs typeface="Arial" charset="0"/>
        </a:defRPr>
      </a:lvl2pPr>
      <a:lvl3pPr algn="l" rtl="0" eaLnBrk="1" fontAlgn="base" hangingPunct="1">
        <a:spcBef>
          <a:spcPct val="0"/>
        </a:spcBef>
        <a:spcAft>
          <a:spcPct val="0"/>
        </a:spcAft>
        <a:defRPr sz="2400" b="1">
          <a:solidFill>
            <a:schemeClr val="bg1"/>
          </a:solidFill>
          <a:latin typeface="Arial" charset="0"/>
          <a:cs typeface="Arial" charset="0"/>
        </a:defRPr>
      </a:lvl3pPr>
      <a:lvl4pPr algn="l" rtl="0" eaLnBrk="1" fontAlgn="base" hangingPunct="1">
        <a:spcBef>
          <a:spcPct val="0"/>
        </a:spcBef>
        <a:spcAft>
          <a:spcPct val="0"/>
        </a:spcAft>
        <a:defRPr sz="2400" b="1">
          <a:solidFill>
            <a:schemeClr val="bg1"/>
          </a:solidFill>
          <a:latin typeface="Arial" charset="0"/>
          <a:cs typeface="Arial" charset="0"/>
        </a:defRPr>
      </a:lvl4pPr>
      <a:lvl5pPr algn="l" rtl="0" eaLnBrk="1" fontAlgn="base" hangingPunct="1">
        <a:spcBef>
          <a:spcPct val="0"/>
        </a:spcBef>
        <a:spcAft>
          <a:spcPct val="0"/>
        </a:spcAft>
        <a:defRPr sz="2400" b="1">
          <a:solidFill>
            <a:schemeClr val="bg1"/>
          </a:solidFill>
          <a:latin typeface="Arial" charset="0"/>
          <a:cs typeface="Arial" charset="0"/>
        </a:defRPr>
      </a:lvl5pPr>
      <a:lvl6pPr marL="457200" algn="r" rtl="0" eaLnBrk="1" fontAlgn="base" hangingPunct="1">
        <a:spcBef>
          <a:spcPct val="0"/>
        </a:spcBef>
        <a:spcAft>
          <a:spcPct val="0"/>
        </a:spcAft>
        <a:defRPr sz="2400" b="1">
          <a:solidFill>
            <a:schemeClr val="tx2"/>
          </a:solidFill>
          <a:latin typeface="Trebuchet MS" pitchFamily="34" charset="0"/>
          <a:cs typeface="Arial" charset="0"/>
        </a:defRPr>
      </a:lvl6pPr>
      <a:lvl7pPr marL="914400" algn="r" rtl="0" eaLnBrk="1" fontAlgn="base" hangingPunct="1">
        <a:spcBef>
          <a:spcPct val="0"/>
        </a:spcBef>
        <a:spcAft>
          <a:spcPct val="0"/>
        </a:spcAft>
        <a:defRPr sz="2400" b="1">
          <a:solidFill>
            <a:schemeClr val="tx2"/>
          </a:solidFill>
          <a:latin typeface="Trebuchet MS" pitchFamily="34" charset="0"/>
          <a:cs typeface="Arial" charset="0"/>
        </a:defRPr>
      </a:lvl7pPr>
      <a:lvl8pPr marL="1371600" algn="r" rtl="0" eaLnBrk="1" fontAlgn="base" hangingPunct="1">
        <a:spcBef>
          <a:spcPct val="0"/>
        </a:spcBef>
        <a:spcAft>
          <a:spcPct val="0"/>
        </a:spcAft>
        <a:defRPr sz="2400" b="1">
          <a:solidFill>
            <a:schemeClr val="tx2"/>
          </a:solidFill>
          <a:latin typeface="Trebuchet MS" pitchFamily="34" charset="0"/>
          <a:cs typeface="Arial" charset="0"/>
        </a:defRPr>
      </a:lvl8pPr>
      <a:lvl9pPr marL="1828800" algn="r"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marL="342900" indent="-342900" algn="l" rtl="0" eaLnBrk="1" fontAlgn="base" hangingPunct="1">
        <a:spcBef>
          <a:spcPct val="20000"/>
        </a:spcBef>
        <a:spcAft>
          <a:spcPct val="0"/>
        </a:spcAft>
        <a:buChar char="•"/>
        <a:defRPr sz="1600" b="1">
          <a:solidFill>
            <a:srgbClr val="007CC2"/>
          </a:solidFill>
          <a:latin typeface="+mn-lt"/>
          <a:ea typeface="+mn-ea"/>
          <a:cs typeface="+mn-cs"/>
        </a:defRPr>
      </a:lvl1pPr>
      <a:lvl2pPr marL="457200" indent="-228600" algn="l" rtl="0" eaLnBrk="1" fontAlgn="base" hangingPunct="1">
        <a:spcBef>
          <a:spcPct val="0"/>
        </a:spcBef>
        <a:spcAft>
          <a:spcPct val="0"/>
        </a:spcAft>
        <a:buClr>
          <a:schemeClr val="bg1"/>
        </a:buClr>
        <a:buFont typeface="Wingdings" pitchFamily="2" charset="2"/>
        <a:buChar char="§"/>
        <a:defRPr sz="1600">
          <a:solidFill>
            <a:srgbClr val="007CC2"/>
          </a:solidFill>
          <a:latin typeface="+mn-lt"/>
          <a:cs typeface="+mn-cs"/>
        </a:defRPr>
      </a:lvl2pPr>
      <a:lvl3pPr marL="914400" indent="-228600" algn="l" rtl="0" eaLnBrk="1" fontAlgn="base" hangingPunct="1">
        <a:spcBef>
          <a:spcPct val="0"/>
        </a:spcBef>
        <a:spcAft>
          <a:spcPct val="0"/>
        </a:spcAft>
        <a:buClr>
          <a:schemeClr val="bg1"/>
        </a:buClr>
        <a:buFont typeface="Wingdings" pitchFamily="2" charset="2"/>
        <a:buChar char="w"/>
        <a:defRPr sz="1600">
          <a:solidFill>
            <a:srgbClr val="007CC2"/>
          </a:solidFill>
          <a:latin typeface="+mn-lt"/>
          <a:cs typeface="+mn-cs"/>
        </a:defRPr>
      </a:lvl3pPr>
      <a:lvl4pPr marL="1376363" indent="-233363" algn="l" rtl="0" eaLnBrk="1" fontAlgn="base" hangingPunct="1">
        <a:spcBef>
          <a:spcPct val="0"/>
        </a:spcBef>
        <a:spcAft>
          <a:spcPct val="0"/>
        </a:spcAft>
        <a:buClr>
          <a:schemeClr val="bg1"/>
        </a:buClr>
        <a:buFont typeface="Arial" pitchFamily="34" charset="0"/>
        <a:buChar char="–"/>
        <a:defRPr sz="1600">
          <a:solidFill>
            <a:srgbClr val="007CC2"/>
          </a:solidFill>
          <a:latin typeface="+mn-lt"/>
          <a:cs typeface="+mn-cs"/>
        </a:defRPr>
      </a:lvl4pPr>
      <a:lvl5pPr marL="2055813" indent="-227013" algn="l" rtl="0" eaLnBrk="1" fontAlgn="base" hangingPunct="1">
        <a:spcBef>
          <a:spcPct val="0"/>
        </a:spcBef>
        <a:spcAft>
          <a:spcPct val="0"/>
        </a:spcAft>
        <a:buClr>
          <a:schemeClr val="bg1"/>
        </a:buClr>
        <a:buFont typeface="Arial" pitchFamily="34" charset="0"/>
        <a:buChar char="–"/>
        <a:defRPr sz="1600">
          <a:solidFill>
            <a:srgbClr val="007CC2"/>
          </a:solidFill>
          <a:latin typeface="+mn-lt"/>
          <a:cs typeface="+mn-cs"/>
        </a:defRPr>
      </a:lvl5pPr>
      <a:lvl6pPr marL="25130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6pPr>
      <a:lvl7pPr marL="29702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7pPr>
      <a:lvl8pPr marL="34274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8pPr>
      <a:lvl9pPr marL="38846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11" hidden="1"/>
          <p:cNvGraphicFramePr>
            <a:graphicFrameLocks/>
          </p:cNvGraphicFramePr>
          <p:nvPr>
            <p:custDataLst>
              <p:tags r:id="rId20"/>
            </p:custDataLst>
          </p:nvPr>
        </p:nvGraphicFramePr>
        <p:xfrm>
          <a:off x="-1476" y="0"/>
          <a:ext cx="151191" cy="158750"/>
        </p:xfrm>
        <a:graphic>
          <a:graphicData uri="http://schemas.openxmlformats.org/presentationml/2006/ole">
            <mc:AlternateContent xmlns:mc="http://schemas.openxmlformats.org/markup-compatibility/2006">
              <mc:Choice xmlns:v="urn:schemas-microsoft-com:vml" Requires="v">
                <p:oleObj spid="_x0000_s75166" r:id="rId24" imgW="0" imgH="0" progId="">
                  <p:embed/>
                </p:oleObj>
              </mc:Choice>
              <mc:Fallback>
                <p:oleObj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476" y="0"/>
                        <a:ext cx="15119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8" name="Picture 50" descr="WhitePage_1"/>
          <p:cNvPicPr>
            <a:picLocks noChangeAspect="1" noChangeArrowheads="1"/>
          </p:cNvPicPr>
          <p:nvPr/>
        </p:nvPicPr>
        <p:blipFill>
          <a:blip r:embed="rId25" cstate="print"/>
          <a:srcRect/>
          <a:stretch>
            <a:fillRect/>
          </a:stretch>
        </p:blipFill>
        <p:spPr bwMode="auto">
          <a:xfrm>
            <a:off x="0" y="0"/>
            <a:ext cx="9144000" cy="6858000"/>
          </a:xfrm>
          <a:prstGeom prst="rect">
            <a:avLst/>
          </a:prstGeom>
          <a:noFill/>
          <a:ln w="9525">
            <a:noFill/>
            <a:miter lim="800000"/>
            <a:headEnd/>
            <a:tailEnd/>
          </a:ln>
        </p:spPr>
      </p:pic>
      <p:sp>
        <p:nvSpPr>
          <p:cNvPr id="39950" name="pg num"/>
          <p:cNvSpPr>
            <a:spLocks noGrp="1" noChangeArrowheads="1"/>
          </p:cNvSpPr>
          <p:nvPr>
            <p:ph type="sldNum" sz="quarter" idx="4"/>
            <p:custDataLst>
              <p:tags r:id="rId21"/>
            </p:custDataLst>
          </p:nvPr>
        </p:nvSpPr>
        <p:spPr bwMode="gray">
          <a:xfrm>
            <a:off x="8548310" y="6581775"/>
            <a:ext cx="355298" cy="122238"/>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eaLnBrk="0" hangingPunct="0">
              <a:buClrTx/>
              <a:buFontTx/>
              <a:buNone/>
              <a:defRPr sz="800" b="0">
                <a:solidFill>
                  <a:srgbClr val="007CC2"/>
                </a:solidFill>
                <a:latin typeface="Arial" charset="0"/>
                <a:cs typeface="Arial" charset="0"/>
              </a:defRPr>
            </a:lvl1pPr>
          </a:lstStyle>
          <a:p>
            <a:pPr>
              <a:defRPr/>
            </a:pPr>
            <a:fld id="{40D1998B-E081-4263-859D-58159EC798ED}" type="slidenum">
              <a:rPr lang="en-US" altLang="en-US"/>
              <a:pPr>
                <a:defRPr/>
              </a:pPr>
              <a:t>‹#›</a:t>
            </a:fld>
            <a:endParaRPr lang="en-US" altLang="en-US"/>
          </a:p>
        </p:txBody>
      </p:sp>
      <p:sp>
        <p:nvSpPr>
          <p:cNvPr id="1030" name="Rectangle 15"/>
          <p:cNvSpPr>
            <a:spLocks noGrp="1" noChangeArrowheads="1"/>
          </p:cNvSpPr>
          <p:nvPr>
            <p:ph type="title"/>
            <p:custDataLst>
              <p:tags r:id="rId22"/>
            </p:custDataLst>
          </p:nvPr>
        </p:nvSpPr>
        <p:spPr bwMode="gray">
          <a:xfrm>
            <a:off x="217714" y="84138"/>
            <a:ext cx="7547429" cy="711200"/>
          </a:xfrm>
          <a:prstGeom prst="rect">
            <a:avLst/>
          </a:prstGeom>
          <a:noFill/>
          <a:ln w="9525">
            <a:noFill/>
            <a:miter lim="800000"/>
            <a:headEnd/>
            <a:tailEnd/>
          </a:ln>
        </p:spPr>
        <p:txBody>
          <a:bodyPr vert="horz" wrap="square" lIns="0" tIns="45595" rIns="0" bIns="45595" numCol="1" anchor="b" anchorCtr="0" compatLnSpc="1">
            <a:prstTxWarp prst="textNoShape">
              <a:avLst/>
            </a:prstTxWarp>
          </a:bodyPr>
          <a:lstStyle/>
          <a:p>
            <a:pPr lvl="0"/>
            <a:r>
              <a:rPr lang="en-US" altLang="en-US" smtClean="0"/>
              <a:t>Click to edit Master title style</a:t>
            </a:r>
          </a:p>
        </p:txBody>
      </p:sp>
      <p:sp>
        <p:nvSpPr>
          <p:cNvPr id="1031" name="Rectangle 16"/>
          <p:cNvSpPr>
            <a:spLocks noGrp="1" noChangeArrowheads="1"/>
          </p:cNvSpPr>
          <p:nvPr>
            <p:ph type="body" idx="1"/>
            <p:custDataLst>
              <p:tags r:id="rId23"/>
            </p:custDataLst>
          </p:nvPr>
        </p:nvSpPr>
        <p:spPr bwMode="gray">
          <a:xfrm>
            <a:off x="376727" y="1300170"/>
            <a:ext cx="8391071" cy="4948237"/>
          </a:xfrm>
          <a:prstGeom prst="rect">
            <a:avLst/>
          </a:prstGeom>
          <a:noFill/>
          <a:ln w="9525" algn="ctr">
            <a:noFill/>
            <a:miter lim="800000"/>
            <a:headEnd/>
            <a:tailEnd/>
          </a:ln>
        </p:spPr>
        <p:txBody>
          <a:bodyPr vert="horz" wrap="square" lIns="91440" tIns="91440" rIns="91440" bIns="9144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Tree>
  </p:cSld>
  <p:clrMap bg1="lt1" tx1="dk1" bg2="lt2" tx2="dk2" accent1="accent1" accent2="accent2" accent3="accent3" accent4="accent4" accent5="accent5" accent6="accent6" hlink="hlink" folHlink="folHlink"/>
  <p:sldLayoutIdLst>
    <p:sldLayoutId id="2147484391" r:id="rId1"/>
    <p:sldLayoutId id="2147484392" r:id="rId2"/>
    <p:sldLayoutId id="2147484393" r:id="rId3"/>
    <p:sldLayoutId id="2147484394" r:id="rId4"/>
    <p:sldLayoutId id="2147484395" r:id="rId5"/>
    <p:sldLayoutId id="2147484396" r:id="rId6"/>
    <p:sldLayoutId id="2147484397" r:id="rId7"/>
    <p:sldLayoutId id="2147484398" r:id="rId8"/>
    <p:sldLayoutId id="2147484399" r:id="rId9"/>
    <p:sldLayoutId id="2147484400" r:id="rId10"/>
    <p:sldLayoutId id="2147484401" r:id="rId11"/>
    <p:sldLayoutId id="2147484402" r:id="rId12"/>
    <p:sldLayoutId id="2147484403" r:id="rId13"/>
    <p:sldLayoutId id="2147484404" r:id="rId14"/>
    <p:sldLayoutId id="2147484405" r:id="rId15"/>
    <p:sldLayoutId id="2147484406" r:id="rId16"/>
    <p:sldLayoutId id="2147484407" r:id="rId17"/>
  </p:sldLayoutIdLst>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hf hdr="0" ftr="0" dt="0"/>
  <p:txStyles>
    <p:titleStyle>
      <a:lvl1pPr algn="l" rtl="0" eaLnBrk="1" fontAlgn="base" hangingPunct="1">
        <a:spcBef>
          <a:spcPct val="0"/>
        </a:spcBef>
        <a:spcAft>
          <a:spcPct val="0"/>
        </a:spcAft>
        <a:defRPr sz="2400" b="1">
          <a:solidFill>
            <a:schemeClr val="bg1"/>
          </a:solidFill>
          <a:latin typeface="+mn-lt"/>
          <a:ea typeface="+mj-ea"/>
          <a:cs typeface="+mj-cs"/>
        </a:defRPr>
      </a:lvl1pPr>
      <a:lvl2pPr algn="l" rtl="0" eaLnBrk="1" fontAlgn="base" hangingPunct="1">
        <a:spcBef>
          <a:spcPct val="0"/>
        </a:spcBef>
        <a:spcAft>
          <a:spcPct val="0"/>
        </a:spcAft>
        <a:defRPr sz="2400" b="1">
          <a:solidFill>
            <a:schemeClr val="bg1"/>
          </a:solidFill>
          <a:latin typeface="Arial" charset="0"/>
          <a:cs typeface="Arial" charset="0"/>
        </a:defRPr>
      </a:lvl2pPr>
      <a:lvl3pPr algn="l" rtl="0" eaLnBrk="1" fontAlgn="base" hangingPunct="1">
        <a:spcBef>
          <a:spcPct val="0"/>
        </a:spcBef>
        <a:spcAft>
          <a:spcPct val="0"/>
        </a:spcAft>
        <a:defRPr sz="2400" b="1">
          <a:solidFill>
            <a:schemeClr val="bg1"/>
          </a:solidFill>
          <a:latin typeface="Arial" charset="0"/>
          <a:cs typeface="Arial" charset="0"/>
        </a:defRPr>
      </a:lvl3pPr>
      <a:lvl4pPr algn="l" rtl="0" eaLnBrk="1" fontAlgn="base" hangingPunct="1">
        <a:spcBef>
          <a:spcPct val="0"/>
        </a:spcBef>
        <a:spcAft>
          <a:spcPct val="0"/>
        </a:spcAft>
        <a:defRPr sz="2400" b="1">
          <a:solidFill>
            <a:schemeClr val="bg1"/>
          </a:solidFill>
          <a:latin typeface="Arial" charset="0"/>
          <a:cs typeface="Arial" charset="0"/>
        </a:defRPr>
      </a:lvl4pPr>
      <a:lvl5pPr algn="l" rtl="0" eaLnBrk="1" fontAlgn="base" hangingPunct="1">
        <a:spcBef>
          <a:spcPct val="0"/>
        </a:spcBef>
        <a:spcAft>
          <a:spcPct val="0"/>
        </a:spcAft>
        <a:defRPr sz="2400" b="1">
          <a:solidFill>
            <a:schemeClr val="bg1"/>
          </a:solidFill>
          <a:latin typeface="Arial" charset="0"/>
          <a:cs typeface="Arial" charset="0"/>
        </a:defRPr>
      </a:lvl5pPr>
      <a:lvl6pPr marL="457200" algn="r" rtl="0" eaLnBrk="1" fontAlgn="base" hangingPunct="1">
        <a:spcBef>
          <a:spcPct val="0"/>
        </a:spcBef>
        <a:spcAft>
          <a:spcPct val="0"/>
        </a:spcAft>
        <a:defRPr sz="2400" b="1">
          <a:solidFill>
            <a:schemeClr val="tx2"/>
          </a:solidFill>
          <a:latin typeface="Trebuchet MS" pitchFamily="34" charset="0"/>
          <a:cs typeface="Arial" charset="0"/>
        </a:defRPr>
      </a:lvl6pPr>
      <a:lvl7pPr marL="914400" algn="r" rtl="0" eaLnBrk="1" fontAlgn="base" hangingPunct="1">
        <a:spcBef>
          <a:spcPct val="0"/>
        </a:spcBef>
        <a:spcAft>
          <a:spcPct val="0"/>
        </a:spcAft>
        <a:defRPr sz="2400" b="1">
          <a:solidFill>
            <a:schemeClr val="tx2"/>
          </a:solidFill>
          <a:latin typeface="Trebuchet MS" pitchFamily="34" charset="0"/>
          <a:cs typeface="Arial" charset="0"/>
        </a:defRPr>
      </a:lvl7pPr>
      <a:lvl8pPr marL="1371600" algn="r" rtl="0" eaLnBrk="1" fontAlgn="base" hangingPunct="1">
        <a:spcBef>
          <a:spcPct val="0"/>
        </a:spcBef>
        <a:spcAft>
          <a:spcPct val="0"/>
        </a:spcAft>
        <a:defRPr sz="2400" b="1">
          <a:solidFill>
            <a:schemeClr val="tx2"/>
          </a:solidFill>
          <a:latin typeface="Trebuchet MS" pitchFamily="34" charset="0"/>
          <a:cs typeface="Arial" charset="0"/>
        </a:defRPr>
      </a:lvl8pPr>
      <a:lvl9pPr marL="1828800" algn="r"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marL="342900" indent="-342900" algn="l" rtl="0" eaLnBrk="1" fontAlgn="base" hangingPunct="1">
        <a:spcBef>
          <a:spcPct val="20000"/>
        </a:spcBef>
        <a:spcAft>
          <a:spcPct val="0"/>
        </a:spcAft>
        <a:buChar char="•"/>
        <a:defRPr sz="1600" b="1">
          <a:solidFill>
            <a:srgbClr val="007CC2"/>
          </a:solidFill>
          <a:latin typeface="+mn-lt"/>
          <a:ea typeface="+mn-ea"/>
          <a:cs typeface="+mn-cs"/>
        </a:defRPr>
      </a:lvl1pPr>
      <a:lvl2pPr marL="457200" indent="-228600" algn="l" rtl="0" eaLnBrk="1" fontAlgn="base" hangingPunct="1">
        <a:spcBef>
          <a:spcPct val="0"/>
        </a:spcBef>
        <a:spcAft>
          <a:spcPct val="0"/>
        </a:spcAft>
        <a:buClr>
          <a:schemeClr val="bg1"/>
        </a:buClr>
        <a:buFont typeface="Wingdings" pitchFamily="2" charset="2"/>
        <a:buChar char="§"/>
        <a:defRPr sz="1600">
          <a:solidFill>
            <a:srgbClr val="007CC2"/>
          </a:solidFill>
          <a:latin typeface="+mn-lt"/>
          <a:cs typeface="+mn-cs"/>
        </a:defRPr>
      </a:lvl2pPr>
      <a:lvl3pPr marL="914400" indent="-228600" algn="l" rtl="0" eaLnBrk="1" fontAlgn="base" hangingPunct="1">
        <a:spcBef>
          <a:spcPct val="0"/>
        </a:spcBef>
        <a:spcAft>
          <a:spcPct val="0"/>
        </a:spcAft>
        <a:buClr>
          <a:schemeClr val="bg1"/>
        </a:buClr>
        <a:buFont typeface="Wingdings" pitchFamily="2" charset="2"/>
        <a:buChar char="w"/>
        <a:defRPr sz="1600">
          <a:solidFill>
            <a:srgbClr val="007CC2"/>
          </a:solidFill>
          <a:latin typeface="+mn-lt"/>
          <a:cs typeface="+mn-cs"/>
        </a:defRPr>
      </a:lvl3pPr>
      <a:lvl4pPr marL="1376363" indent="-233363" algn="l" rtl="0" eaLnBrk="1" fontAlgn="base" hangingPunct="1">
        <a:spcBef>
          <a:spcPct val="0"/>
        </a:spcBef>
        <a:spcAft>
          <a:spcPct val="0"/>
        </a:spcAft>
        <a:buClr>
          <a:schemeClr val="bg1"/>
        </a:buClr>
        <a:buFont typeface="Arial" pitchFamily="34" charset="0"/>
        <a:buChar char="–"/>
        <a:defRPr sz="1600">
          <a:solidFill>
            <a:srgbClr val="007CC2"/>
          </a:solidFill>
          <a:latin typeface="+mn-lt"/>
          <a:cs typeface="+mn-cs"/>
        </a:defRPr>
      </a:lvl4pPr>
      <a:lvl5pPr marL="2055813" indent="-227013" algn="l" rtl="0" eaLnBrk="1" fontAlgn="base" hangingPunct="1">
        <a:spcBef>
          <a:spcPct val="0"/>
        </a:spcBef>
        <a:spcAft>
          <a:spcPct val="0"/>
        </a:spcAft>
        <a:buClr>
          <a:schemeClr val="bg1"/>
        </a:buClr>
        <a:buFont typeface="Arial" pitchFamily="34" charset="0"/>
        <a:buChar char="–"/>
        <a:defRPr sz="1600">
          <a:solidFill>
            <a:srgbClr val="007CC2"/>
          </a:solidFill>
          <a:latin typeface="+mn-lt"/>
          <a:cs typeface="+mn-cs"/>
        </a:defRPr>
      </a:lvl5pPr>
      <a:lvl6pPr marL="25130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6pPr>
      <a:lvl7pPr marL="29702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7pPr>
      <a:lvl8pPr marL="34274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8pPr>
      <a:lvl9pPr marL="38846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1">
          <a:blip r:embed="rId16">
            <a:lum/>
          </a:blip>
          <a:srcRect/>
          <a:stretch>
            <a:fillRect/>
          </a:stretch>
        </a:blipFill>
        <a:effectLst/>
      </p:bgPr>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 smtClean="0"/>
              <a:t>Haga clic para modificar el estilo de título del patrón</a:t>
            </a:r>
            <a:endParaRPr lang="es-CL"/>
          </a:p>
        </p:txBody>
      </p:sp>
      <p:sp>
        <p:nvSpPr>
          <p:cNvPr id="3" name="2 Marcador de texto"/>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6832674-AE60-413F-BD97-1CB2E5EBF967}" type="datetimeFigureOut">
              <a:rPr lang="es-CL" smtClean="0"/>
              <a:t>5/30/16</a:t>
            </a:fld>
            <a:endParaRPr lang="es-CL"/>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369AF959-3F19-45C0-BDE8-016007A35A46}" type="slidenum">
              <a:rPr lang="en-US" altLang="en-US" smtClean="0"/>
              <a:pPr>
                <a:defRPr/>
              </a:pPr>
              <a:t>‹#›</a:t>
            </a:fld>
            <a:endParaRPr lang="en-US" altLang="en-US"/>
          </a:p>
        </p:txBody>
      </p:sp>
    </p:spTree>
    <p:extLst>
      <p:ext uri="{BB962C8B-B14F-4D97-AF65-F5344CB8AC3E}">
        <p14:creationId xmlns:p14="http://schemas.microsoft.com/office/powerpoint/2010/main" val="1310076943"/>
      </p:ext>
    </p:extLst>
  </p:cSld>
  <p:clrMap bg1="lt1" tx1="dk1" bg2="lt2" tx2="dk2" accent1="accent1" accent2="accent2" accent3="accent3" accent4="accent4" accent5="accent5" accent6="accent6" hlink="hlink" folHlink="folHlink"/>
  <p:sldLayoutIdLst>
    <p:sldLayoutId id="2147484409" r:id="rId1"/>
    <p:sldLayoutId id="2147484410" r:id="rId2"/>
    <p:sldLayoutId id="2147484411" r:id="rId3"/>
    <p:sldLayoutId id="2147484412" r:id="rId4"/>
    <p:sldLayoutId id="2147484413" r:id="rId5"/>
    <p:sldLayoutId id="2147484414" r:id="rId6"/>
    <p:sldLayoutId id="2147484415" r:id="rId7"/>
    <p:sldLayoutId id="2147484416" r:id="rId8"/>
    <p:sldLayoutId id="2147484417" r:id="rId9"/>
    <p:sldLayoutId id="2147484418" r:id="rId10"/>
    <p:sldLayoutId id="2147484419" r:id="rId11"/>
    <p:sldLayoutId id="2147484420" r:id="rId12"/>
    <p:sldLayoutId id="2147484449" r:id="rId13"/>
    <p:sldLayoutId id="2147484450" r:id="rId14"/>
  </p:sldLayoutIdLst>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4.png"/><Relationship Id="rId5" Type="http://schemas.openxmlformats.org/officeDocument/2006/relationships/image" Target="../media/image15.png"/><Relationship Id="rId1" Type="http://schemas.openxmlformats.org/officeDocument/2006/relationships/slideLayout" Target="../slideLayouts/slideLayout105.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80.png"/></Relationships>
</file>

<file path=ppt/slides/_rels/slide11.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hyperlink" Target="..%5C..%5C..%5C..%5CPRESIDENTA%20subt.mp4" TargetMode="External"/><Relationship Id="rId5" Type="http://schemas.openxmlformats.org/officeDocument/2006/relationships/image" Target="../media/image14.png"/><Relationship Id="rId1" Type="http://schemas.openxmlformats.org/officeDocument/2006/relationships/slideLayout" Target="../slideLayouts/slideLayout105.xml"/><Relationship Id="rId2"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8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82.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image" Target="../media/image8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85.w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image" Target="../media/image86.jpg"/><Relationship Id="rId3" Type="http://schemas.openxmlformats.org/officeDocument/2006/relationships/image" Target="../media/image87.jpg"/></Relationships>
</file>

<file path=ppt/slides/_rels/slide19.xml.rels><?xml version="1.0" encoding="UTF-8" standalone="yes"?>
<Relationships xmlns="http://schemas.openxmlformats.org/package/2006/relationships"><Relationship Id="rId3" Type="http://schemas.openxmlformats.org/officeDocument/2006/relationships/image" Target="../media/image87.jpg"/><Relationship Id="rId4" Type="http://schemas.openxmlformats.org/officeDocument/2006/relationships/image" Target="../media/image89.jpg"/><Relationship Id="rId5" Type="http://schemas.openxmlformats.org/officeDocument/2006/relationships/image" Target="../media/image90.jpg"/><Relationship Id="rId6" Type="http://schemas.openxmlformats.org/officeDocument/2006/relationships/image" Target="../media/image91.jpg"/><Relationship Id="rId1" Type="http://schemas.openxmlformats.org/officeDocument/2006/relationships/slideLayout" Target="../slideLayouts/slideLayout27.xml"/><Relationship Id="rId2" Type="http://schemas.openxmlformats.org/officeDocument/2006/relationships/image" Target="../media/image88.gi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92.gif"/><Relationship Id="rId3" Type="http://schemas.openxmlformats.org/officeDocument/2006/relationships/image" Target="../media/image93.gi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94.jpg"/><Relationship Id="rId3" Type="http://schemas.openxmlformats.org/officeDocument/2006/relationships/image" Target="../media/image95.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image" Target="../media/image96.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image" Target="../media/image97.em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98.png"/></Relationships>
</file>

<file path=ppt/slides/_rels/slide25.xml.rels><?xml version="1.0" encoding="UTF-8" standalone="yes"?>
<Relationships xmlns="http://schemas.openxmlformats.org/package/2006/relationships"><Relationship Id="rId11" Type="http://schemas.openxmlformats.org/officeDocument/2006/relationships/image" Target="../media/image108.png"/><Relationship Id="rId12" Type="http://schemas.openxmlformats.org/officeDocument/2006/relationships/image" Target="../media/image109.jpeg"/><Relationship Id="rId13" Type="http://schemas.openxmlformats.org/officeDocument/2006/relationships/image" Target="../media/image110.jpeg"/><Relationship Id="rId14" Type="http://schemas.openxmlformats.org/officeDocument/2006/relationships/image" Target="../media/image111.png"/><Relationship Id="rId1" Type="http://schemas.openxmlformats.org/officeDocument/2006/relationships/slideLayout" Target="../slideLayouts/slideLayout28.xml"/><Relationship Id="rId2" Type="http://schemas.openxmlformats.org/officeDocument/2006/relationships/image" Target="../media/image99.jpeg"/><Relationship Id="rId3" Type="http://schemas.openxmlformats.org/officeDocument/2006/relationships/image" Target="../media/image100.png"/><Relationship Id="rId4" Type="http://schemas.openxmlformats.org/officeDocument/2006/relationships/image" Target="../media/image101.png"/><Relationship Id="rId5" Type="http://schemas.openxmlformats.org/officeDocument/2006/relationships/image" Target="../media/image102.png"/><Relationship Id="rId6" Type="http://schemas.openxmlformats.org/officeDocument/2006/relationships/image" Target="../media/image103.png"/><Relationship Id="rId7" Type="http://schemas.openxmlformats.org/officeDocument/2006/relationships/image" Target="../media/image104.wmf"/><Relationship Id="rId8" Type="http://schemas.openxmlformats.org/officeDocument/2006/relationships/image" Target="../media/image105.png"/><Relationship Id="rId9" Type="http://schemas.openxmlformats.org/officeDocument/2006/relationships/image" Target="../media/image106.jpeg"/><Relationship Id="rId10" Type="http://schemas.openxmlformats.org/officeDocument/2006/relationships/image" Target="../media/image107.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9.xml"/></Relationships>
</file>

<file path=ppt/slides/_rels/slide29.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hyperlink" Target="..%5C..%5C..%5C..%5CPRESIDENTA%20subt.mp4" TargetMode="External"/><Relationship Id="rId5" Type="http://schemas.openxmlformats.org/officeDocument/2006/relationships/image" Target="../media/image14.png"/><Relationship Id="rId1" Type="http://schemas.openxmlformats.org/officeDocument/2006/relationships/slideLayout" Target="../slideLayouts/slideLayout105.xml"/><Relationship Id="rId2" Type="http://schemas.openxmlformats.org/officeDocument/2006/relationships/notesSlide" Target="../notesSlides/notesSlide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16.jpeg"/></Relationships>
</file>

<file path=ppt/slides/_rels/slide30.xml.rels><?xml version="1.0" encoding="UTF-8" standalone="yes"?>
<Relationships xmlns="http://schemas.openxmlformats.org/package/2006/relationships"><Relationship Id="rId46" Type="http://schemas.microsoft.com/office/2007/relationships/diagramDrawing" Target="../diagrams/drawing9.xml"/><Relationship Id="rId20" Type="http://schemas.openxmlformats.org/officeDocument/2006/relationships/diagramColors" Target="../diagrams/colors4.xml"/><Relationship Id="rId21" Type="http://schemas.microsoft.com/office/2007/relationships/diagramDrawing" Target="../diagrams/drawing4.xml"/><Relationship Id="rId22" Type="http://schemas.openxmlformats.org/officeDocument/2006/relationships/diagramData" Target="../diagrams/data5.xml"/><Relationship Id="rId23" Type="http://schemas.openxmlformats.org/officeDocument/2006/relationships/diagramLayout" Target="../diagrams/layout5.xml"/><Relationship Id="rId24" Type="http://schemas.openxmlformats.org/officeDocument/2006/relationships/diagramQuickStyle" Target="../diagrams/quickStyle5.xml"/><Relationship Id="rId25" Type="http://schemas.openxmlformats.org/officeDocument/2006/relationships/diagramColors" Target="../diagrams/colors5.xml"/><Relationship Id="rId26" Type="http://schemas.microsoft.com/office/2007/relationships/diagramDrawing" Target="../diagrams/drawing5.xml"/><Relationship Id="rId27" Type="http://schemas.openxmlformats.org/officeDocument/2006/relationships/diagramData" Target="../diagrams/data6.xml"/><Relationship Id="rId28" Type="http://schemas.openxmlformats.org/officeDocument/2006/relationships/diagramLayout" Target="../diagrams/layout6.xml"/><Relationship Id="rId29" Type="http://schemas.openxmlformats.org/officeDocument/2006/relationships/diagramQuickStyle" Target="../diagrams/quickStyle6.xml"/><Relationship Id="rId1" Type="http://schemas.openxmlformats.org/officeDocument/2006/relationships/slideLayout" Target="../slideLayouts/slideLayout28.xml"/><Relationship Id="rId2" Type="http://schemas.openxmlformats.org/officeDocument/2006/relationships/diagramData" Target="../diagrams/data1.xml"/><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30" Type="http://schemas.openxmlformats.org/officeDocument/2006/relationships/diagramColors" Target="../diagrams/colors6.xml"/><Relationship Id="rId31" Type="http://schemas.microsoft.com/office/2007/relationships/diagramDrawing" Target="../diagrams/drawing6.xml"/><Relationship Id="rId32" Type="http://schemas.openxmlformats.org/officeDocument/2006/relationships/diagramData" Target="../diagrams/data7.xml"/><Relationship Id="rId9" Type="http://schemas.openxmlformats.org/officeDocument/2006/relationships/diagramQuickStyle" Target="../diagrams/quickStyle2.xml"/><Relationship Id="rId6" Type="http://schemas.microsoft.com/office/2007/relationships/diagramDrawing" Target="../diagrams/drawing1.xml"/><Relationship Id="rId7" Type="http://schemas.openxmlformats.org/officeDocument/2006/relationships/diagramData" Target="../diagrams/data2.xml"/><Relationship Id="rId8" Type="http://schemas.openxmlformats.org/officeDocument/2006/relationships/diagramLayout" Target="../diagrams/layout2.xml"/><Relationship Id="rId33" Type="http://schemas.openxmlformats.org/officeDocument/2006/relationships/diagramLayout" Target="../diagrams/layout7.xml"/><Relationship Id="rId34" Type="http://schemas.openxmlformats.org/officeDocument/2006/relationships/diagramQuickStyle" Target="../diagrams/quickStyle7.xml"/><Relationship Id="rId35" Type="http://schemas.openxmlformats.org/officeDocument/2006/relationships/diagramColors" Target="../diagrams/colors7.xml"/><Relationship Id="rId36" Type="http://schemas.microsoft.com/office/2007/relationships/diagramDrawing" Target="../diagrams/drawing7.xml"/><Relationship Id="rId10" Type="http://schemas.openxmlformats.org/officeDocument/2006/relationships/diagramColors" Target="../diagrams/colors2.xml"/><Relationship Id="rId11" Type="http://schemas.microsoft.com/office/2007/relationships/diagramDrawing" Target="../diagrams/drawing2.xml"/><Relationship Id="rId12" Type="http://schemas.openxmlformats.org/officeDocument/2006/relationships/diagramData" Target="../diagrams/data3.xml"/><Relationship Id="rId13" Type="http://schemas.openxmlformats.org/officeDocument/2006/relationships/diagramLayout" Target="../diagrams/layout3.xml"/><Relationship Id="rId14" Type="http://schemas.openxmlformats.org/officeDocument/2006/relationships/diagramQuickStyle" Target="../diagrams/quickStyle3.xml"/><Relationship Id="rId15" Type="http://schemas.openxmlformats.org/officeDocument/2006/relationships/diagramColors" Target="../diagrams/colors3.xml"/><Relationship Id="rId16" Type="http://schemas.microsoft.com/office/2007/relationships/diagramDrawing" Target="../diagrams/drawing3.xml"/><Relationship Id="rId17" Type="http://schemas.openxmlformats.org/officeDocument/2006/relationships/diagramData" Target="../diagrams/data4.xml"/><Relationship Id="rId18" Type="http://schemas.openxmlformats.org/officeDocument/2006/relationships/diagramLayout" Target="../diagrams/layout4.xml"/><Relationship Id="rId19" Type="http://schemas.openxmlformats.org/officeDocument/2006/relationships/diagramQuickStyle" Target="../diagrams/quickStyle4.xml"/><Relationship Id="rId37" Type="http://schemas.openxmlformats.org/officeDocument/2006/relationships/diagramData" Target="../diagrams/data8.xml"/><Relationship Id="rId38" Type="http://schemas.openxmlformats.org/officeDocument/2006/relationships/diagramLayout" Target="../diagrams/layout8.xml"/><Relationship Id="rId39" Type="http://schemas.openxmlformats.org/officeDocument/2006/relationships/diagramQuickStyle" Target="../diagrams/quickStyle8.xml"/><Relationship Id="rId40" Type="http://schemas.openxmlformats.org/officeDocument/2006/relationships/diagramColors" Target="../diagrams/colors8.xml"/><Relationship Id="rId41" Type="http://schemas.microsoft.com/office/2007/relationships/diagramDrawing" Target="../diagrams/drawing8.xml"/><Relationship Id="rId42" Type="http://schemas.openxmlformats.org/officeDocument/2006/relationships/diagramData" Target="../diagrams/data9.xml"/><Relationship Id="rId43" Type="http://schemas.openxmlformats.org/officeDocument/2006/relationships/diagramLayout" Target="../diagrams/layout9.xml"/><Relationship Id="rId44" Type="http://schemas.openxmlformats.org/officeDocument/2006/relationships/diagramQuickStyle" Target="../diagrams/quickStyle9.xml"/><Relationship Id="rId45" Type="http://schemas.openxmlformats.org/officeDocument/2006/relationships/diagramColors" Target="../diagrams/colors9.xml"/></Relationships>
</file>

<file path=ppt/slides/_rels/slide31.xml.rels><?xml version="1.0" encoding="UTF-8" standalone="yes"?>
<Relationships xmlns="http://schemas.openxmlformats.org/package/2006/relationships"><Relationship Id="rId3" Type="http://schemas.openxmlformats.org/officeDocument/2006/relationships/image" Target="../media/image112.jpeg"/><Relationship Id="rId4" Type="http://schemas.openxmlformats.org/officeDocument/2006/relationships/image" Target="../media/image113.png"/><Relationship Id="rId5" Type="http://schemas.openxmlformats.org/officeDocument/2006/relationships/image" Target="../media/image114.png"/><Relationship Id="rId6" Type="http://schemas.openxmlformats.org/officeDocument/2006/relationships/image" Target="../media/image115.jpeg"/><Relationship Id="rId7" Type="http://schemas.openxmlformats.org/officeDocument/2006/relationships/image" Target="../media/image116.png"/><Relationship Id="rId8" Type="http://schemas.openxmlformats.org/officeDocument/2006/relationships/image" Target="../media/image117.jpeg"/><Relationship Id="rId9" Type="http://schemas.openxmlformats.org/officeDocument/2006/relationships/image" Target="../media/image118.jpeg"/><Relationship Id="rId1" Type="http://schemas.openxmlformats.org/officeDocument/2006/relationships/slideLayout" Target="../slideLayouts/slideLayout28.xml"/><Relationship Id="rId2" Type="http://schemas.openxmlformats.org/officeDocument/2006/relationships/notesSlide" Target="../notesSlides/notesSlide11.xml"/></Relationships>
</file>

<file path=ppt/slides/_rels/slide32.xml.rels><?xml version="1.0" encoding="UTF-8" standalone="yes"?>
<Relationships xmlns="http://schemas.openxmlformats.org/package/2006/relationships"><Relationship Id="rId3" Type="http://schemas.openxmlformats.org/officeDocument/2006/relationships/image" Target="../media/image119.png"/><Relationship Id="rId4" Type="http://schemas.openxmlformats.org/officeDocument/2006/relationships/image" Target="../media/image120.png"/><Relationship Id="rId5" Type="http://schemas.openxmlformats.org/officeDocument/2006/relationships/image" Target="../media/image121.png"/><Relationship Id="rId6" Type="http://schemas.openxmlformats.org/officeDocument/2006/relationships/image" Target="../media/image122.png"/><Relationship Id="rId1" Type="http://schemas.openxmlformats.org/officeDocument/2006/relationships/slideLayout" Target="../slideLayouts/slideLayout28.xml"/><Relationship Id="rId2" Type="http://schemas.openxmlformats.org/officeDocument/2006/relationships/notesSlide" Target="../notesSlides/notesSlide1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8.xml"/><Relationship Id="rId4" Type="http://schemas.openxmlformats.org/officeDocument/2006/relationships/notesSlide" Target="../notesSlides/notesSlide13.xml"/><Relationship Id="rId5" Type="http://schemas.openxmlformats.org/officeDocument/2006/relationships/oleObject" Target="../embeddings/oleObject26.bin"/><Relationship Id="rId6" Type="http://schemas.openxmlformats.org/officeDocument/2006/relationships/image" Target="../media/image123.emf"/><Relationship Id="rId1" Type="http://schemas.openxmlformats.org/officeDocument/2006/relationships/vmlDrawing" Target="../drawings/vmlDrawing25.vml"/><Relationship Id="rId2" Type="http://schemas.openxmlformats.org/officeDocument/2006/relationships/tags" Target="../tags/tag22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6.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4.png"/><Relationship Id="rId5" Type="http://schemas.openxmlformats.org/officeDocument/2006/relationships/image" Target="../media/image15.png"/><Relationship Id="rId1" Type="http://schemas.openxmlformats.org/officeDocument/2006/relationships/slideLayout" Target="../slideLayouts/slideLayout37.xml"/><Relationship Id="rId2" Type="http://schemas.openxmlformats.org/officeDocument/2006/relationships/notesSlide" Target="../notesSlides/notesSlide14.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18.png"/><Relationship Id="rId5" Type="http://schemas.openxmlformats.org/officeDocument/2006/relationships/image" Target="../media/image19.png"/><Relationship Id="rId6" Type="http://schemas.openxmlformats.org/officeDocument/2006/relationships/image" Target="../media/image20.png"/><Relationship Id="rId7" Type="http://schemas.openxmlformats.org/officeDocument/2006/relationships/image" Target="../media/image21.png"/><Relationship Id="rId8" Type="http://schemas.openxmlformats.org/officeDocument/2006/relationships/image" Target="../media/image22.png"/><Relationship Id="rId9" Type="http://schemas.openxmlformats.org/officeDocument/2006/relationships/image" Target="../media/image23.png"/><Relationship Id="rId10" Type="http://schemas.openxmlformats.org/officeDocument/2006/relationships/image" Target="../media/image24.png"/><Relationship Id="rId11" Type="http://schemas.openxmlformats.org/officeDocument/2006/relationships/image" Target="../media/image25.png"/><Relationship Id="rId1" Type="http://schemas.openxmlformats.org/officeDocument/2006/relationships/slideLayout" Target="../slideLayouts/slideLayout105.xml"/><Relationship Id="rId2"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image" Target="../media/image27.jpeg"/><Relationship Id="rId4" Type="http://schemas.openxmlformats.org/officeDocument/2006/relationships/image" Target="../media/image28.jpeg"/><Relationship Id="rId5" Type="http://schemas.openxmlformats.org/officeDocument/2006/relationships/image" Target="../media/image29.jpeg"/><Relationship Id="rId6" Type="http://schemas.openxmlformats.org/officeDocument/2006/relationships/image" Target="../media/image30.jpeg"/><Relationship Id="rId1" Type="http://schemas.openxmlformats.org/officeDocument/2006/relationships/slideLayout" Target="../slideLayouts/slideLayout28.xml"/><Relationship Id="rId2" Type="http://schemas.openxmlformats.org/officeDocument/2006/relationships/image" Target="../media/image26.jpeg"/></Relationships>
</file>

<file path=ppt/slides/_rels/slide6.xml.rels><?xml version="1.0" encoding="UTF-8" standalone="yes"?>
<Relationships xmlns="http://schemas.openxmlformats.org/package/2006/relationships"><Relationship Id="rId10" Type="http://schemas.openxmlformats.org/officeDocument/2006/relationships/tags" Target="../tags/tag135.xml"/><Relationship Id="rId11" Type="http://schemas.openxmlformats.org/officeDocument/2006/relationships/tags" Target="../tags/tag136.xml"/><Relationship Id="rId12" Type="http://schemas.openxmlformats.org/officeDocument/2006/relationships/tags" Target="../tags/tag137.xml"/><Relationship Id="rId13" Type="http://schemas.openxmlformats.org/officeDocument/2006/relationships/tags" Target="../tags/tag138.xml"/><Relationship Id="rId14" Type="http://schemas.openxmlformats.org/officeDocument/2006/relationships/tags" Target="../tags/tag139.xml"/><Relationship Id="rId15" Type="http://schemas.openxmlformats.org/officeDocument/2006/relationships/tags" Target="../tags/tag140.xml"/><Relationship Id="rId16" Type="http://schemas.openxmlformats.org/officeDocument/2006/relationships/tags" Target="../tags/tag141.xml"/><Relationship Id="rId17" Type="http://schemas.openxmlformats.org/officeDocument/2006/relationships/tags" Target="../tags/tag142.xml"/><Relationship Id="rId18" Type="http://schemas.openxmlformats.org/officeDocument/2006/relationships/tags" Target="../tags/tag143.xml"/><Relationship Id="rId19" Type="http://schemas.openxmlformats.org/officeDocument/2006/relationships/tags" Target="../tags/tag144.xml"/><Relationship Id="rId60" Type="http://schemas.openxmlformats.org/officeDocument/2006/relationships/tags" Target="../tags/tag185.xml"/><Relationship Id="rId61" Type="http://schemas.openxmlformats.org/officeDocument/2006/relationships/tags" Target="../tags/tag186.xml"/><Relationship Id="rId62" Type="http://schemas.openxmlformats.org/officeDocument/2006/relationships/tags" Target="../tags/tag187.xml"/><Relationship Id="rId63" Type="http://schemas.openxmlformats.org/officeDocument/2006/relationships/tags" Target="../tags/tag188.xml"/><Relationship Id="rId64" Type="http://schemas.openxmlformats.org/officeDocument/2006/relationships/tags" Target="../tags/tag189.xml"/><Relationship Id="rId65" Type="http://schemas.openxmlformats.org/officeDocument/2006/relationships/tags" Target="../tags/tag190.xml"/><Relationship Id="rId66" Type="http://schemas.openxmlformats.org/officeDocument/2006/relationships/tags" Target="../tags/tag191.xml"/><Relationship Id="rId67" Type="http://schemas.openxmlformats.org/officeDocument/2006/relationships/tags" Target="../tags/tag192.xml"/><Relationship Id="rId68" Type="http://schemas.openxmlformats.org/officeDocument/2006/relationships/tags" Target="../tags/tag193.xml"/><Relationship Id="rId69" Type="http://schemas.openxmlformats.org/officeDocument/2006/relationships/tags" Target="../tags/tag194.xml"/><Relationship Id="rId120" Type="http://schemas.openxmlformats.org/officeDocument/2006/relationships/image" Target="../media/image53.jpeg"/><Relationship Id="rId121" Type="http://schemas.openxmlformats.org/officeDocument/2006/relationships/image" Target="../media/image54.png"/><Relationship Id="rId122" Type="http://schemas.openxmlformats.org/officeDocument/2006/relationships/image" Target="../media/image55.png"/><Relationship Id="rId123" Type="http://schemas.openxmlformats.org/officeDocument/2006/relationships/image" Target="../media/image56.jpeg"/><Relationship Id="rId124" Type="http://schemas.openxmlformats.org/officeDocument/2006/relationships/image" Target="../media/image57.png"/><Relationship Id="rId125" Type="http://schemas.openxmlformats.org/officeDocument/2006/relationships/image" Target="../media/image58.jpeg"/><Relationship Id="rId126" Type="http://schemas.openxmlformats.org/officeDocument/2006/relationships/image" Target="../media/image59.png"/><Relationship Id="rId127" Type="http://schemas.openxmlformats.org/officeDocument/2006/relationships/image" Target="../media/image60.png"/><Relationship Id="rId128" Type="http://schemas.openxmlformats.org/officeDocument/2006/relationships/image" Target="../media/image61.png"/><Relationship Id="rId129" Type="http://schemas.openxmlformats.org/officeDocument/2006/relationships/image" Target="../media/image62.png"/><Relationship Id="rId40" Type="http://schemas.openxmlformats.org/officeDocument/2006/relationships/tags" Target="../tags/tag165.xml"/><Relationship Id="rId41" Type="http://schemas.openxmlformats.org/officeDocument/2006/relationships/tags" Target="../tags/tag166.xml"/><Relationship Id="rId42" Type="http://schemas.openxmlformats.org/officeDocument/2006/relationships/tags" Target="../tags/tag167.xml"/><Relationship Id="rId90" Type="http://schemas.openxmlformats.org/officeDocument/2006/relationships/tags" Target="../tags/tag215.xml"/><Relationship Id="rId91" Type="http://schemas.openxmlformats.org/officeDocument/2006/relationships/tags" Target="../tags/tag216.xml"/><Relationship Id="rId92" Type="http://schemas.openxmlformats.org/officeDocument/2006/relationships/slideLayout" Target="../slideLayouts/slideLayout6.xml"/><Relationship Id="rId93" Type="http://schemas.openxmlformats.org/officeDocument/2006/relationships/image" Target="../media/image31.png"/><Relationship Id="rId94" Type="http://schemas.openxmlformats.org/officeDocument/2006/relationships/image" Target="../media/image32.png"/><Relationship Id="rId95" Type="http://schemas.openxmlformats.org/officeDocument/2006/relationships/hyperlink" Target="http://www.columbia.edu/" TargetMode="External"/><Relationship Id="rId96" Type="http://schemas.openxmlformats.org/officeDocument/2006/relationships/image" Target="../media/image33.png"/><Relationship Id="rId101" Type="http://schemas.openxmlformats.org/officeDocument/2006/relationships/hyperlink" Target="http://www.brighamandwomens.org/" TargetMode="External"/><Relationship Id="rId102" Type="http://schemas.openxmlformats.org/officeDocument/2006/relationships/image" Target="../media/image36.png"/><Relationship Id="rId103" Type="http://schemas.openxmlformats.org/officeDocument/2006/relationships/image" Target="../media/image37.jpeg"/><Relationship Id="rId104" Type="http://schemas.openxmlformats.org/officeDocument/2006/relationships/image" Target="../media/image38.jpeg"/><Relationship Id="rId105" Type="http://schemas.openxmlformats.org/officeDocument/2006/relationships/image" Target="../media/image39.png"/><Relationship Id="rId106" Type="http://schemas.openxmlformats.org/officeDocument/2006/relationships/image" Target="../media/image40.jpeg"/><Relationship Id="rId107" Type="http://schemas.openxmlformats.org/officeDocument/2006/relationships/image" Target="../media/image41.png"/><Relationship Id="rId108" Type="http://schemas.openxmlformats.org/officeDocument/2006/relationships/image" Target="../media/image42.jpeg"/><Relationship Id="rId109" Type="http://schemas.openxmlformats.org/officeDocument/2006/relationships/image" Target="../media/image43.jpeg"/><Relationship Id="rId97" Type="http://schemas.openxmlformats.org/officeDocument/2006/relationships/hyperlink" Target="http://www.mskcc.org/44" TargetMode="External"/><Relationship Id="rId98" Type="http://schemas.openxmlformats.org/officeDocument/2006/relationships/image" Target="../media/image34.png"/><Relationship Id="rId99" Type="http://schemas.openxmlformats.org/officeDocument/2006/relationships/hyperlink" Target="http://www.dana-farber.org/default.aspx" TargetMode="External"/><Relationship Id="rId43" Type="http://schemas.openxmlformats.org/officeDocument/2006/relationships/tags" Target="../tags/tag168.xml"/><Relationship Id="rId44" Type="http://schemas.openxmlformats.org/officeDocument/2006/relationships/tags" Target="../tags/tag169.xml"/><Relationship Id="rId45" Type="http://schemas.openxmlformats.org/officeDocument/2006/relationships/tags" Target="../tags/tag170.xml"/><Relationship Id="rId46" Type="http://schemas.openxmlformats.org/officeDocument/2006/relationships/tags" Target="../tags/tag171.xml"/><Relationship Id="rId47" Type="http://schemas.openxmlformats.org/officeDocument/2006/relationships/tags" Target="../tags/tag172.xml"/><Relationship Id="rId48" Type="http://schemas.openxmlformats.org/officeDocument/2006/relationships/tags" Target="../tags/tag173.xml"/><Relationship Id="rId49" Type="http://schemas.openxmlformats.org/officeDocument/2006/relationships/tags" Target="../tags/tag174.xml"/><Relationship Id="rId100" Type="http://schemas.openxmlformats.org/officeDocument/2006/relationships/image" Target="../media/image35.png"/><Relationship Id="rId20" Type="http://schemas.openxmlformats.org/officeDocument/2006/relationships/tags" Target="../tags/tag145.xml"/><Relationship Id="rId21" Type="http://schemas.openxmlformats.org/officeDocument/2006/relationships/tags" Target="../tags/tag146.xml"/><Relationship Id="rId22" Type="http://schemas.openxmlformats.org/officeDocument/2006/relationships/tags" Target="../tags/tag147.xml"/><Relationship Id="rId70" Type="http://schemas.openxmlformats.org/officeDocument/2006/relationships/tags" Target="../tags/tag195.xml"/><Relationship Id="rId71" Type="http://schemas.openxmlformats.org/officeDocument/2006/relationships/tags" Target="../tags/tag196.xml"/><Relationship Id="rId72" Type="http://schemas.openxmlformats.org/officeDocument/2006/relationships/tags" Target="../tags/tag197.xml"/><Relationship Id="rId73" Type="http://schemas.openxmlformats.org/officeDocument/2006/relationships/tags" Target="../tags/tag198.xml"/><Relationship Id="rId74" Type="http://schemas.openxmlformats.org/officeDocument/2006/relationships/tags" Target="../tags/tag199.xml"/><Relationship Id="rId75" Type="http://schemas.openxmlformats.org/officeDocument/2006/relationships/tags" Target="../tags/tag200.xml"/><Relationship Id="rId76" Type="http://schemas.openxmlformats.org/officeDocument/2006/relationships/tags" Target="../tags/tag201.xml"/><Relationship Id="rId77" Type="http://schemas.openxmlformats.org/officeDocument/2006/relationships/tags" Target="../tags/tag202.xml"/><Relationship Id="rId78" Type="http://schemas.openxmlformats.org/officeDocument/2006/relationships/tags" Target="../tags/tag203.xml"/><Relationship Id="rId79" Type="http://schemas.openxmlformats.org/officeDocument/2006/relationships/tags" Target="../tags/tag204.xml"/><Relationship Id="rId23" Type="http://schemas.openxmlformats.org/officeDocument/2006/relationships/tags" Target="../tags/tag148.xml"/><Relationship Id="rId24" Type="http://schemas.openxmlformats.org/officeDocument/2006/relationships/tags" Target="../tags/tag149.xml"/><Relationship Id="rId25" Type="http://schemas.openxmlformats.org/officeDocument/2006/relationships/tags" Target="../tags/tag150.xml"/><Relationship Id="rId26" Type="http://schemas.openxmlformats.org/officeDocument/2006/relationships/tags" Target="../tags/tag151.xml"/><Relationship Id="rId27" Type="http://schemas.openxmlformats.org/officeDocument/2006/relationships/tags" Target="../tags/tag152.xml"/><Relationship Id="rId28" Type="http://schemas.openxmlformats.org/officeDocument/2006/relationships/tags" Target="../tags/tag153.xml"/><Relationship Id="rId29" Type="http://schemas.openxmlformats.org/officeDocument/2006/relationships/tags" Target="../tags/tag154.xml"/><Relationship Id="rId130" Type="http://schemas.openxmlformats.org/officeDocument/2006/relationships/image" Target="../media/image63.jpeg"/><Relationship Id="rId131" Type="http://schemas.openxmlformats.org/officeDocument/2006/relationships/image" Target="../media/image64.png"/><Relationship Id="rId132" Type="http://schemas.openxmlformats.org/officeDocument/2006/relationships/image" Target="../media/image65.png"/><Relationship Id="rId133" Type="http://schemas.openxmlformats.org/officeDocument/2006/relationships/image" Target="../media/image66.png"/><Relationship Id="rId134" Type="http://schemas.openxmlformats.org/officeDocument/2006/relationships/image" Target="../media/image67.png"/><Relationship Id="rId135" Type="http://schemas.openxmlformats.org/officeDocument/2006/relationships/image" Target="../media/image68.png"/><Relationship Id="rId136" Type="http://schemas.openxmlformats.org/officeDocument/2006/relationships/image" Target="../media/image69.jpeg"/><Relationship Id="rId137" Type="http://schemas.openxmlformats.org/officeDocument/2006/relationships/image" Target="../media/image70.png"/><Relationship Id="rId138" Type="http://schemas.openxmlformats.org/officeDocument/2006/relationships/image" Target="../media/image71.png"/><Relationship Id="rId139" Type="http://schemas.openxmlformats.org/officeDocument/2006/relationships/image" Target="../media/image72.png"/><Relationship Id="rId1" Type="http://schemas.openxmlformats.org/officeDocument/2006/relationships/tags" Target="../tags/tag126.xml"/><Relationship Id="rId2" Type="http://schemas.openxmlformats.org/officeDocument/2006/relationships/tags" Target="../tags/tag127.xml"/><Relationship Id="rId3" Type="http://schemas.openxmlformats.org/officeDocument/2006/relationships/tags" Target="../tags/tag128.xml"/><Relationship Id="rId4" Type="http://schemas.openxmlformats.org/officeDocument/2006/relationships/tags" Target="../tags/tag129.xml"/><Relationship Id="rId5" Type="http://schemas.openxmlformats.org/officeDocument/2006/relationships/tags" Target="../tags/tag130.xml"/><Relationship Id="rId6" Type="http://schemas.openxmlformats.org/officeDocument/2006/relationships/tags" Target="../tags/tag131.xml"/><Relationship Id="rId7" Type="http://schemas.openxmlformats.org/officeDocument/2006/relationships/tags" Target="../tags/tag132.xml"/><Relationship Id="rId8" Type="http://schemas.openxmlformats.org/officeDocument/2006/relationships/tags" Target="../tags/tag133.xml"/><Relationship Id="rId9" Type="http://schemas.openxmlformats.org/officeDocument/2006/relationships/tags" Target="../tags/tag134.xml"/><Relationship Id="rId50" Type="http://schemas.openxmlformats.org/officeDocument/2006/relationships/tags" Target="../tags/tag175.xml"/><Relationship Id="rId51" Type="http://schemas.openxmlformats.org/officeDocument/2006/relationships/tags" Target="../tags/tag176.xml"/><Relationship Id="rId52" Type="http://schemas.openxmlformats.org/officeDocument/2006/relationships/tags" Target="../tags/tag177.xml"/><Relationship Id="rId53" Type="http://schemas.openxmlformats.org/officeDocument/2006/relationships/tags" Target="../tags/tag178.xml"/><Relationship Id="rId54" Type="http://schemas.openxmlformats.org/officeDocument/2006/relationships/tags" Target="../tags/tag179.xml"/><Relationship Id="rId55" Type="http://schemas.openxmlformats.org/officeDocument/2006/relationships/tags" Target="../tags/tag180.xml"/><Relationship Id="rId56" Type="http://schemas.openxmlformats.org/officeDocument/2006/relationships/tags" Target="../tags/tag181.xml"/><Relationship Id="rId57" Type="http://schemas.openxmlformats.org/officeDocument/2006/relationships/tags" Target="../tags/tag182.xml"/><Relationship Id="rId58" Type="http://schemas.openxmlformats.org/officeDocument/2006/relationships/tags" Target="../tags/tag183.xml"/><Relationship Id="rId59" Type="http://schemas.openxmlformats.org/officeDocument/2006/relationships/tags" Target="../tags/tag184.xml"/><Relationship Id="rId110" Type="http://schemas.openxmlformats.org/officeDocument/2006/relationships/image" Target="../media/image44.png"/><Relationship Id="rId111" Type="http://schemas.openxmlformats.org/officeDocument/2006/relationships/hyperlink" Target="http://www.burnham.org/default.asp" TargetMode="External"/><Relationship Id="rId112" Type="http://schemas.openxmlformats.org/officeDocument/2006/relationships/image" Target="../media/image45.png"/><Relationship Id="rId113" Type="http://schemas.openxmlformats.org/officeDocument/2006/relationships/image" Target="../media/image46.jpeg"/><Relationship Id="rId114" Type="http://schemas.openxmlformats.org/officeDocument/2006/relationships/image" Target="../media/image47.jpeg"/><Relationship Id="rId115" Type="http://schemas.openxmlformats.org/officeDocument/2006/relationships/image" Target="../media/image48.png"/><Relationship Id="rId116" Type="http://schemas.openxmlformats.org/officeDocument/2006/relationships/image" Target="../media/image49.png"/><Relationship Id="rId117" Type="http://schemas.openxmlformats.org/officeDocument/2006/relationships/image" Target="../media/image50.jpeg"/><Relationship Id="rId118" Type="http://schemas.openxmlformats.org/officeDocument/2006/relationships/image" Target="../media/image51.jpeg"/><Relationship Id="rId119" Type="http://schemas.openxmlformats.org/officeDocument/2006/relationships/image" Target="../media/image52.jpeg"/><Relationship Id="rId30" Type="http://schemas.openxmlformats.org/officeDocument/2006/relationships/tags" Target="../tags/tag155.xml"/><Relationship Id="rId31" Type="http://schemas.openxmlformats.org/officeDocument/2006/relationships/tags" Target="../tags/tag156.xml"/><Relationship Id="rId32" Type="http://schemas.openxmlformats.org/officeDocument/2006/relationships/tags" Target="../tags/tag157.xml"/><Relationship Id="rId33" Type="http://schemas.openxmlformats.org/officeDocument/2006/relationships/tags" Target="../tags/tag158.xml"/><Relationship Id="rId34" Type="http://schemas.openxmlformats.org/officeDocument/2006/relationships/tags" Target="../tags/tag159.xml"/><Relationship Id="rId35" Type="http://schemas.openxmlformats.org/officeDocument/2006/relationships/tags" Target="../tags/tag160.xml"/><Relationship Id="rId36" Type="http://schemas.openxmlformats.org/officeDocument/2006/relationships/tags" Target="../tags/tag161.xml"/><Relationship Id="rId37" Type="http://schemas.openxmlformats.org/officeDocument/2006/relationships/tags" Target="../tags/tag162.xml"/><Relationship Id="rId38" Type="http://schemas.openxmlformats.org/officeDocument/2006/relationships/tags" Target="../tags/tag163.xml"/><Relationship Id="rId39" Type="http://schemas.openxmlformats.org/officeDocument/2006/relationships/tags" Target="../tags/tag164.xml"/><Relationship Id="rId80" Type="http://schemas.openxmlformats.org/officeDocument/2006/relationships/tags" Target="../tags/tag205.xml"/><Relationship Id="rId81" Type="http://schemas.openxmlformats.org/officeDocument/2006/relationships/tags" Target="../tags/tag206.xml"/><Relationship Id="rId82" Type="http://schemas.openxmlformats.org/officeDocument/2006/relationships/tags" Target="../tags/tag207.xml"/><Relationship Id="rId83" Type="http://schemas.openxmlformats.org/officeDocument/2006/relationships/tags" Target="../tags/tag208.xml"/><Relationship Id="rId84" Type="http://schemas.openxmlformats.org/officeDocument/2006/relationships/tags" Target="../tags/tag209.xml"/><Relationship Id="rId85" Type="http://schemas.openxmlformats.org/officeDocument/2006/relationships/tags" Target="../tags/tag210.xml"/><Relationship Id="rId86" Type="http://schemas.openxmlformats.org/officeDocument/2006/relationships/tags" Target="../tags/tag211.xml"/><Relationship Id="rId87" Type="http://schemas.openxmlformats.org/officeDocument/2006/relationships/tags" Target="../tags/tag212.xml"/><Relationship Id="rId88" Type="http://schemas.openxmlformats.org/officeDocument/2006/relationships/tags" Target="../tags/tag213.xml"/><Relationship Id="rId89" Type="http://schemas.openxmlformats.org/officeDocument/2006/relationships/tags" Target="../tags/tag214.xml"/><Relationship Id="rId140" Type="http://schemas.openxmlformats.org/officeDocument/2006/relationships/image" Target="../media/image73.png"/><Relationship Id="rId141" Type="http://schemas.openxmlformats.org/officeDocument/2006/relationships/image" Target="../media/image74.png"/><Relationship Id="rId142" Type="http://schemas.openxmlformats.org/officeDocument/2006/relationships/image" Target="../media/image75.jpeg"/><Relationship Id="rId143" Type="http://schemas.openxmlformats.org/officeDocument/2006/relationships/image" Target="../media/image76.png"/></Relationships>
</file>

<file path=ppt/slides/_rels/slide7.xml.rels><?xml version="1.0" encoding="UTF-8" standalone="yes"?>
<Relationships xmlns="http://schemas.openxmlformats.org/package/2006/relationships"><Relationship Id="rId3" Type="http://schemas.openxmlformats.org/officeDocument/2006/relationships/tags" Target="../tags/tag219.xml"/><Relationship Id="rId4" Type="http://schemas.openxmlformats.org/officeDocument/2006/relationships/slideLayout" Target="../slideLayouts/slideLayout28.xml"/><Relationship Id="rId5" Type="http://schemas.openxmlformats.org/officeDocument/2006/relationships/notesSlide" Target="../notesSlides/notesSlide3.xml"/><Relationship Id="rId6" Type="http://schemas.openxmlformats.org/officeDocument/2006/relationships/image" Target="../media/image77.png"/><Relationship Id="rId7" Type="http://schemas.openxmlformats.org/officeDocument/2006/relationships/image" Target="../media/image78.png"/><Relationship Id="rId8" Type="http://schemas.openxmlformats.org/officeDocument/2006/relationships/image" Target="../media/image79.png"/><Relationship Id="rId1" Type="http://schemas.openxmlformats.org/officeDocument/2006/relationships/tags" Target="../tags/tag217.xml"/><Relationship Id="rId2" Type="http://schemas.openxmlformats.org/officeDocument/2006/relationships/tags" Target="../tags/tag218.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8.xml"/><Relationship Id="rId4" Type="http://schemas.openxmlformats.org/officeDocument/2006/relationships/notesSlide" Target="../notesSlides/notesSlide4.xml"/><Relationship Id="rId1" Type="http://schemas.openxmlformats.org/officeDocument/2006/relationships/tags" Target="../tags/tag220.xml"/><Relationship Id="rId2" Type="http://schemas.openxmlformats.org/officeDocument/2006/relationships/tags" Target="../tags/tag2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Number Placeholder 3"/>
          <p:cNvSpPr>
            <a:spLocks noGrp="1"/>
          </p:cNvSpPr>
          <p:nvPr>
            <p:ph type="sldNum" sz="quarter" idx="10"/>
          </p:nvPr>
        </p:nvSpPr>
        <p:spPr bwMode="auto">
          <a:xfrm>
            <a:off x="8788400" y="6581775"/>
            <a:ext cx="355600" cy="122238"/>
          </a:xfrm>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66566507-FA6D-46B7-8130-A8B68EFBC4C2}" type="slidenum">
              <a:rPr lang="en-US" altLang="en-US" smtClean="0">
                <a:solidFill>
                  <a:schemeClr val="bg1"/>
                </a:solidFill>
                <a:latin typeface="Arial" pitchFamily="34" charset="0"/>
                <a:cs typeface="Arial" pitchFamily="34" charset="0"/>
              </a:rPr>
              <a:pPr defTabSz="912813" fontAlgn="base">
                <a:spcBef>
                  <a:spcPct val="0"/>
                </a:spcBef>
                <a:spcAft>
                  <a:spcPct val="0"/>
                </a:spcAft>
              </a:pPr>
              <a:t>1</a:t>
            </a:fld>
            <a:endParaRPr lang="en-US" altLang="en-US" dirty="0" smtClean="0">
              <a:solidFill>
                <a:schemeClr val="bg1"/>
              </a:solidFill>
              <a:latin typeface="Arial" pitchFamily="34" charset="0"/>
              <a:cs typeface="Arial" pitchFamily="34" charset="0"/>
            </a:endParaRPr>
          </a:p>
        </p:txBody>
      </p:sp>
      <p:pic>
        <p:nvPicPr>
          <p:cNvPr id="6147" name="Picture 36" descr="ReverseTitlePage_1"/>
          <p:cNvPicPr>
            <a:picLocks noChangeAspect="1" noChangeArrowheads="1"/>
          </p:cNvPicPr>
          <p:nvPr/>
        </p:nvPicPr>
        <p:blipFill>
          <a:blip r:embed="rId3" cstate="print"/>
          <a:srcRect/>
          <a:stretch>
            <a:fillRect/>
          </a:stretch>
        </p:blipFill>
        <p:spPr bwMode="auto">
          <a:xfrm>
            <a:off x="0" y="27384"/>
            <a:ext cx="9144000" cy="6858000"/>
          </a:xfrm>
          <a:prstGeom prst="rect">
            <a:avLst/>
          </a:prstGeom>
          <a:noFill/>
          <a:ln w="9525">
            <a:noFill/>
            <a:miter lim="800000"/>
            <a:headEnd/>
            <a:tailEnd/>
          </a:ln>
        </p:spPr>
      </p:pic>
      <p:sp>
        <p:nvSpPr>
          <p:cNvPr id="6148" name="Rectangle 4"/>
          <p:cNvSpPr>
            <a:spLocks noChangeArrowheads="1"/>
          </p:cNvSpPr>
          <p:nvPr/>
        </p:nvSpPr>
        <p:spPr bwMode="auto">
          <a:xfrm>
            <a:off x="2586039" y="2590800"/>
            <a:ext cx="42862" cy="1219200"/>
          </a:xfrm>
          <a:prstGeom prst="rect">
            <a:avLst/>
          </a:prstGeom>
          <a:solidFill>
            <a:schemeClr val="bg1"/>
          </a:solidFill>
          <a:ln w="9525" algn="ctr">
            <a:noFill/>
            <a:round/>
            <a:headEnd/>
            <a:tailEnd/>
          </a:ln>
        </p:spPr>
        <p:txBody>
          <a:bodyPr wrap="none" anchor="ctr"/>
          <a:lstStyle/>
          <a:p>
            <a:pPr algn="ctr">
              <a:buClr>
                <a:srgbClr val="009900"/>
              </a:buClr>
              <a:buFont typeface="Arial" pitchFamily="34" charset="0"/>
              <a:buChar char="–"/>
            </a:pPr>
            <a:endParaRPr lang="pt-BR">
              <a:solidFill>
                <a:schemeClr val="bg1"/>
              </a:solidFill>
            </a:endParaRPr>
          </a:p>
        </p:txBody>
      </p:sp>
      <p:sp>
        <p:nvSpPr>
          <p:cNvPr id="6149" name="TextBox 6"/>
          <p:cNvSpPr txBox="1">
            <a:spLocks noChangeArrowheads="1"/>
          </p:cNvSpPr>
          <p:nvPr/>
        </p:nvSpPr>
        <p:spPr bwMode="auto">
          <a:xfrm>
            <a:off x="2843808" y="2631013"/>
            <a:ext cx="4824536" cy="1138773"/>
          </a:xfrm>
          <a:prstGeom prst="rect">
            <a:avLst/>
          </a:prstGeom>
          <a:noFill/>
          <a:ln w="9525">
            <a:noFill/>
            <a:miter lim="800000"/>
            <a:headEnd/>
            <a:tailEnd/>
          </a:ln>
        </p:spPr>
        <p:txBody>
          <a:bodyPr wrap="square">
            <a:spAutoFit/>
          </a:bodyPr>
          <a:lstStyle/>
          <a:p>
            <a:pPr algn="just">
              <a:buClr>
                <a:srgbClr val="009900"/>
              </a:buClr>
              <a:buFont typeface="Arial" pitchFamily="34" charset="0"/>
              <a:buNone/>
            </a:pPr>
            <a:r>
              <a:rPr lang="es-CL" sz="2400" dirty="0" smtClean="0">
                <a:solidFill>
                  <a:schemeClr val="bg1"/>
                </a:solidFill>
                <a:latin typeface="Arial"/>
                <a:cs typeface="Arial"/>
              </a:rPr>
              <a:t>Centro de Excelencia</a:t>
            </a:r>
          </a:p>
          <a:p>
            <a:pPr algn="just">
              <a:buClr>
                <a:srgbClr val="009900"/>
              </a:buClr>
              <a:buFont typeface="Arial" pitchFamily="34" charset="0"/>
              <a:buNone/>
            </a:pPr>
            <a:r>
              <a:rPr lang="es-CL" sz="2400" dirty="0" smtClean="0">
                <a:solidFill>
                  <a:schemeClr val="bg1"/>
                </a:solidFill>
                <a:latin typeface="Arial"/>
                <a:cs typeface="Arial"/>
              </a:rPr>
              <a:t>Medicina de Precisión</a:t>
            </a:r>
          </a:p>
          <a:p>
            <a:pPr algn="just">
              <a:buClr>
                <a:srgbClr val="009900"/>
              </a:buClr>
            </a:pPr>
            <a:r>
              <a:rPr lang="es-CL" sz="2000" dirty="0" smtClean="0">
                <a:solidFill>
                  <a:schemeClr val="bg1"/>
                </a:solidFill>
                <a:latin typeface="Arial"/>
                <a:cs typeface="Arial"/>
              </a:rPr>
              <a:t>Santiago, Mayo 31 de 2016</a:t>
            </a:r>
          </a:p>
        </p:txBody>
      </p:sp>
      <p:pic>
        <p:nvPicPr>
          <p:cNvPr id="6150" name="Picture 8" descr="Pfizerwhite.png"/>
          <p:cNvPicPr>
            <a:picLocks noChangeAspect="1"/>
          </p:cNvPicPr>
          <p:nvPr/>
        </p:nvPicPr>
        <p:blipFill>
          <a:blip r:embed="rId4" cstate="print"/>
          <a:srcRect/>
          <a:stretch>
            <a:fillRect/>
          </a:stretch>
        </p:blipFill>
        <p:spPr bwMode="auto">
          <a:xfrm>
            <a:off x="685800" y="2743200"/>
            <a:ext cx="1208088" cy="750887"/>
          </a:xfrm>
          <a:prstGeom prst="rect">
            <a:avLst/>
          </a:prstGeom>
          <a:noFill/>
          <a:ln w="9525">
            <a:noFill/>
            <a:miter lim="800000"/>
            <a:headEnd/>
            <a:tailEnd/>
          </a:ln>
        </p:spPr>
      </p:pic>
      <p:pic>
        <p:nvPicPr>
          <p:cNvPr id="8" name="Picture 2" descr="http://img4.wikia.nocookie.net/__cb20130328211906/althistory/es/images/2/25/Logo_CORFO.png"/>
          <p:cNvPicPr>
            <a:picLocks noChangeAspect="1" noChangeArrowheads="1"/>
          </p:cNvPicPr>
          <p:nvPr/>
        </p:nvPicPr>
        <p:blipFill>
          <a:blip r:embed="rId5" cstate="print"/>
          <a:srcRect b="24156"/>
          <a:stretch>
            <a:fillRect/>
          </a:stretch>
        </p:blipFill>
        <p:spPr bwMode="auto">
          <a:xfrm>
            <a:off x="5704477" y="228600"/>
            <a:ext cx="2906124" cy="896144"/>
          </a:xfrm>
          <a:prstGeom prst="rect">
            <a:avLst/>
          </a:prstGeom>
          <a:noFill/>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07504" y="66692"/>
            <a:ext cx="6019800" cy="1000108"/>
          </a:xfrm>
          <a:prstGeom prst="rect">
            <a:avLst/>
          </a:prstGeom>
        </p:spPr>
        <p:txBody>
          <a:bodyPr vert="horz" lIns="91440" tIns="45720" rIns="91440" bIns="45720" rtlCol="0" anchor="ctr">
            <a:noAutofit/>
          </a:bodyPr>
          <a:lstStyle/>
          <a:p>
            <a:pPr>
              <a:buClr>
                <a:srgbClr val="009900"/>
              </a:buClr>
              <a:buFont typeface="Arial" pitchFamily="34" charset="0"/>
              <a:buNone/>
            </a:pPr>
            <a:r>
              <a:rPr lang="es-CL" sz="3200" dirty="0" smtClean="0">
                <a:solidFill>
                  <a:schemeClr val="bg1"/>
                </a:solidFill>
                <a:latin typeface="+mn-lt"/>
                <a:cs typeface="Arial" pitchFamily="34" charset="0"/>
              </a:rPr>
              <a:t>Centro de Excelencia</a:t>
            </a:r>
          </a:p>
        </p:txBody>
      </p:sp>
      <p:sp>
        <p:nvSpPr>
          <p:cNvPr id="6" name="Espaço Reservado para Texto 20"/>
          <p:cNvSpPr txBox="1">
            <a:spLocks/>
          </p:cNvSpPr>
          <p:nvPr/>
        </p:nvSpPr>
        <p:spPr>
          <a:xfrm>
            <a:off x="76200" y="1295400"/>
            <a:ext cx="5105400" cy="4419600"/>
          </a:xfrm>
          <a:prstGeom prst="rect">
            <a:avLst/>
          </a:prstGeom>
        </p:spPr>
        <p:txBody>
          <a:bodyPr>
            <a:noAutofit/>
          </a:bodyPr>
          <a:lstStyle/>
          <a:p>
            <a:pPr marL="342900" marR="0" lvl="0" indent="-342900" algn="just" defTabSz="914400" rtl="0" eaLnBrk="0" fontAlgn="base" latinLnBrk="0" hangingPunct="0">
              <a:lnSpc>
                <a:spcPct val="100000"/>
              </a:lnSpc>
              <a:spcBef>
                <a:spcPct val="20000"/>
              </a:spcBef>
              <a:spcAft>
                <a:spcPct val="0"/>
              </a:spcAft>
              <a:buClrTx/>
              <a:buSzTx/>
              <a:buFont typeface="Arial" charset="0"/>
              <a:buNone/>
              <a:tabLst/>
              <a:defRPr/>
            </a:pPr>
            <a:endParaRPr kumimoji="0" lang="en-US" b="0" i="0" u="none" strike="noStrike" kern="1200" cap="none" spc="0" normalizeH="0" baseline="0" noProof="0" dirty="0" smtClean="0">
              <a:ln>
                <a:noFill/>
              </a:ln>
              <a:effectLst/>
              <a:uLnTx/>
              <a:uFillTx/>
              <a:latin typeface="+mn-lt"/>
            </a:endParaRPr>
          </a:p>
          <a:p>
            <a:pPr marL="342900" indent="-342900" algn="just" eaLnBrk="0" hangingPunct="0">
              <a:spcBef>
                <a:spcPct val="20000"/>
              </a:spcBef>
              <a:buFont typeface="Arial" charset="0"/>
              <a:buChar char="•"/>
              <a:defRPr/>
            </a:pPr>
            <a:r>
              <a:rPr lang="es-CL" dirty="0">
                <a:latin typeface="+mn-lt"/>
              </a:rPr>
              <a:t>La </a:t>
            </a:r>
            <a:r>
              <a:rPr lang="es-CL" b="1" dirty="0">
                <a:latin typeface="+mn-lt"/>
              </a:rPr>
              <a:t>Misión </a:t>
            </a:r>
            <a:r>
              <a:rPr lang="es-CL" dirty="0">
                <a:latin typeface="+mn-lt"/>
              </a:rPr>
              <a:t>del CEMP es desarrollar nuevo conocimiento en el campo de la medicina de precisión que contribuya entender los complejos mecanismos subyacentes de la enfermedad, para identificar tratamientos más eficaces y menos tóxicos para el bienestar de los pacientes con cáncer alrededor del mundo.</a:t>
            </a:r>
            <a:endParaRPr kumimoji="0" lang="en-US" sz="1100" i="0" u="none" strike="noStrike" kern="1200" cap="none" spc="0" normalizeH="0" baseline="0" noProof="0" dirty="0" smtClean="0">
              <a:ln>
                <a:noFill/>
              </a:ln>
              <a:effectLst/>
              <a:uLnTx/>
              <a:uFillTx/>
              <a:latin typeface="+mn-lt"/>
            </a:endParaRPr>
          </a:p>
          <a:p>
            <a:pPr marL="342900" indent="-342900" algn="just" eaLnBrk="0" hangingPunct="0">
              <a:spcBef>
                <a:spcPct val="20000"/>
              </a:spcBef>
              <a:buFont typeface="Arial" charset="0"/>
              <a:buChar char="•"/>
              <a:defRPr/>
            </a:pPr>
            <a:r>
              <a:rPr lang="es-CL" b="1" dirty="0" smtClean="0">
                <a:latin typeface="+mn-lt"/>
              </a:rPr>
              <a:t>Visión: </a:t>
            </a:r>
            <a:r>
              <a:rPr lang="es-CL" dirty="0">
                <a:latin typeface="+mn-lt"/>
              </a:rPr>
              <a:t>Queremos que en el futuro, el CEMP sea reconocido como un centro de referencia en la Región, para el desarrollo del conocimiento en el campo de la medicina de precisión.</a:t>
            </a:r>
            <a:endParaRPr kumimoji="0" lang="en-US" b="0" i="0" u="none" strike="noStrike" kern="1200" cap="none" spc="0" normalizeH="0" baseline="0" noProof="0" dirty="0" smtClean="0">
              <a:ln>
                <a:noFill/>
              </a:ln>
              <a:effectLst/>
              <a:uLnTx/>
              <a:uFillTx/>
              <a:latin typeface="+mn-lt"/>
            </a:endParaRPr>
          </a:p>
          <a:p>
            <a:pPr marL="342900" marR="0" lvl="0" indent="-342900" algn="just" defTabSz="914400" rtl="0" eaLnBrk="0" fontAlgn="base" latinLnBrk="0" hangingPunct="0">
              <a:lnSpc>
                <a:spcPct val="100000"/>
              </a:lnSpc>
              <a:spcBef>
                <a:spcPct val="20000"/>
              </a:spcBef>
              <a:spcAft>
                <a:spcPct val="0"/>
              </a:spcAft>
              <a:buClrTx/>
              <a:buSzTx/>
              <a:buFont typeface="Arial" charset="0"/>
              <a:buChar char="•"/>
              <a:tabLst/>
              <a:defRPr/>
            </a:pPr>
            <a:endParaRPr kumimoji="0" lang="en-US" b="0" i="0" u="none" strike="noStrike" kern="1200" cap="none" spc="0" normalizeH="0" baseline="0" noProof="0" dirty="0" smtClean="0">
              <a:ln>
                <a:noFill/>
              </a:ln>
              <a:effectLst/>
              <a:uLnTx/>
              <a:uFillTx/>
              <a:latin typeface="+mn-lt"/>
            </a:endParaRPr>
          </a:p>
          <a:p>
            <a:pPr marL="342900" marR="0" lvl="0" indent="-342900" algn="just" defTabSz="914400" rtl="0" eaLnBrk="0" fontAlgn="base" latinLnBrk="0" hangingPunct="0">
              <a:lnSpc>
                <a:spcPct val="100000"/>
              </a:lnSpc>
              <a:spcBef>
                <a:spcPct val="20000"/>
              </a:spcBef>
              <a:spcAft>
                <a:spcPct val="0"/>
              </a:spcAft>
              <a:buClrTx/>
              <a:buSzTx/>
              <a:buFont typeface="Arial" charset="0"/>
              <a:buChar char="•"/>
              <a:tabLst/>
              <a:defRPr/>
            </a:pPr>
            <a:endParaRPr kumimoji="0" lang="en-US" b="0" i="0" u="none" strike="noStrike" kern="1200" cap="none" spc="0" normalizeH="0" baseline="0" noProof="0" dirty="0" smtClean="0">
              <a:ln>
                <a:noFill/>
              </a:ln>
              <a:effectLst/>
              <a:uLnTx/>
              <a:uFillTx/>
              <a:latin typeface="+mn-lt"/>
            </a:endParaRPr>
          </a:p>
          <a:p>
            <a:pPr marL="342900" marR="0" lvl="0" indent="-342900" algn="just" defTabSz="914400" rtl="0" eaLnBrk="0" fontAlgn="base" latinLnBrk="0" hangingPunct="0">
              <a:lnSpc>
                <a:spcPct val="100000"/>
              </a:lnSpc>
              <a:spcBef>
                <a:spcPct val="20000"/>
              </a:spcBef>
              <a:spcAft>
                <a:spcPct val="0"/>
              </a:spcAft>
              <a:buClrTx/>
              <a:buSzTx/>
              <a:buFont typeface="Arial" charset="0"/>
              <a:buChar char="•"/>
              <a:tabLst/>
              <a:defRPr/>
            </a:pPr>
            <a:endParaRPr kumimoji="0" lang="en-US" b="0" i="0" u="none" strike="noStrike" kern="1200" cap="none" spc="0" normalizeH="0" baseline="0" noProof="0" dirty="0" smtClean="0">
              <a:ln>
                <a:noFill/>
              </a:ln>
              <a:effectLst/>
              <a:uLnTx/>
              <a:uFillTx/>
              <a:latin typeface="+mn-lt"/>
            </a:endParaRPr>
          </a:p>
          <a:p>
            <a:pPr marL="342900" marR="0" lvl="0" indent="-342900" algn="just" defTabSz="914400" rtl="0" eaLnBrk="0" fontAlgn="base" latinLnBrk="0" hangingPunct="0">
              <a:lnSpc>
                <a:spcPct val="100000"/>
              </a:lnSpc>
              <a:spcBef>
                <a:spcPct val="20000"/>
              </a:spcBef>
              <a:spcAft>
                <a:spcPct val="0"/>
              </a:spcAft>
              <a:buClrTx/>
              <a:buSzTx/>
              <a:buFont typeface="Arial" charset="0"/>
              <a:buChar char="•"/>
              <a:tabLst/>
              <a:defRPr/>
            </a:pPr>
            <a:endParaRPr kumimoji="0" lang="pt-BR" b="0" i="0" u="none" strike="noStrike" kern="1200" cap="none" spc="0" normalizeH="0" baseline="0" noProof="0" dirty="0">
              <a:ln>
                <a:noFill/>
              </a:ln>
              <a:effectLst/>
              <a:uLnTx/>
              <a:uFillTx/>
              <a:latin typeface="+mn-lt"/>
            </a:endParaRPr>
          </a:p>
        </p:txBody>
      </p:sp>
      <p:pic>
        <p:nvPicPr>
          <p:cNvPr id="808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08104" y="2137048"/>
            <a:ext cx="3445672" cy="273630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030885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146" name="Slide Number Placeholder 3"/>
          <p:cNvSpPr>
            <a:spLocks noGrp="1"/>
          </p:cNvSpPr>
          <p:nvPr>
            <p:ph type="sldNum" sz="quarter" idx="10"/>
          </p:nvPr>
        </p:nvSpPr>
        <p:spPr bwMode="auto">
          <a:xfrm>
            <a:off x="8788400" y="6581775"/>
            <a:ext cx="355600" cy="122238"/>
          </a:xfrm>
          <a:noFill/>
          <a:ln>
            <a:miter lim="800000"/>
            <a:headEnd/>
            <a:tailEnd/>
          </a:ln>
        </p:spPr>
        <p:txBody>
          <a:bodyPr wrap="square" numCol="1" anchorCtr="0" compatLnSpc="1">
            <a:prstTxWarp prst="textNoShape">
              <a:avLst/>
            </a:prstTxWarp>
          </a:bodyPr>
          <a:lstStyle/>
          <a:p>
            <a:pPr defTabSz="912813"/>
            <a:fld id="{66566507-FA6D-46B7-8130-A8B68EFBC4C2}" type="slidenum">
              <a:rPr lang="en-US" altLang="en-US" smtClean="0">
                <a:solidFill>
                  <a:prstClr val="white"/>
                </a:solidFill>
                <a:latin typeface="Arial" pitchFamily="34" charset="0"/>
                <a:cs typeface="Arial" pitchFamily="34" charset="0"/>
              </a:rPr>
              <a:pPr defTabSz="912813"/>
              <a:t>11</a:t>
            </a:fld>
            <a:endParaRPr lang="en-US" altLang="en-US" dirty="0" smtClean="0">
              <a:solidFill>
                <a:prstClr val="white"/>
              </a:solidFill>
              <a:latin typeface="Arial" pitchFamily="34" charset="0"/>
              <a:cs typeface="Arial" pitchFamily="34" charset="0"/>
            </a:endParaRPr>
          </a:p>
        </p:txBody>
      </p:sp>
      <p:pic>
        <p:nvPicPr>
          <p:cNvPr id="6147" name="Picture 36" descr="ReverseTitlePage_1"/>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6148" name="Rectangle 4"/>
          <p:cNvSpPr>
            <a:spLocks noChangeArrowheads="1"/>
          </p:cNvSpPr>
          <p:nvPr/>
        </p:nvSpPr>
        <p:spPr bwMode="auto">
          <a:xfrm>
            <a:off x="2586039" y="2590800"/>
            <a:ext cx="42862" cy="1219200"/>
          </a:xfrm>
          <a:prstGeom prst="rect">
            <a:avLst/>
          </a:prstGeom>
          <a:solidFill>
            <a:schemeClr val="bg1"/>
          </a:solidFill>
          <a:ln w="9525" algn="ctr">
            <a:noFill/>
            <a:round/>
            <a:headEnd/>
            <a:tailEnd/>
          </a:ln>
        </p:spPr>
        <p:txBody>
          <a:bodyPr wrap="none" anchor="ctr"/>
          <a:lstStyle/>
          <a:p>
            <a:pPr algn="ctr">
              <a:buClr>
                <a:srgbClr val="009900"/>
              </a:buClr>
              <a:buFont typeface="Arial" pitchFamily="34" charset="0"/>
              <a:buChar char="–"/>
            </a:pPr>
            <a:endParaRPr lang="pt-BR">
              <a:solidFill>
                <a:prstClr val="white"/>
              </a:solidFill>
            </a:endParaRPr>
          </a:p>
        </p:txBody>
      </p:sp>
      <p:pic>
        <p:nvPicPr>
          <p:cNvPr id="6150" name="Picture 8" descr="Pfizerwhite.png">
            <a:hlinkClick r:id="rId4" action="ppaction://hlinkfile"/>
          </p:cNvPr>
          <p:cNvPicPr>
            <a:picLocks noChangeAspect="1"/>
          </p:cNvPicPr>
          <p:nvPr/>
        </p:nvPicPr>
        <p:blipFill>
          <a:blip r:embed="rId5" cstate="print"/>
          <a:srcRect/>
          <a:stretch>
            <a:fillRect/>
          </a:stretch>
        </p:blipFill>
        <p:spPr bwMode="auto">
          <a:xfrm>
            <a:off x="685800" y="2743200"/>
            <a:ext cx="1208088" cy="750887"/>
          </a:xfrm>
          <a:prstGeom prst="rect">
            <a:avLst/>
          </a:prstGeom>
          <a:noFill/>
          <a:ln w="9525">
            <a:noFill/>
            <a:miter lim="800000"/>
            <a:headEnd/>
            <a:tailEnd/>
          </a:ln>
        </p:spPr>
      </p:pic>
      <p:sp>
        <p:nvSpPr>
          <p:cNvPr id="9" name="TextBox 6"/>
          <p:cNvSpPr txBox="1">
            <a:spLocks noChangeArrowheads="1"/>
          </p:cNvSpPr>
          <p:nvPr/>
        </p:nvSpPr>
        <p:spPr bwMode="auto">
          <a:xfrm>
            <a:off x="2667000" y="2492896"/>
            <a:ext cx="6477000" cy="2000548"/>
          </a:xfrm>
          <a:prstGeom prst="rect">
            <a:avLst/>
          </a:prstGeom>
          <a:noFill/>
          <a:ln w="9525">
            <a:noFill/>
            <a:miter lim="800000"/>
            <a:headEnd/>
            <a:tailEnd/>
          </a:ln>
        </p:spPr>
        <p:txBody>
          <a:bodyPr wrap="square">
            <a:spAutoFit/>
          </a:bodyPr>
          <a:lstStyle/>
          <a:p>
            <a:pPr>
              <a:buClr>
                <a:srgbClr val="F79646"/>
              </a:buClr>
            </a:pPr>
            <a:r>
              <a:rPr lang="en-US" sz="3600" dirty="0" err="1" smtClean="0">
                <a:solidFill>
                  <a:prstClr val="white"/>
                </a:solidFill>
                <a:latin typeface="Arial"/>
                <a:cs typeface="Arial"/>
              </a:rPr>
              <a:t>Proyectos</a:t>
            </a:r>
            <a:r>
              <a:rPr lang="en-US" sz="3600" dirty="0" smtClean="0">
                <a:solidFill>
                  <a:prstClr val="white"/>
                </a:solidFill>
                <a:latin typeface="Arial"/>
                <a:cs typeface="Arial"/>
              </a:rPr>
              <a:t> de </a:t>
            </a:r>
          </a:p>
          <a:p>
            <a:pPr>
              <a:buClr>
                <a:srgbClr val="F79646"/>
              </a:buClr>
            </a:pPr>
            <a:r>
              <a:rPr lang="en-US" sz="3600" dirty="0" err="1" smtClean="0">
                <a:solidFill>
                  <a:prstClr val="white"/>
                </a:solidFill>
                <a:latin typeface="Arial"/>
                <a:cs typeface="Arial"/>
              </a:rPr>
              <a:t>Investigación</a:t>
            </a:r>
            <a:endParaRPr lang="en-US" sz="3600" dirty="0">
              <a:solidFill>
                <a:prstClr val="white"/>
              </a:solidFill>
              <a:latin typeface="Arial"/>
              <a:cs typeface="Arial"/>
            </a:endParaRPr>
          </a:p>
          <a:p>
            <a:pPr>
              <a:buClr>
                <a:srgbClr val="009900"/>
              </a:buClr>
              <a:buFont typeface="Arial" pitchFamily="34" charset="0"/>
              <a:buNone/>
            </a:pPr>
            <a:endParaRPr lang="en-US" sz="2800" dirty="0" smtClean="0">
              <a:solidFill>
                <a:prstClr val="white"/>
              </a:solidFill>
              <a:latin typeface="Arial"/>
              <a:cs typeface="Arial"/>
            </a:endParaRPr>
          </a:p>
          <a:p>
            <a:pPr>
              <a:buClr>
                <a:srgbClr val="009900"/>
              </a:buClr>
              <a:buFont typeface="Arial" pitchFamily="34" charset="0"/>
              <a:buNone/>
            </a:pPr>
            <a:r>
              <a:rPr lang="en-US" sz="2400" dirty="0" smtClean="0">
                <a:solidFill>
                  <a:prstClr val="white"/>
                </a:solidFill>
                <a:latin typeface="Arial"/>
                <a:cs typeface="Arial"/>
              </a:rPr>
              <a:t> </a:t>
            </a:r>
            <a:endParaRPr lang="en-US" sz="2400" dirty="0">
              <a:solidFill>
                <a:prstClr val="white"/>
              </a:solidFill>
              <a:latin typeface="Arial"/>
              <a:cs typeface="Arial"/>
            </a:endParaRPr>
          </a:p>
        </p:txBody>
      </p:sp>
    </p:spTree>
    <p:extLst>
      <p:ext uri="{BB962C8B-B14F-4D97-AF65-F5344CB8AC3E}">
        <p14:creationId xmlns:p14="http://schemas.microsoft.com/office/powerpoint/2010/main" val="40272276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CL" sz="3200" b="0" dirty="0" smtClean="0"/>
              <a:t>Instituciones vinculadas</a:t>
            </a:r>
            <a:endParaRPr lang="en-US" sz="3200" b="0" dirty="0"/>
          </a:p>
        </p:txBody>
      </p:sp>
      <p:sp>
        <p:nvSpPr>
          <p:cNvPr id="4" name="3 Marcador de número de diapositiva"/>
          <p:cNvSpPr>
            <a:spLocks noGrp="1"/>
          </p:cNvSpPr>
          <p:nvPr>
            <p:ph type="sldNum" sz="quarter" idx="10"/>
          </p:nvPr>
        </p:nvSpPr>
        <p:spPr/>
        <p:txBody>
          <a:bodyPr/>
          <a:lstStyle/>
          <a:p>
            <a:pPr>
              <a:defRPr/>
            </a:pPr>
            <a:fld id="{E07ED91A-D947-41CC-856F-CD7B04B272CA}" type="slidenum">
              <a:rPr lang="en-US" altLang="en-US" sz="500" smtClean="0"/>
              <a:pPr>
                <a:defRPr/>
              </a:pPr>
              <a:t>12</a:t>
            </a:fld>
            <a:endParaRPr lang="en-US" altLang="en-US" sz="500"/>
          </a:p>
        </p:txBody>
      </p:sp>
      <p:grpSp>
        <p:nvGrpSpPr>
          <p:cNvPr id="95" name="94 Grupo"/>
          <p:cNvGrpSpPr/>
          <p:nvPr/>
        </p:nvGrpSpPr>
        <p:grpSpPr>
          <a:xfrm>
            <a:off x="714111" y="1340768"/>
            <a:ext cx="2489737" cy="4680520"/>
            <a:chOff x="1439333" y="1196752"/>
            <a:chExt cx="2489737" cy="4680520"/>
          </a:xfrm>
        </p:grpSpPr>
        <p:pic>
          <p:nvPicPr>
            <p:cNvPr id="7"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2508" r="40396"/>
            <a:stretch/>
          </p:blipFill>
          <p:spPr bwMode="auto">
            <a:xfrm>
              <a:off x="1439333" y="1196752"/>
              <a:ext cx="1877952" cy="4680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7 Rectángulo"/>
            <p:cNvSpPr/>
            <p:nvPr/>
          </p:nvSpPr>
          <p:spPr>
            <a:xfrm>
              <a:off x="2320000" y="4041766"/>
              <a:ext cx="997285" cy="11384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8 CuadroTexto"/>
            <p:cNvSpPr txBox="1"/>
            <p:nvPr/>
          </p:nvSpPr>
          <p:spPr>
            <a:xfrm>
              <a:off x="2784205" y="3935354"/>
              <a:ext cx="837089" cy="261610"/>
            </a:xfrm>
            <a:prstGeom prst="rect">
              <a:avLst/>
            </a:prstGeom>
            <a:noFill/>
          </p:spPr>
          <p:txBody>
            <a:bodyPr wrap="none" rtlCol="0">
              <a:spAutoFit/>
            </a:bodyPr>
            <a:lstStyle/>
            <a:p>
              <a:r>
                <a:rPr lang="es-CL" sz="1050" dirty="0" smtClean="0"/>
                <a:t>Valdivia, 1</a:t>
              </a:r>
              <a:endParaRPr lang="en-US" sz="1050" dirty="0"/>
            </a:p>
          </p:txBody>
        </p:sp>
        <p:sp>
          <p:nvSpPr>
            <p:cNvPr id="10" name="9 CuadroTexto"/>
            <p:cNvSpPr txBox="1"/>
            <p:nvPr/>
          </p:nvSpPr>
          <p:spPr>
            <a:xfrm>
              <a:off x="2784205" y="3188463"/>
              <a:ext cx="898003" cy="261610"/>
            </a:xfrm>
            <a:prstGeom prst="rect">
              <a:avLst/>
            </a:prstGeom>
            <a:noFill/>
          </p:spPr>
          <p:txBody>
            <a:bodyPr wrap="none" rtlCol="0">
              <a:spAutoFit/>
            </a:bodyPr>
            <a:lstStyle/>
            <a:p>
              <a:r>
                <a:rPr lang="es-CL" sz="1050" dirty="0" smtClean="0"/>
                <a:t>Santiago, 7</a:t>
              </a:r>
              <a:endParaRPr lang="en-US" sz="1050" dirty="0"/>
            </a:p>
          </p:txBody>
        </p:sp>
        <p:sp>
          <p:nvSpPr>
            <p:cNvPr id="11" name="10 CuadroTexto"/>
            <p:cNvSpPr txBox="1"/>
            <p:nvPr/>
          </p:nvSpPr>
          <p:spPr>
            <a:xfrm>
              <a:off x="2771800" y="1445716"/>
              <a:ext cx="662361" cy="261610"/>
            </a:xfrm>
            <a:prstGeom prst="rect">
              <a:avLst/>
            </a:prstGeom>
            <a:noFill/>
          </p:spPr>
          <p:txBody>
            <a:bodyPr wrap="none" rtlCol="0">
              <a:spAutoFit/>
            </a:bodyPr>
            <a:lstStyle/>
            <a:p>
              <a:r>
                <a:rPr lang="es-CL" sz="1050" dirty="0" smtClean="0"/>
                <a:t>Arica, 1</a:t>
              </a:r>
              <a:endParaRPr lang="en-US" sz="1050" dirty="0"/>
            </a:p>
          </p:txBody>
        </p:sp>
        <p:sp>
          <p:nvSpPr>
            <p:cNvPr id="12" name="11 CuadroTexto"/>
            <p:cNvSpPr txBox="1"/>
            <p:nvPr/>
          </p:nvSpPr>
          <p:spPr>
            <a:xfrm>
              <a:off x="2784205" y="2939499"/>
              <a:ext cx="623889" cy="261610"/>
            </a:xfrm>
            <a:prstGeom prst="rect">
              <a:avLst/>
            </a:prstGeom>
            <a:noFill/>
          </p:spPr>
          <p:txBody>
            <a:bodyPr wrap="none" rtlCol="0">
              <a:spAutoFit/>
            </a:bodyPr>
            <a:lstStyle/>
            <a:p>
              <a:r>
                <a:rPr lang="es-CL" sz="1050" dirty="0" smtClean="0"/>
                <a:t>Viña, 1</a:t>
              </a:r>
              <a:endParaRPr lang="en-US" sz="1050" dirty="0"/>
            </a:p>
          </p:txBody>
        </p:sp>
        <p:sp>
          <p:nvSpPr>
            <p:cNvPr id="13" name="12 CuadroTexto"/>
            <p:cNvSpPr txBox="1"/>
            <p:nvPr/>
          </p:nvSpPr>
          <p:spPr>
            <a:xfrm>
              <a:off x="2784205" y="3736183"/>
              <a:ext cx="849913" cy="261610"/>
            </a:xfrm>
            <a:prstGeom prst="rect">
              <a:avLst/>
            </a:prstGeom>
            <a:noFill/>
          </p:spPr>
          <p:txBody>
            <a:bodyPr wrap="none" rtlCol="0">
              <a:spAutoFit/>
            </a:bodyPr>
            <a:lstStyle/>
            <a:p>
              <a:r>
                <a:rPr lang="es-CL" sz="1050" dirty="0" smtClean="0"/>
                <a:t>Temuco, 2</a:t>
              </a:r>
              <a:endParaRPr lang="en-US" sz="1050" dirty="0"/>
            </a:p>
          </p:txBody>
        </p:sp>
        <p:sp>
          <p:nvSpPr>
            <p:cNvPr id="14" name="13 CuadroTexto"/>
            <p:cNvSpPr txBox="1"/>
            <p:nvPr/>
          </p:nvSpPr>
          <p:spPr>
            <a:xfrm>
              <a:off x="2784205" y="4184318"/>
              <a:ext cx="1144865" cy="261610"/>
            </a:xfrm>
            <a:prstGeom prst="rect">
              <a:avLst/>
            </a:prstGeom>
            <a:noFill/>
          </p:spPr>
          <p:txBody>
            <a:bodyPr wrap="none" rtlCol="0">
              <a:spAutoFit/>
            </a:bodyPr>
            <a:lstStyle/>
            <a:p>
              <a:r>
                <a:rPr lang="es-CL" sz="1050" dirty="0" smtClean="0"/>
                <a:t>Puerto Montt, 1</a:t>
              </a:r>
              <a:endParaRPr lang="en-US" sz="1050" dirty="0"/>
            </a:p>
          </p:txBody>
        </p:sp>
        <p:sp>
          <p:nvSpPr>
            <p:cNvPr id="15" name="14 CuadroTexto"/>
            <p:cNvSpPr txBox="1"/>
            <p:nvPr/>
          </p:nvSpPr>
          <p:spPr>
            <a:xfrm>
              <a:off x="2784205" y="2043229"/>
              <a:ext cx="1091966" cy="261610"/>
            </a:xfrm>
            <a:prstGeom prst="rect">
              <a:avLst/>
            </a:prstGeom>
            <a:noFill/>
          </p:spPr>
          <p:txBody>
            <a:bodyPr wrap="none" rtlCol="0">
              <a:spAutoFit/>
            </a:bodyPr>
            <a:lstStyle/>
            <a:p>
              <a:r>
                <a:rPr lang="es-CL" sz="1050" dirty="0" smtClean="0"/>
                <a:t>Antofagasta, 1</a:t>
              </a:r>
              <a:endParaRPr lang="en-US" sz="1050" dirty="0"/>
            </a:p>
          </p:txBody>
        </p:sp>
        <p:sp>
          <p:nvSpPr>
            <p:cNvPr id="16" name="15 CuadroTexto"/>
            <p:cNvSpPr txBox="1"/>
            <p:nvPr/>
          </p:nvSpPr>
          <p:spPr>
            <a:xfrm>
              <a:off x="2784205" y="3487219"/>
              <a:ext cx="1087157" cy="261610"/>
            </a:xfrm>
            <a:prstGeom prst="rect">
              <a:avLst/>
            </a:prstGeom>
            <a:noFill/>
          </p:spPr>
          <p:txBody>
            <a:bodyPr wrap="none" rtlCol="0">
              <a:spAutoFit/>
            </a:bodyPr>
            <a:lstStyle/>
            <a:p>
              <a:r>
                <a:rPr lang="es-CL" sz="1050" dirty="0" smtClean="0"/>
                <a:t>Concepción, 1</a:t>
              </a:r>
              <a:endParaRPr lang="en-US" sz="1050" dirty="0"/>
            </a:p>
          </p:txBody>
        </p:sp>
        <p:cxnSp>
          <p:nvCxnSpPr>
            <p:cNvPr id="17" name="16 Conector recto de flecha"/>
            <p:cNvCxnSpPr/>
            <p:nvPr/>
          </p:nvCxnSpPr>
          <p:spPr>
            <a:xfrm>
              <a:off x="2320000" y="1552128"/>
              <a:ext cx="4518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8" name="17 Conector recto de flecha"/>
            <p:cNvCxnSpPr/>
            <p:nvPr/>
          </p:nvCxnSpPr>
          <p:spPr>
            <a:xfrm>
              <a:off x="2320000" y="2149641"/>
              <a:ext cx="451800" cy="2439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9" name="18 Conector recto de flecha"/>
            <p:cNvCxnSpPr/>
            <p:nvPr/>
          </p:nvCxnSpPr>
          <p:spPr>
            <a:xfrm flipV="1">
              <a:off x="2221458" y="3070304"/>
              <a:ext cx="550342" cy="8202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 name="19 Conector recto de flecha"/>
            <p:cNvCxnSpPr/>
            <p:nvPr/>
          </p:nvCxnSpPr>
          <p:spPr>
            <a:xfrm>
              <a:off x="2221458" y="3238255"/>
              <a:ext cx="550342" cy="2830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1" name="20 Conector recto de flecha"/>
            <p:cNvCxnSpPr/>
            <p:nvPr/>
          </p:nvCxnSpPr>
          <p:spPr>
            <a:xfrm>
              <a:off x="2024374" y="3593631"/>
              <a:ext cx="747426"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2" name="21 Conector recto de flecha"/>
            <p:cNvCxnSpPr/>
            <p:nvPr/>
          </p:nvCxnSpPr>
          <p:spPr>
            <a:xfrm>
              <a:off x="2073645" y="3842595"/>
              <a:ext cx="698155"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3" name="22 Conector recto de flecha"/>
            <p:cNvCxnSpPr/>
            <p:nvPr/>
          </p:nvCxnSpPr>
          <p:spPr>
            <a:xfrm>
              <a:off x="2024374" y="3935354"/>
              <a:ext cx="747426" cy="6243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4" name="23 Conector recto de flecha"/>
            <p:cNvCxnSpPr/>
            <p:nvPr/>
          </p:nvCxnSpPr>
          <p:spPr>
            <a:xfrm>
              <a:off x="2073645" y="4148179"/>
              <a:ext cx="698155" cy="712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sp>
        <p:nvSpPr>
          <p:cNvPr id="26" name="8 Marcador de contenido"/>
          <p:cNvSpPr txBox="1">
            <a:spLocks/>
          </p:cNvSpPr>
          <p:nvPr/>
        </p:nvSpPr>
        <p:spPr>
          <a:xfrm>
            <a:off x="3843046" y="1412776"/>
            <a:ext cx="4617386" cy="4824536"/>
          </a:xfrm>
          <a:prstGeom prst="rect">
            <a:avLst/>
          </a:prstGeom>
        </p:spPr>
        <p:txBody>
          <a:bodyPr/>
          <a:lstStyle>
            <a:lvl1pPr marL="342900" indent="-342900" algn="l" rtl="0" eaLnBrk="1" fontAlgn="base" hangingPunct="1">
              <a:spcBef>
                <a:spcPct val="20000"/>
              </a:spcBef>
              <a:spcAft>
                <a:spcPct val="0"/>
              </a:spcAft>
              <a:buChar char="•"/>
              <a:defRPr sz="1600" b="1">
                <a:solidFill>
                  <a:srgbClr val="007CC2"/>
                </a:solidFill>
                <a:latin typeface="+mn-lt"/>
                <a:ea typeface="+mn-ea"/>
                <a:cs typeface="+mn-cs"/>
              </a:defRPr>
            </a:lvl1pPr>
            <a:lvl2pPr marL="457200" indent="-228600" algn="l" rtl="0" eaLnBrk="1" fontAlgn="base" hangingPunct="1">
              <a:spcBef>
                <a:spcPct val="0"/>
              </a:spcBef>
              <a:spcAft>
                <a:spcPct val="0"/>
              </a:spcAft>
              <a:buClr>
                <a:schemeClr val="bg1"/>
              </a:buClr>
              <a:buFont typeface="Wingdings" pitchFamily="2" charset="2"/>
              <a:buChar char="§"/>
              <a:defRPr sz="1600">
                <a:solidFill>
                  <a:srgbClr val="007CC2"/>
                </a:solidFill>
                <a:latin typeface="+mn-lt"/>
                <a:cs typeface="+mn-cs"/>
              </a:defRPr>
            </a:lvl2pPr>
            <a:lvl3pPr marL="914400" indent="-228600" algn="l" rtl="0" eaLnBrk="1" fontAlgn="base" hangingPunct="1">
              <a:spcBef>
                <a:spcPct val="0"/>
              </a:spcBef>
              <a:spcAft>
                <a:spcPct val="0"/>
              </a:spcAft>
              <a:buClr>
                <a:schemeClr val="bg1"/>
              </a:buClr>
              <a:buFont typeface="Wingdings" pitchFamily="2" charset="2"/>
              <a:buChar char="w"/>
              <a:defRPr sz="1600">
                <a:solidFill>
                  <a:srgbClr val="007CC2"/>
                </a:solidFill>
                <a:latin typeface="+mn-lt"/>
                <a:cs typeface="+mn-cs"/>
              </a:defRPr>
            </a:lvl3pPr>
            <a:lvl4pPr marL="1376363" indent="-233363" algn="l" rtl="0" eaLnBrk="1" fontAlgn="base" hangingPunct="1">
              <a:spcBef>
                <a:spcPct val="0"/>
              </a:spcBef>
              <a:spcAft>
                <a:spcPct val="0"/>
              </a:spcAft>
              <a:buClr>
                <a:schemeClr val="bg1"/>
              </a:buClr>
              <a:buFont typeface="Arial" pitchFamily="34" charset="0"/>
              <a:buChar char="–"/>
              <a:defRPr sz="1600">
                <a:solidFill>
                  <a:srgbClr val="007CC2"/>
                </a:solidFill>
                <a:latin typeface="+mn-lt"/>
                <a:cs typeface="+mn-cs"/>
              </a:defRPr>
            </a:lvl4pPr>
            <a:lvl5pPr marL="2055813" indent="-227013" algn="l" rtl="0" eaLnBrk="1" fontAlgn="base" hangingPunct="1">
              <a:spcBef>
                <a:spcPct val="0"/>
              </a:spcBef>
              <a:spcAft>
                <a:spcPct val="0"/>
              </a:spcAft>
              <a:buClr>
                <a:schemeClr val="bg1"/>
              </a:buClr>
              <a:buFont typeface="Arial" pitchFamily="34" charset="0"/>
              <a:buChar char="–"/>
              <a:defRPr sz="1600">
                <a:solidFill>
                  <a:srgbClr val="007CC2"/>
                </a:solidFill>
                <a:latin typeface="+mn-lt"/>
                <a:cs typeface="+mn-cs"/>
              </a:defRPr>
            </a:lvl5pPr>
            <a:lvl6pPr marL="25130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6pPr>
            <a:lvl7pPr marL="29702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7pPr>
            <a:lvl8pPr marL="34274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8pPr>
            <a:lvl9pPr marL="38846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9pPr>
          </a:lstStyle>
          <a:p>
            <a:pPr marL="174625" indent="-174625">
              <a:buFontTx/>
              <a:buNone/>
              <a:tabLst>
                <a:tab pos="174625" algn="l"/>
              </a:tabLst>
            </a:pPr>
            <a:r>
              <a:rPr lang="en-US" b="0" kern="0" dirty="0" smtClean="0"/>
              <a:t>– </a:t>
            </a:r>
            <a:r>
              <a:rPr lang="en-US" b="0" kern="0" dirty="0" err="1" smtClean="0"/>
              <a:t>Instituto</a:t>
            </a:r>
            <a:r>
              <a:rPr lang="en-US" b="0" kern="0" dirty="0" smtClean="0"/>
              <a:t> Nacional del </a:t>
            </a:r>
            <a:r>
              <a:rPr lang="en-US" b="0" kern="0" dirty="0" err="1" smtClean="0"/>
              <a:t>Tórax</a:t>
            </a:r>
            <a:r>
              <a:rPr lang="en-US" b="0" kern="0" dirty="0" smtClean="0"/>
              <a:t>, Santiago </a:t>
            </a:r>
          </a:p>
          <a:p>
            <a:pPr marL="174625" indent="-174625">
              <a:buFontTx/>
              <a:buNone/>
              <a:tabLst>
                <a:tab pos="174625" algn="l"/>
              </a:tabLst>
            </a:pPr>
            <a:r>
              <a:rPr lang="en-US" b="0" kern="0" dirty="0" smtClean="0"/>
              <a:t>– Centro de </a:t>
            </a:r>
            <a:r>
              <a:rPr lang="en-US" b="0" kern="0" dirty="0" err="1" smtClean="0"/>
              <a:t>Estudio</a:t>
            </a:r>
            <a:r>
              <a:rPr lang="en-US" b="0" kern="0" dirty="0" smtClean="0"/>
              <a:t> </a:t>
            </a:r>
            <a:r>
              <a:rPr lang="en-US" b="0" kern="0" dirty="0" err="1" smtClean="0"/>
              <a:t>Internacional</a:t>
            </a:r>
            <a:r>
              <a:rPr lang="en-US" b="0" kern="0" dirty="0" smtClean="0"/>
              <a:t> del </a:t>
            </a:r>
            <a:r>
              <a:rPr lang="en-US" b="0" kern="0" dirty="0" err="1" smtClean="0"/>
              <a:t>Cáncer</a:t>
            </a:r>
            <a:r>
              <a:rPr lang="en-US" b="0" kern="0" dirty="0" smtClean="0"/>
              <a:t> CIEC, Santiago</a:t>
            </a:r>
          </a:p>
          <a:p>
            <a:pPr marL="174625" indent="-174625">
              <a:buFontTx/>
              <a:buNone/>
              <a:tabLst>
                <a:tab pos="174625" algn="l"/>
              </a:tabLst>
            </a:pPr>
            <a:r>
              <a:rPr lang="en-US" b="0" kern="0" dirty="0" smtClean="0"/>
              <a:t>– Hospital Base de Arica, Arica</a:t>
            </a:r>
          </a:p>
          <a:p>
            <a:pPr marL="174625" indent="-174625">
              <a:buFontTx/>
              <a:buNone/>
              <a:tabLst>
                <a:tab pos="174625" algn="l"/>
              </a:tabLst>
            </a:pPr>
            <a:r>
              <a:rPr lang="en-US" b="0" kern="0" dirty="0" smtClean="0"/>
              <a:t>– Hospital Base de Puerto </a:t>
            </a:r>
            <a:r>
              <a:rPr lang="en-US" b="0" kern="0" dirty="0" err="1" smtClean="0"/>
              <a:t>Montt</a:t>
            </a:r>
            <a:r>
              <a:rPr lang="en-US" b="0" kern="0" dirty="0" smtClean="0"/>
              <a:t>, Puerto </a:t>
            </a:r>
            <a:r>
              <a:rPr lang="en-US" b="0" kern="0" dirty="0" err="1" smtClean="0"/>
              <a:t>Montt</a:t>
            </a:r>
            <a:endParaRPr lang="en-US" b="0" kern="0" dirty="0" smtClean="0"/>
          </a:p>
          <a:p>
            <a:pPr marL="174625" indent="-174625">
              <a:buFontTx/>
              <a:buNone/>
              <a:tabLst>
                <a:tab pos="174625" algn="l"/>
              </a:tabLst>
            </a:pPr>
            <a:r>
              <a:rPr lang="en-US" b="0" kern="0" dirty="0" smtClean="0"/>
              <a:t>– Hospital Base Valdivia.</a:t>
            </a:r>
          </a:p>
          <a:p>
            <a:pPr marL="174625" indent="-174625">
              <a:buFontTx/>
              <a:buNone/>
              <a:tabLst>
                <a:tab pos="174625" algn="l"/>
              </a:tabLst>
            </a:pPr>
            <a:r>
              <a:rPr lang="en-US" b="0" kern="0" dirty="0" smtClean="0"/>
              <a:t>– Hospital </a:t>
            </a:r>
            <a:r>
              <a:rPr lang="en-US" b="0" kern="0" dirty="0" err="1" smtClean="0"/>
              <a:t>Clínico</a:t>
            </a:r>
            <a:r>
              <a:rPr lang="en-US" b="0" kern="0" dirty="0" smtClean="0"/>
              <a:t> de </a:t>
            </a:r>
            <a:r>
              <a:rPr lang="en-US" b="0" kern="0" dirty="0" err="1" smtClean="0"/>
              <a:t>Viña</a:t>
            </a:r>
            <a:r>
              <a:rPr lang="en-US" b="0" kern="0" dirty="0" smtClean="0"/>
              <a:t> del Mar, y</a:t>
            </a:r>
          </a:p>
          <a:p>
            <a:pPr marL="174625" indent="-174625">
              <a:buFontTx/>
              <a:buNone/>
              <a:tabLst>
                <a:tab pos="174625" algn="l"/>
              </a:tabLst>
            </a:pPr>
            <a:r>
              <a:rPr lang="en-US" b="0" kern="0" dirty="0" smtClean="0"/>
              <a:t>– Hospital </a:t>
            </a:r>
            <a:r>
              <a:rPr lang="en-US" b="0" kern="0" dirty="0" err="1" smtClean="0"/>
              <a:t>Clínico</a:t>
            </a:r>
            <a:r>
              <a:rPr lang="en-US" b="0" kern="0" dirty="0" smtClean="0"/>
              <a:t> Univ. de Chile, Santiago</a:t>
            </a:r>
          </a:p>
          <a:p>
            <a:pPr marL="174625" indent="-174625">
              <a:buFontTx/>
              <a:buNone/>
              <a:tabLst>
                <a:tab pos="174625" algn="l"/>
              </a:tabLst>
            </a:pPr>
            <a:r>
              <a:rPr lang="en-US" b="0" kern="0" dirty="0" smtClean="0"/>
              <a:t>– Hospital DIPRECA, Santiago</a:t>
            </a:r>
          </a:p>
          <a:p>
            <a:pPr marL="174625" indent="-174625">
              <a:buFontTx/>
              <a:buNone/>
              <a:tabLst>
                <a:tab pos="174625" algn="l"/>
              </a:tabLst>
            </a:pPr>
            <a:r>
              <a:rPr lang="en-US" b="0" kern="0" dirty="0" smtClean="0"/>
              <a:t>– Hospital Regional de Antofagasta, Antofagasta</a:t>
            </a:r>
          </a:p>
          <a:p>
            <a:pPr marL="174625" indent="-174625">
              <a:buFontTx/>
              <a:buNone/>
              <a:tabLst>
                <a:tab pos="174625" algn="l"/>
              </a:tabLst>
            </a:pPr>
            <a:r>
              <a:rPr lang="en-US" b="0" kern="0" dirty="0" smtClean="0"/>
              <a:t>– Hospital Regional de Concepción, Concepción</a:t>
            </a:r>
          </a:p>
          <a:p>
            <a:pPr marL="174625" indent="-174625">
              <a:buFontTx/>
              <a:buNone/>
              <a:tabLst>
                <a:tab pos="174625" algn="l"/>
              </a:tabLst>
            </a:pPr>
            <a:r>
              <a:rPr lang="en-US" b="0" kern="0" dirty="0" smtClean="0"/>
              <a:t>– </a:t>
            </a:r>
            <a:r>
              <a:rPr lang="en-US" b="0" kern="0" dirty="0" err="1" smtClean="0"/>
              <a:t>Instituto</a:t>
            </a:r>
            <a:r>
              <a:rPr lang="en-US" b="0" kern="0" dirty="0" smtClean="0"/>
              <a:t> </a:t>
            </a:r>
            <a:r>
              <a:rPr lang="en-US" b="0" kern="0" dirty="0" err="1" smtClean="0"/>
              <a:t>Clínico</a:t>
            </a:r>
            <a:r>
              <a:rPr lang="en-US" b="0" kern="0" dirty="0" smtClean="0"/>
              <a:t> </a:t>
            </a:r>
            <a:r>
              <a:rPr lang="en-US" b="0" kern="0" dirty="0" err="1" smtClean="0"/>
              <a:t>Oncológico</a:t>
            </a:r>
            <a:r>
              <a:rPr lang="en-US" b="0" kern="0" dirty="0" smtClean="0"/>
              <a:t> del Sur ICOS, Temuco</a:t>
            </a:r>
          </a:p>
          <a:p>
            <a:pPr marL="174625" indent="-174625">
              <a:buFontTx/>
              <a:buNone/>
              <a:tabLst>
                <a:tab pos="174625" algn="l"/>
              </a:tabLst>
            </a:pPr>
            <a:r>
              <a:rPr lang="en-US" b="0" kern="0" dirty="0" smtClean="0"/>
              <a:t>– Universidad </a:t>
            </a:r>
            <a:r>
              <a:rPr lang="en-US" b="0" kern="0" dirty="0" err="1" smtClean="0"/>
              <a:t>Católica</a:t>
            </a:r>
            <a:r>
              <a:rPr lang="en-US" b="0" kern="0" dirty="0" smtClean="0"/>
              <a:t> del Norte, La Serena</a:t>
            </a:r>
          </a:p>
          <a:p>
            <a:pPr marL="174625" indent="-174625">
              <a:buFontTx/>
              <a:buNone/>
              <a:tabLst>
                <a:tab pos="174625" algn="l"/>
              </a:tabLst>
            </a:pPr>
            <a:r>
              <a:rPr lang="en-US" b="0" kern="0" dirty="0" smtClean="0"/>
              <a:t>– Universidad de La </a:t>
            </a:r>
            <a:r>
              <a:rPr lang="en-US" b="0" kern="0" dirty="0" err="1" smtClean="0"/>
              <a:t>Frontera</a:t>
            </a:r>
            <a:r>
              <a:rPr lang="en-US" b="0" kern="0" dirty="0" smtClean="0"/>
              <a:t>, Temuco</a:t>
            </a:r>
          </a:p>
          <a:p>
            <a:pPr marL="0" indent="0">
              <a:buFontTx/>
              <a:buNone/>
            </a:pPr>
            <a:endParaRPr lang="en-US" b="0" kern="0" dirty="0"/>
          </a:p>
        </p:txBody>
      </p:sp>
    </p:spTree>
    <p:extLst>
      <p:ext uri="{BB962C8B-B14F-4D97-AF65-F5344CB8AC3E}">
        <p14:creationId xmlns:p14="http://schemas.microsoft.com/office/powerpoint/2010/main" val="29428634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CL" sz="3200" b="0" dirty="0" smtClean="0"/>
              <a:t>Instituciones vinculadas</a:t>
            </a:r>
            <a:endParaRPr lang="en-US" sz="3200" b="0" dirty="0"/>
          </a:p>
        </p:txBody>
      </p:sp>
      <p:sp>
        <p:nvSpPr>
          <p:cNvPr id="4" name="3 Marcador de número de diapositiva"/>
          <p:cNvSpPr>
            <a:spLocks noGrp="1"/>
          </p:cNvSpPr>
          <p:nvPr>
            <p:ph type="sldNum" sz="quarter" idx="10"/>
          </p:nvPr>
        </p:nvSpPr>
        <p:spPr/>
        <p:txBody>
          <a:bodyPr/>
          <a:lstStyle/>
          <a:p>
            <a:pPr>
              <a:defRPr/>
            </a:pPr>
            <a:fld id="{E07ED91A-D947-41CC-856F-CD7B04B272CA}" type="slidenum">
              <a:rPr lang="en-US" altLang="en-US" sz="500" smtClean="0"/>
              <a:pPr>
                <a:defRPr/>
              </a:pPr>
              <a:t>13</a:t>
            </a:fld>
            <a:endParaRPr lang="en-US" altLang="en-US" sz="500"/>
          </a:p>
        </p:txBody>
      </p:sp>
      <p:pic>
        <p:nvPicPr>
          <p:cNvPr id="798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520" y="1484784"/>
            <a:ext cx="5184576" cy="40987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10 Marcador de contenido"/>
          <p:cNvSpPr txBox="1">
            <a:spLocks/>
          </p:cNvSpPr>
          <p:nvPr/>
        </p:nvSpPr>
        <p:spPr>
          <a:xfrm>
            <a:off x="4860033" y="1340768"/>
            <a:ext cx="3960440" cy="5112568"/>
          </a:xfrm>
          <a:prstGeom prst="rect">
            <a:avLst/>
          </a:prstGeom>
          <a:noFill/>
          <a:ln w="9525" algn="ctr">
            <a:noFill/>
            <a:miter lim="800000"/>
            <a:headEnd/>
            <a:tailEnd/>
          </a:ln>
        </p:spPr>
        <p:txBody>
          <a:bodyPr vert="horz" wrap="square" lIns="91440" tIns="91440" rIns="91440" bIns="91440" numCol="1" anchor="t" anchorCtr="0" compatLnSpc="1">
            <a:prstTxWarp prst="textNoShape">
              <a:avLst/>
            </a:prstTxWarp>
          </a:bodyPr>
          <a:lstStyle>
            <a:lvl1pPr marL="342900" indent="-342900" algn="l" rtl="0" eaLnBrk="1" fontAlgn="base" hangingPunct="1">
              <a:spcBef>
                <a:spcPct val="20000"/>
              </a:spcBef>
              <a:spcAft>
                <a:spcPct val="0"/>
              </a:spcAft>
              <a:buChar char="•"/>
              <a:defRPr sz="1600" b="1">
                <a:solidFill>
                  <a:srgbClr val="007CC2"/>
                </a:solidFill>
                <a:latin typeface="+mn-lt"/>
                <a:ea typeface="+mn-ea"/>
                <a:cs typeface="+mn-cs"/>
              </a:defRPr>
            </a:lvl1pPr>
            <a:lvl2pPr marL="457200" indent="-228600" algn="l" rtl="0" eaLnBrk="1" fontAlgn="base" hangingPunct="1">
              <a:spcBef>
                <a:spcPct val="0"/>
              </a:spcBef>
              <a:spcAft>
                <a:spcPct val="0"/>
              </a:spcAft>
              <a:buClr>
                <a:schemeClr val="bg1"/>
              </a:buClr>
              <a:buFont typeface="Wingdings" pitchFamily="2" charset="2"/>
              <a:buChar char="§"/>
              <a:defRPr sz="1600">
                <a:solidFill>
                  <a:srgbClr val="007CC2"/>
                </a:solidFill>
                <a:latin typeface="+mn-lt"/>
                <a:cs typeface="+mn-cs"/>
              </a:defRPr>
            </a:lvl2pPr>
            <a:lvl3pPr marL="914400" indent="-228600" algn="l" rtl="0" eaLnBrk="1" fontAlgn="base" hangingPunct="1">
              <a:spcBef>
                <a:spcPct val="0"/>
              </a:spcBef>
              <a:spcAft>
                <a:spcPct val="0"/>
              </a:spcAft>
              <a:buClr>
                <a:schemeClr val="bg1"/>
              </a:buClr>
              <a:buFont typeface="Wingdings" pitchFamily="2" charset="2"/>
              <a:buChar char="w"/>
              <a:defRPr sz="1600">
                <a:solidFill>
                  <a:srgbClr val="007CC2"/>
                </a:solidFill>
                <a:latin typeface="+mn-lt"/>
                <a:cs typeface="+mn-cs"/>
              </a:defRPr>
            </a:lvl3pPr>
            <a:lvl4pPr marL="1376363" indent="-233363" algn="l" rtl="0" eaLnBrk="1" fontAlgn="base" hangingPunct="1">
              <a:spcBef>
                <a:spcPct val="0"/>
              </a:spcBef>
              <a:spcAft>
                <a:spcPct val="0"/>
              </a:spcAft>
              <a:buClr>
                <a:schemeClr val="bg1"/>
              </a:buClr>
              <a:buFont typeface="Arial" pitchFamily="34" charset="0"/>
              <a:buChar char="–"/>
              <a:defRPr sz="1600">
                <a:solidFill>
                  <a:srgbClr val="007CC2"/>
                </a:solidFill>
                <a:latin typeface="+mn-lt"/>
                <a:cs typeface="+mn-cs"/>
              </a:defRPr>
            </a:lvl4pPr>
            <a:lvl5pPr marL="2055813" indent="-227013" algn="l" rtl="0" eaLnBrk="1" fontAlgn="base" hangingPunct="1">
              <a:spcBef>
                <a:spcPct val="0"/>
              </a:spcBef>
              <a:spcAft>
                <a:spcPct val="0"/>
              </a:spcAft>
              <a:buClr>
                <a:schemeClr val="bg1"/>
              </a:buClr>
              <a:buFont typeface="Arial" pitchFamily="34" charset="0"/>
              <a:buChar char="–"/>
              <a:defRPr sz="1600">
                <a:solidFill>
                  <a:srgbClr val="007CC2"/>
                </a:solidFill>
                <a:latin typeface="+mn-lt"/>
                <a:cs typeface="+mn-cs"/>
              </a:defRPr>
            </a:lvl5pPr>
            <a:lvl6pPr marL="25130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6pPr>
            <a:lvl7pPr marL="29702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7pPr>
            <a:lvl8pPr marL="34274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8pPr>
            <a:lvl9pPr marL="3884613" indent="-227013" algn="l" rtl="0" eaLnBrk="1" fontAlgn="base" hangingPunct="1">
              <a:spcBef>
                <a:spcPct val="0"/>
              </a:spcBef>
              <a:spcAft>
                <a:spcPct val="0"/>
              </a:spcAft>
              <a:buClr>
                <a:srgbClr val="009900"/>
              </a:buClr>
              <a:buFont typeface="Arial" charset="0"/>
              <a:buChar char="–"/>
              <a:defRPr sz="1600">
                <a:solidFill>
                  <a:schemeClr val="tx1"/>
                </a:solidFill>
                <a:latin typeface="+mn-lt"/>
                <a:cs typeface="+mn-cs"/>
              </a:defRPr>
            </a:lvl9pPr>
          </a:lstStyle>
          <a:p>
            <a:pPr marL="174625" indent="-174625">
              <a:buFontTx/>
              <a:buNone/>
            </a:pPr>
            <a:r>
              <a:rPr lang="pt-BR" sz="1300" b="0" kern="0" dirty="0" smtClean="0"/>
              <a:t>– A.C. Camargo </a:t>
            </a:r>
            <a:r>
              <a:rPr lang="pt-BR" sz="1300" b="0" kern="0" dirty="0" err="1" smtClean="0"/>
              <a:t>Cancer</a:t>
            </a:r>
            <a:r>
              <a:rPr lang="pt-BR" sz="1300" b="0" kern="0" dirty="0" smtClean="0"/>
              <a:t> Center, São Paulo</a:t>
            </a:r>
          </a:p>
          <a:p>
            <a:pPr marL="174625" indent="-174625">
              <a:buFontTx/>
              <a:buNone/>
            </a:pPr>
            <a:r>
              <a:rPr lang="pt-BR" sz="1300" b="0" kern="0" dirty="0" smtClean="0"/>
              <a:t>– Instituto do </a:t>
            </a:r>
            <a:r>
              <a:rPr lang="pt-BR" sz="1300" b="0" kern="0" dirty="0" err="1" smtClean="0"/>
              <a:t>Cancer</a:t>
            </a:r>
            <a:r>
              <a:rPr lang="pt-BR" sz="1300" b="0" kern="0" dirty="0" smtClean="0"/>
              <a:t> do Estado de São Paulo ICESP, São Paulo</a:t>
            </a:r>
          </a:p>
          <a:p>
            <a:pPr marL="174625" indent="-174625">
              <a:buFontTx/>
              <a:buNone/>
            </a:pPr>
            <a:r>
              <a:rPr lang="pt-BR" sz="1300" b="0" kern="0" dirty="0" smtClean="0"/>
              <a:t>– Centro de Pesquisa UNIFESP, São Paulo</a:t>
            </a:r>
          </a:p>
          <a:p>
            <a:pPr marL="174625" indent="-174625">
              <a:buFontTx/>
              <a:buNone/>
            </a:pPr>
            <a:r>
              <a:rPr lang="pt-BR" sz="1300" b="0" kern="0" dirty="0" smtClean="0"/>
              <a:t>– Hospital Base de </a:t>
            </a:r>
            <a:r>
              <a:rPr lang="pt-BR" sz="1300" b="0" kern="0" dirty="0" err="1" smtClean="0"/>
              <a:t>Sao</a:t>
            </a:r>
            <a:r>
              <a:rPr lang="pt-BR" sz="1300" b="0" kern="0" dirty="0" smtClean="0"/>
              <a:t> Jose do Rio Preto, São José do Rio Preto</a:t>
            </a:r>
          </a:p>
          <a:p>
            <a:pPr marL="174625" indent="-174625">
              <a:buFontTx/>
              <a:buNone/>
            </a:pPr>
            <a:r>
              <a:rPr lang="pt-BR" sz="1300" b="0" kern="0" dirty="0" smtClean="0"/>
              <a:t>– Hospital de </a:t>
            </a:r>
            <a:r>
              <a:rPr lang="pt-BR" sz="1300" b="0" kern="0" dirty="0" err="1" smtClean="0"/>
              <a:t>Cancer</a:t>
            </a:r>
            <a:r>
              <a:rPr lang="pt-BR" sz="1300" b="0" kern="0" dirty="0" smtClean="0"/>
              <a:t> de Barretos, Barretos</a:t>
            </a:r>
          </a:p>
          <a:p>
            <a:pPr marL="174625" indent="-174625">
              <a:buFontTx/>
              <a:buNone/>
            </a:pPr>
            <a:r>
              <a:rPr lang="pt-BR" sz="1300" b="0" kern="0" dirty="0" smtClean="0"/>
              <a:t>– Hospital Israelita Albert Einstein, São Paulo</a:t>
            </a:r>
          </a:p>
          <a:p>
            <a:pPr marL="174625" indent="-174625">
              <a:buFontTx/>
              <a:buNone/>
            </a:pPr>
            <a:r>
              <a:rPr lang="pt-BR" sz="1300" b="0" kern="0" dirty="0" smtClean="0"/>
              <a:t>– Hospital Santa Marcelina, São Paulo.</a:t>
            </a:r>
          </a:p>
          <a:p>
            <a:pPr marL="174625" indent="-174625">
              <a:buFontTx/>
              <a:buNone/>
            </a:pPr>
            <a:r>
              <a:rPr lang="pt-BR" sz="1300" b="0" kern="0" dirty="0" smtClean="0"/>
              <a:t>– Hospital São Lucas PUC, Porto Alegre</a:t>
            </a:r>
          </a:p>
          <a:p>
            <a:pPr marL="174625" indent="-174625">
              <a:buFontTx/>
              <a:buNone/>
            </a:pPr>
            <a:r>
              <a:rPr lang="pt-BR" sz="1300" b="0" kern="0" dirty="0" smtClean="0"/>
              <a:t>– Instituto COI, Rio de Janeiro</a:t>
            </a:r>
          </a:p>
          <a:p>
            <a:pPr marL="174625" indent="-174625">
              <a:buFontTx/>
              <a:buNone/>
            </a:pPr>
            <a:r>
              <a:rPr lang="pt-BR" sz="1300" b="0" kern="0" dirty="0" smtClean="0"/>
              <a:t>– Instituto de medicina integral Prof. Fernando Figueira – IMIP, Recife</a:t>
            </a:r>
          </a:p>
          <a:p>
            <a:pPr marL="174625" indent="-174625">
              <a:buFontTx/>
              <a:buNone/>
            </a:pPr>
            <a:r>
              <a:rPr lang="pt-BR" sz="1300" b="0" kern="0" dirty="0" smtClean="0"/>
              <a:t>– Instituto del </a:t>
            </a:r>
            <a:r>
              <a:rPr lang="pt-BR" sz="1300" b="0" kern="0" dirty="0" err="1" smtClean="0"/>
              <a:t>Cancer</a:t>
            </a:r>
            <a:r>
              <a:rPr lang="pt-BR" sz="1300" b="0" kern="0" dirty="0" smtClean="0"/>
              <a:t> do Ceará (ICC), Fortaleza</a:t>
            </a:r>
          </a:p>
          <a:p>
            <a:pPr marL="174625" indent="-174625">
              <a:buFontTx/>
              <a:buNone/>
            </a:pPr>
            <a:r>
              <a:rPr lang="pt-BR" sz="1300" b="0" kern="0" dirty="0" smtClean="0"/>
              <a:t>– Instituto IAMSPE - HSPE/FMO, São Paulo</a:t>
            </a:r>
          </a:p>
          <a:p>
            <a:pPr marL="174625" indent="-174625">
              <a:buFontTx/>
              <a:buNone/>
            </a:pPr>
            <a:r>
              <a:rPr lang="pt-BR" sz="1300" b="0" kern="0" dirty="0" smtClean="0"/>
              <a:t>– Irmandade da Santa Casa de </a:t>
            </a:r>
            <a:r>
              <a:rPr lang="pt-BR" sz="1300" b="0" kern="0" dirty="0" err="1" smtClean="0"/>
              <a:t>Misericordia</a:t>
            </a:r>
            <a:r>
              <a:rPr lang="pt-BR" sz="1300" b="0" kern="0" dirty="0" smtClean="0"/>
              <a:t> de Porto Alegre, Porto Alegre, y</a:t>
            </a:r>
          </a:p>
          <a:p>
            <a:pPr marL="174625" indent="-174625">
              <a:buFontTx/>
              <a:buNone/>
            </a:pPr>
            <a:r>
              <a:rPr lang="pt-BR" sz="1300" b="0" kern="0" dirty="0" smtClean="0"/>
              <a:t>– Liga Paranaense de combate ao </a:t>
            </a:r>
            <a:r>
              <a:rPr lang="pt-BR" sz="1300" b="0" kern="0" dirty="0" err="1" smtClean="0"/>
              <a:t>Cancer</a:t>
            </a:r>
            <a:r>
              <a:rPr lang="pt-BR" sz="1300" b="0" kern="0" dirty="0" smtClean="0"/>
              <a:t> - Hospital Erasto Gaertner, Curitiba</a:t>
            </a:r>
          </a:p>
          <a:p>
            <a:pPr marL="174625" indent="-174625">
              <a:buFontTx/>
              <a:buNone/>
            </a:pPr>
            <a:r>
              <a:rPr lang="pt-BR" sz="1300" b="0" kern="0" dirty="0" smtClean="0"/>
              <a:t>– </a:t>
            </a:r>
            <a:r>
              <a:rPr lang="pt-BR" sz="1300" b="0" kern="0" dirty="0" err="1" smtClean="0"/>
              <a:t>Nucleo</a:t>
            </a:r>
            <a:r>
              <a:rPr lang="pt-BR" sz="1300" b="0" kern="0" dirty="0" smtClean="0"/>
              <a:t> de Oncologia da Bahia, Salvador</a:t>
            </a:r>
          </a:p>
          <a:p>
            <a:pPr marL="174625" indent="-174625">
              <a:buFontTx/>
              <a:buNone/>
            </a:pPr>
            <a:r>
              <a:rPr lang="pt-BR" sz="1300" b="0" kern="0" dirty="0" smtClean="0"/>
              <a:t>– </a:t>
            </a:r>
            <a:r>
              <a:rPr lang="pt-BR" sz="1300" b="0" kern="0" dirty="0" err="1" smtClean="0"/>
              <a:t>Onco</a:t>
            </a:r>
            <a:r>
              <a:rPr lang="pt-BR" sz="1300" b="0" kern="0" dirty="0" smtClean="0"/>
              <a:t> Clínicas Especializadas, Sorocaba</a:t>
            </a:r>
          </a:p>
          <a:p>
            <a:pPr marL="0" indent="0">
              <a:buFontTx/>
              <a:buNone/>
            </a:pPr>
            <a:endParaRPr lang="en-US" sz="1300" b="0" kern="0" dirty="0"/>
          </a:p>
        </p:txBody>
      </p:sp>
    </p:spTree>
    <p:extLst>
      <p:ext uri="{BB962C8B-B14F-4D97-AF65-F5344CB8AC3E}">
        <p14:creationId xmlns:p14="http://schemas.microsoft.com/office/powerpoint/2010/main" val="31188299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ormAutofit/>
          </a:bodyPr>
          <a:lstStyle/>
          <a:p>
            <a:pPr algn="l"/>
            <a:r>
              <a:rPr lang="es-CL" sz="3200" b="0" dirty="0" smtClean="0">
                <a:latin typeface="Century Gothic" pitchFamily="34" charset="0"/>
              </a:rPr>
              <a:t>Líneas de Investigación</a:t>
            </a:r>
            <a:endParaRPr lang="es-CL" sz="3200" b="0" dirty="0">
              <a:latin typeface="Century Gothic" pitchFamily="34" charset="0"/>
            </a:endParaRPr>
          </a:p>
        </p:txBody>
      </p:sp>
      <p:sp>
        <p:nvSpPr>
          <p:cNvPr id="3" name="Text Placeholder 2"/>
          <p:cNvSpPr>
            <a:spLocks noGrp="1"/>
          </p:cNvSpPr>
          <p:nvPr>
            <p:ph type="body" sz="quarter" idx="4294967295"/>
          </p:nvPr>
        </p:nvSpPr>
        <p:spPr>
          <a:xfrm>
            <a:off x="503238" y="1268413"/>
            <a:ext cx="8640762" cy="720725"/>
          </a:xfrm>
        </p:spPr>
        <p:txBody>
          <a:bodyPr>
            <a:noAutofit/>
          </a:bodyPr>
          <a:lstStyle/>
          <a:p>
            <a:pPr algn="just">
              <a:buClr>
                <a:schemeClr val="accent6"/>
              </a:buClr>
            </a:pPr>
            <a:endParaRPr lang="es-CL" sz="2000" dirty="0" smtClean="0">
              <a:solidFill>
                <a:schemeClr val="accent1">
                  <a:lumMod val="10000"/>
                </a:schemeClr>
              </a:solidFill>
              <a:latin typeface="Century Gothic" pitchFamily="34" charset="0"/>
            </a:endParaRPr>
          </a:p>
          <a:p>
            <a:pPr algn="just">
              <a:buClr>
                <a:schemeClr val="accent6"/>
              </a:buClr>
            </a:pPr>
            <a:endParaRPr lang="es-CL" sz="2000" dirty="0" smtClean="0">
              <a:solidFill>
                <a:schemeClr val="accent1">
                  <a:lumMod val="10000"/>
                </a:schemeClr>
              </a:solidFill>
              <a:latin typeface="Century Gothic" pitchFamily="34" charset="0"/>
            </a:endParaRPr>
          </a:p>
          <a:p>
            <a:pPr algn="just">
              <a:buClr>
                <a:schemeClr val="accent6"/>
              </a:buClr>
            </a:pPr>
            <a:endParaRPr lang="es-CL" sz="2000" dirty="0" smtClean="0">
              <a:solidFill>
                <a:schemeClr val="accent1">
                  <a:lumMod val="10000"/>
                </a:schemeClr>
              </a:solidFill>
              <a:latin typeface="Century Gothic" pitchFamily="34" charset="0"/>
            </a:endParaRPr>
          </a:p>
          <a:p>
            <a:pPr lvl="1" algn="just">
              <a:buClr>
                <a:schemeClr val="accent6"/>
              </a:buClr>
            </a:pPr>
            <a:endParaRPr lang="es-CL" sz="2000" dirty="0" smtClean="0">
              <a:solidFill>
                <a:schemeClr val="accent1">
                  <a:lumMod val="10000"/>
                </a:schemeClr>
              </a:solidFill>
              <a:latin typeface="Century Gothic" pitchFamily="34" charset="0"/>
            </a:endParaRPr>
          </a:p>
          <a:p>
            <a:pPr algn="just">
              <a:buClr>
                <a:schemeClr val="accent6"/>
              </a:buClr>
            </a:pPr>
            <a:endParaRPr lang="es-CL" sz="2000" dirty="0" smtClean="0">
              <a:solidFill>
                <a:schemeClr val="accent1">
                  <a:lumMod val="10000"/>
                </a:schemeClr>
              </a:solidFill>
              <a:latin typeface="Century Gothic" pitchFamily="34" charset="0"/>
            </a:endParaRPr>
          </a:p>
          <a:p>
            <a:pPr algn="just">
              <a:buClr>
                <a:schemeClr val="accent6"/>
              </a:buClr>
            </a:pPr>
            <a:endParaRPr lang="en-US" sz="2000" dirty="0">
              <a:solidFill>
                <a:schemeClr val="accent1">
                  <a:lumMod val="10000"/>
                </a:schemeClr>
              </a:solidFill>
              <a:latin typeface="Century Gothic" pitchFamily="34" charset="0"/>
            </a:endParaRPr>
          </a:p>
        </p:txBody>
      </p:sp>
      <p:sp>
        <p:nvSpPr>
          <p:cNvPr id="6" name="TextBox 5"/>
          <p:cNvSpPr txBox="1"/>
          <p:nvPr/>
        </p:nvSpPr>
        <p:spPr>
          <a:xfrm>
            <a:off x="323528" y="1619993"/>
            <a:ext cx="8424936" cy="3831305"/>
          </a:xfrm>
          <a:prstGeom prst="rect">
            <a:avLst/>
          </a:prstGeom>
          <a:noFill/>
        </p:spPr>
        <p:txBody>
          <a:bodyPr wrap="square" rtlCol="0">
            <a:spAutoFit/>
          </a:bodyPr>
          <a:lstStyle/>
          <a:p>
            <a:pPr algn="just">
              <a:buClr>
                <a:srgbClr val="F79646"/>
              </a:buClr>
            </a:pPr>
            <a:endParaRPr lang="es-CL" sz="2000" b="1" dirty="0" smtClean="0">
              <a:solidFill>
                <a:srgbClr val="4F81BD">
                  <a:lumMod val="10000"/>
                </a:srgbClr>
              </a:solidFill>
              <a:latin typeface="Century Gothic" pitchFamily="34" charset="0"/>
            </a:endParaRPr>
          </a:p>
          <a:p>
            <a:pPr algn="just">
              <a:lnSpc>
                <a:spcPct val="115000"/>
              </a:lnSpc>
              <a:spcAft>
                <a:spcPts val="1000"/>
              </a:spcAft>
            </a:pPr>
            <a:r>
              <a:rPr lang="es-CL" b="1" dirty="0">
                <a:latin typeface="Calibri"/>
                <a:ea typeface="Calibri"/>
                <a:cs typeface="Times New Roman"/>
              </a:rPr>
              <a:t>1. NGS Pulmón: </a:t>
            </a:r>
            <a:r>
              <a:rPr lang="es-CL" dirty="0">
                <a:latin typeface="Calibri"/>
                <a:ea typeface="Calibri"/>
                <a:cs typeface="Times New Roman"/>
              </a:rPr>
              <a:t>“NIRVANA: Estudio </a:t>
            </a:r>
            <a:r>
              <a:rPr lang="es-CL" dirty="0" err="1">
                <a:latin typeface="Calibri"/>
                <a:ea typeface="Calibri"/>
                <a:cs typeface="Times New Roman"/>
              </a:rPr>
              <a:t>Multicéntrico</a:t>
            </a:r>
            <a:r>
              <a:rPr lang="es-CL" dirty="0">
                <a:latin typeface="Calibri"/>
                <a:ea typeface="Calibri"/>
                <a:cs typeface="Times New Roman"/>
              </a:rPr>
              <a:t> no </a:t>
            </a:r>
            <a:r>
              <a:rPr lang="es-CL" dirty="0" err="1">
                <a:latin typeface="Calibri"/>
                <a:ea typeface="Calibri"/>
                <a:cs typeface="Times New Roman"/>
              </a:rPr>
              <a:t>Intervencional</a:t>
            </a:r>
            <a:r>
              <a:rPr lang="es-CL" dirty="0">
                <a:latin typeface="Calibri"/>
                <a:ea typeface="Calibri"/>
                <a:cs typeface="Times New Roman"/>
              </a:rPr>
              <a:t>, para la Validación de Tecnologías de Diagnóstico Molecular en Pacientes con Cáncer de Pulmón de Células No Pequeñas”.</a:t>
            </a:r>
            <a:endParaRPr lang="en-US" dirty="0">
              <a:latin typeface="Calibri"/>
              <a:ea typeface="Calibri"/>
              <a:cs typeface="Times New Roman"/>
            </a:endParaRPr>
          </a:p>
          <a:p>
            <a:pPr algn="just">
              <a:lnSpc>
                <a:spcPct val="115000"/>
              </a:lnSpc>
              <a:spcAft>
                <a:spcPts val="1000"/>
              </a:spcAft>
            </a:pPr>
            <a:r>
              <a:rPr lang="es-CL" dirty="0">
                <a:latin typeface="Calibri"/>
                <a:ea typeface="Calibri"/>
                <a:cs typeface="Times New Roman"/>
              </a:rPr>
              <a:t>Este estudio tiene por objeto demostrar la utilidad de la tecnología de secuenciación de última generación (NGS) en el diagnóstico molecular de alteraciones genéticas del tumor en genes como ALK, ROS1 y EGFR, que son susceptibles de ser tratadas con terapias dirigidas. Esta tecnología NGS permitiría un diagnóstico más sensible, especifico y exacto de la mayoría de las alteraciones de importancia clínica en el tumor, en una sola prueba diagnóstica. </a:t>
            </a:r>
            <a:endParaRPr lang="en-US" dirty="0">
              <a:latin typeface="Calibri"/>
              <a:ea typeface="Calibri"/>
              <a:cs typeface="Times New Roman"/>
            </a:endParaRPr>
          </a:p>
          <a:p>
            <a:pPr algn="just"/>
            <a:endParaRPr lang="fr-FR" sz="2000" b="1" dirty="0">
              <a:solidFill>
                <a:prstClr val="black"/>
              </a:solidFill>
              <a:latin typeface="Century Gothic" panose="020B0502020202020204" pitchFamily="34" charset="0"/>
            </a:endParaRPr>
          </a:p>
        </p:txBody>
      </p:sp>
    </p:spTree>
    <p:extLst>
      <p:ext uri="{BB962C8B-B14F-4D97-AF65-F5344CB8AC3E}">
        <p14:creationId xmlns:p14="http://schemas.microsoft.com/office/powerpoint/2010/main" val="40120188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0" y="50800"/>
            <a:ext cx="9144000" cy="6734161"/>
          </a:xfrm>
          <a:prstGeom prst="rect">
            <a:avLst/>
          </a:prstGeom>
        </p:spPr>
      </p:pic>
    </p:spTree>
    <p:extLst>
      <p:ext uri="{BB962C8B-B14F-4D97-AF65-F5344CB8AC3E}">
        <p14:creationId xmlns:p14="http://schemas.microsoft.com/office/powerpoint/2010/main" val="6041922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l="12928" r="15303"/>
          <a:stretch/>
        </p:blipFill>
        <p:spPr bwMode="auto">
          <a:xfrm>
            <a:off x="1470165" y="1124744"/>
            <a:ext cx="5190067" cy="4846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387810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l="15485" r="12366"/>
          <a:stretch/>
        </p:blipFill>
        <p:spPr bwMode="auto">
          <a:xfrm>
            <a:off x="2057400" y="1533071"/>
            <a:ext cx="5240867" cy="4035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8197882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51520" y="5589240"/>
            <a:ext cx="8568952" cy="115212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p:nvPr>
        </p:nvSpPr>
        <p:spPr>
          <a:xfrm>
            <a:off x="7320" y="148131"/>
            <a:ext cx="7924190" cy="532180"/>
          </a:xfrm>
        </p:spPr>
        <p:txBody>
          <a:bodyPr>
            <a:normAutofit/>
          </a:bodyPr>
          <a:lstStyle/>
          <a:p>
            <a:r>
              <a:rPr lang="en-US" dirty="0" smtClean="0"/>
              <a:t>DNA sequencing</a:t>
            </a:r>
            <a:endParaRPr lang="en-US" dirty="0"/>
          </a:p>
        </p:txBody>
      </p:sp>
      <p:pic>
        <p:nvPicPr>
          <p:cNvPr id="3" name="Picture 2" descr="sanger_nobel_research1.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6858000" cy="6858000"/>
          </a:xfrm>
          <a:prstGeom prst="rect">
            <a:avLst/>
          </a:prstGeom>
        </p:spPr>
      </p:pic>
      <p:pic>
        <p:nvPicPr>
          <p:cNvPr id="4" name="Picture 3" descr="sanger_nobelportrait2-220x220.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29301" y="0"/>
            <a:ext cx="2794000" cy="2794000"/>
          </a:xfrm>
          <a:prstGeom prst="rect">
            <a:avLst/>
          </a:prstGeom>
        </p:spPr>
      </p:pic>
    </p:spTree>
    <p:extLst>
      <p:ext uri="{BB962C8B-B14F-4D97-AF65-F5344CB8AC3E}">
        <p14:creationId xmlns:p14="http://schemas.microsoft.com/office/powerpoint/2010/main" val="361055489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2010_01a.gi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40527"/>
            <a:ext cx="9144000" cy="5500688"/>
          </a:xfrm>
          <a:prstGeom prst="rect">
            <a:avLst/>
          </a:prstGeom>
        </p:spPr>
      </p:pic>
      <p:pic>
        <p:nvPicPr>
          <p:cNvPr id="8" name="Picture 7" descr="sanger_nobelportrait2-220x220.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6212979" y="38781"/>
            <a:ext cx="1361580" cy="1361580"/>
          </a:xfrm>
          <a:prstGeom prst="rect">
            <a:avLst/>
          </a:prstGeom>
        </p:spPr>
      </p:pic>
      <p:pic>
        <p:nvPicPr>
          <p:cNvPr id="9" name="Picture 8" descr="220px-Lee_Hood,_MD,_PhD,_President_and_Co-found_of_the_Institute_for_Systems_Biology.jpg"/>
          <p:cNvPicPr>
            <a:picLocks noChangeAspect="1"/>
          </p:cNvPicPr>
          <p:nvPr/>
        </p:nvPicPr>
        <p:blipFill rotWithShape="1">
          <a:blip r:embed="rId4" cstate="print">
            <a:extLst>
              <a:ext uri="{28A0092B-C50C-407E-A947-70E740481C1C}">
                <a14:useLocalDpi xmlns:a14="http://schemas.microsoft.com/office/drawing/2010/main" val="0"/>
              </a:ext>
            </a:extLst>
          </a:blip>
          <a:srcRect t="3940"/>
          <a:stretch/>
        </p:blipFill>
        <p:spPr>
          <a:xfrm flipH="1">
            <a:off x="7735096" y="38780"/>
            <a:ext cx="1370128" cy="1375971"/>
          </a:xfrm>
          <a:prstGeom prst="rect">
            <a:avLst/>
          </a:prstGeom>
        </p:spPr>
      </p:pic>
      <p:pic>
        <p:nvPicPr>
          <p:cNvPr id="10" name="Picture 9" descr="images.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27816" y="46754"/>
            <a:ext cx="1833401" cy="1367997"/>
          </a:xfrm>
          <a:prstGeom prst="rect">
            <a:avLst/>
          </a:prstGeom>
        </p:spPr>
      </p:pic>
      <p:pic>
        <p:nvPicPr>
          <p:cNvPr id="11" name="Picture 10" descr="ABI-3130xl.jp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 y="3632115"/>
            <a:ext cx="3197655" cy="3309101"/>
          </a:xfrm>
          <a:prstGeom prst="rect">
            <a:avLst/>
          </a:prstGeom>
        </p:spPr>
      </p:pic>
      <p:sp>
        <p:nvSpPr>
          <p:cNvPr id="12" name="Title 3"/>
          <p:cNvSpPr>
            <a:spLocks noGrp="1"/>
          </p:cNvSpPr>
          <p:nvPr>
            <p:ph type="title"/>
          </p:nvPr>
        </p:nvSpPr>
        <p:spPr>
          <a:xfrm>
            <a:off x="-9149" y="225893"/>
            <a:ext cx="5805286" cy="610820"/>
          </a:xfrm>
        </p:spPr>
        <p:txBody>
          <a:bodyPr>
            <a:normAutofit/>
          </a:bodyPr>
          <a:lstStyle/>
          <a:p>
            <a:pPr algn="l"/>
            <a:r>
              <a:rPr lang="en-US" dirty="0" smtClean="0">
                <a:solidFill>
                  <a:srgbClr val="FFFFFF"/>
                </a:solidFill>
                <a:latin typeface="Arial"/>
                <a:cs typeface="Arial"/>
              </a:rPr>
              <a:t>Human Genome</a:t>
            </a:r>
            <a:endParaRPr lang="en-US" dirty="0">
              <a:solidFill>
                <a:srgbClr val="FFFFFF"/>
              </a:solidFill>
              <a:latin typeface="Arial"/>
              <a:cs typeface="Arial"/>
            </a:endParaRPr>
          </a:p>
        </p:txBody>
      </p:sp>
    </p:spTree>
    <p:extLst>
      <p:ext uri="{BB962C8B-B14F-4D97-AF65-F5344CB8AC3E}">
        <p14:creationId xmlns:p14="http://schemas.microsoft.com/office/powerpoint/2010/main" val="298671017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051720" y="2538770"/>
            <a:ext cx="5040560" cy="1754327"/>
          </a:xfrm>
          <a:prstGeom prst="rect">
            <a:avLst/>
          </a:prstGeom>
        </p:spPr>
        <p:txBody>
          <a:bodyPr wrap="square">
            <a:spAutoFit/>
          </a:bodyPr>
          <a:lstStyle/>
          <a:p>
            <a:pPr algn="ctr">
              <a:spcAft>
                <a:spcPts val="0"/>
              </a:spcAft>
            </a:pPr>
            <a:r>
              <a:rPr lang="es-CL" dirty="0" smtClean="0">
                <a:solidFill>
                  <a:srgbClr val="0070C0"/>
                </a:solidFill>
                <a:latin typeface="Arial"/>
                <a:ea typeface="Times New Roman"/>
                <a:cs typeface="Arial"/>
              </a:rPr>
              <a:t>Ricardo </a:t>
            </a:r>
            <a:r>
              <a:rPr lang="es-CL" dirty="0">
                <a:solidFill>
                  <a:srgbClr val="0070C0"/>
                </a:solidFill>
                <a:latin typeface="Arial"/>
                <a:ea typeface="Times New Roman"/>
                <a:cs typeface="Arial"/>
              </a:rPr>
              <a:t>A</a:t>
            </a:r>
            <a:r>
              <a:rPr lang="es-CL" dirty="0" smtClean="0">
                <a:solidFill>
                  <a:srgbClr val="0070C0"/>
                </a:solidFill>
                <a:latin typeface="Arial"/>
                <a:ea typeface="Times New Roman"/>
                <a:cs typeface="Arial"/>
              </a:rPr>
              <a:t>rmisén Y.</a:t>
            </a:r>
            <a:endParaRPr lang="es-CL" dirty="0">
              <a:solidFill>
                <a:srgbClr val="0070C0"/>
              </a:solidFill>
              <a:latin typeface="Arial"/>
              <a:ea typeface="Times New Roman"/>
              <a:cs typeface="Arial"/>
            </a:endParaRPr>
          </a:p>
          <a:p>
            <a:pPr algn="ctr">
              <a:spcAft>
                <a:spcPts val="0"/>
              </a:spcAft>
            </a:pPr>
            <a:r>
              <a:rPr lang="es-CL" dirty="0" smtClean="0">
                <a:solidFill>
                  <a:srgbClr val="595959"/>
                </a:solidFill>
                <a:latin typeface="Arial"/>
                <a:ea typeface="Times New Roman"/>
                <a:cs typeface="Arial"/>
              </a:rPr>
              <a:t>Head of </a:t>
            </a:r>
            <a:r>
              <a:rPr lang="es-CL" dirty="0" err="1" smtClean="0">
                <a:solidFill>
                  <a:srgbClr val="595959"/>
                </a:solidFill>
                <a:latin typeface="Arial"/>
                <a:ea typeface="Times New Roman"/>
                <a:cs typeface="Arial"/>
              </a:rPr>
              <a:t>Research</a:t>
            </a:r>
            <a:endParaRPr lang="es-CL" dirty="0">
              <a:solidFill>
                <a:srgbClr val="595959"/>
              </a:solidFill>
              <a:latin typeface="Arial"/>
              <a:ea typeface="Times New Roman"/>
              <a:cs typeface="Arial"/>
            </a:endParaRPr>
          </a:p>
          <a:p>
            <a:pPr algn="ctr">
              <a:spcAft>
                <a:spcPts val="0"/>
              </a:spcAft>
            </a:pPr>
            <a:r>
              <a:rPr lang="es-CL" dirty="0" err="1" smtClean="0">
                <a:solidFill>
                  <a:srgbClr val="595959"/>
                </a:solidFill>
                <a:latin typeface="Arial"/>
                <a:ea typeface="Times New Roman"/>
                <a:cs typeface="Arial"/>
              </a:rPr>
              <a:t>Precision</a:t>
            </a:r>
            <a:r>
              <a:rPr lang="es-CL" dirty="0" smtClean="0">
                <a:solidFill>
                  <a:srgbClr val="595959"/>
                </a:solidFill>
                <a:latin typeface="Arial"/>
                <a:ea typeface="Times New Roman"/>
                <a:cs typeface="Arial"/>
              </a:rPr>
              <a:t> Medicine Center of </a:t>
            </a:r>
            <a:r>
              <a:rPr lang="es-CL" dirty="0" err="1" smtClean="0">
                <a:solidFill>
                  <a:srgbClr val="595959"/>
                </a:solidFill>
                <a:latin typeface="Arial"/>
                <a:ea typeface="Times New Roman"/>
                <a:cs typeface="Arial"/>
              </a:rPr>
              <a:t>Excellence</a:t>
            </a:r>
            <a:endParaRPr lang="es-CL" dirty="0">
              <a:solidFill>
                <a:srgbClr val="595959"/>
              </a:solidFill>
              <a:latin typeface="Arial"/>
              <a:ea typeface="Times New Roman"/>
              <a:cs typeface="Arial"/>
            </a:endParaRPr>
          </a:p>
          <a:p>
            <a:pPr algn="ctr">
              <a:spcAft>
                <a:spcPts val="0"/>
              </a:spcAft>
            </a:pPr>
            <a:r>
              <a:rPr lang="es-CL" dirty="0">
                <a:solidFill>
                  <a:srgbClr val="595959"/>
                </a:solidFill>
                <a:latin typeface="Arial"/>
                <a:ea typeface="Times New Roman"/>
                <a:cs typeface="Arial"/>
              </a:rPr>
              <a:t>| </a:t>
            </a:r>
            <a:r>
              <a:rPr lang="es-CL" dirty="0">
                <a:solidFill>
                  <a:srgbClr val="0070C0"/>
                </a:solidFill>
                <a:latin typeface="Arial"/>
                <a:ea typeface="Times New Roman"/>
                <a:cs typeface="Arial"/>
              </a:rPr>
              <a:t>Pfizer Chile</a:t>
            </a:r>
            <a:r>
              <a:rPr lang="es-CL" dirty="0">
                <a:solidFill>
                  <a:srgbClr val="595959"/>
                </a:solidFill>
                <a:latin typeface="Arial"/>
                <a:ea typeface="Times New Roman"/>
                <a:cs typeface="Arial"/>
              </a:rPr>
              <a:t> | </a:t>
            </a:r>
            <a:endParaRPr lang="es-CL" dirty="0">
              <a:latin typeface="Arial"/>
              <a:ea typeface="Calibri"/>
              <a:cs typeface="Arial"/>
            </a:endParaRPr>
          </a:p>
          <a:p>
            <a:pPr algn="ctr"/>
            <a:endParaRPr lang="fr-FR" dirty="0">
              <a:latin typeface="Arial"/>
              <a:cs typeface="Arial"/>
            </a:endParaRPr>
          </a:p>
          <a:p>
            <a:pPr algn="ctr"/>
            <a:r>
              <a:rPr lang="fr-FR" dirty="0" smtClean="0">
                <a:latin typeface="Arial"/>
                <a:cs typeface="Arial"/>
              </a:rPr>
              <a:t>ricardo.armisen@Pfizer.com</a:t>
            </a:r>
            <a:endParaRPr lang="fr-FR" dirty="0">
              <a:latin typeface="Arial"/>
              <a:cs typeface="Arial"/>
            </a:endParaRPr>
          </a:p>
        </p:txBody>
      </p:sp>
      <p:sp>
        <p:nvSpPr>
          <p:cNvPr id="4" name="TextBox 3"/>
          <p:cNvSpPr txBox="1"/>
          <p:nvPr/>
        </p:nvSpPr>
        <p:spPr>
          <a:xfrm>
            <a:off x="152705" y="4653138"/>
            <a:ext cx="8847740" cy="954107"/>
          </a:xfrm>
          <a:prstGeom prst="rect">
            <a:avLst/>
          </a:prstGeom>
          <a:noFill/>
        </p:spPr>
        <p:txBody>
          <a:bodyPr wrap="square" rtlCol="0">
            <a:spAutoFit/>
          </a:bodyPr>
          <a:lstStyle/>
          <a:p>
            <a:pPr algn="just"/>
            <a:r>
              <a:rPr lang="en-US" sz="1400" dirty="0"/>
              <a:t>This document provides an outline of a presentation and is incomplete without the accompanying oral commentary and discussion. Conclusions and/ or potential strategies contained herein are NOT necessarily endorsed by </a:t>
            </a:r>
            <a:r>
              <a:rPr lang="en-US" sz="1400" dirty="0" smtClean="0"/>
              <a:t>Pfizer management</a:t>
            </a:r>
            <a:r>
              <a:rPr lang="en-US" sz="1400" dirty="0"/>
              <a:t>. Any implied strategy herein would be subject to management, regulatory and legal review and approval before implementation.</a:t>
            </a:r>
          </a:p>
        </p:txBody>
      </p:sp>
    </p:spTree>
    <p:extLst>
      <p:ext uri="{BB962C8B-B14F-4D97-AF65-F5344CB8AC3E}">
        <p14:creationId xmlns:p14="http://schemas.microsoft.com/office/powerpoint/2010/main" val="400508520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1520" y="5589240"/>
            <a:ext cx="8568952" cy="115212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descr="serialProblem.gi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705" y="88447"/>
            <a:ext cx="5488230" cy="2271619"/>
          </a:xfrm>
          <a:prstGeom prst="rect">
            <a:avLst/>
          </a:prstGeom>
        </p:spPr>
      </p:pic>
      <p:pic>
        <p:nvPicPr>
          <p:cNvPr id="8" name="Picture 7" descr="parallelProblem.gi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34132" y="3123592"/>
            <a:ext cx="6576087" cy="3581705"/>
          </a:xfrm>
          <a:prstGeom prst="rect">
            <a:avLst/>
          </a:prstGeom>
        </p:spPr>
      </p:pic>
    </p:spTree>
    <p:extLst>
      <p:ext uri="{BB962C8B-B14F-4D97-AF65-F5344CB8AC3E}">
        <p14:creationId xmlns:p14="http://schemas.microsoft.com/office/powerpoint/2010/main" val="238028266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1024px-IBM_Blue_Gene_P_supercomputer.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3555" y="116632"/>
            <a:ext cx="4275740" cy="2831008"/>
          </a:xfrm>
          <a:prstGeom prst="rect">
            <a:avLst/>
          </a:prstGeom>
        </p:spPr>
      </p:pic>
      <p:pic>
        <p:nvPicPr>
          <p:cNvPr id="3" name="Picture 2"/>
          <p:cNvPicPr>
            <a:picLocks noChangeAspect="1"/>
          </p:cNvPicPr>
          <p:nvPr/>
        </p:nvPicPr>
        <p:blipFill rotWithShape="1">
          <a:blip r:embed="rId3"/>
          <a:srcRect l="19894" t="15065" r="19800"/>
          <a:stretch/>
        </p:blipFill>
        <p:spPr>
          <a:xfrm>
            <a:off x="3563888" y="2996952"/>
            <a:ext cx="5514430" cy="3830392"/>
          </a:xfrm>
          <a:prstGeom prst="rect">
            <a:avLst/>
          </a:prstGeom>
        </p:spPr>
      </p:pic>
    </p:spTree>
    <p:extLst>
      <p:ext uri="{BB962C8B-B14F-4D97-AF65-F5344CB8AC3E}">
        <p14:creationId xmlns:p14="http://schemas.microsoft.com/office/powerpoint/2010/main" val="166243297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5" name="Content Placeholder 4"/>
          <p:cNvPicPr>
            <a:picLocks noGrp="1" noChangeAspect="1"/>
          </p:cNvPicPr>
          <p:nvPr>
            <p:ph idx="1"/>
          </p:nvPr>
        </p:nvPicPr>
        <p:blipFill rotWithShape="1">
          <a:blip r:embed="rId2"/>
          <a:srcRect l="3991" t="1115" r="6604" b="13275"/>
          <a:stretch/>
        </p:blipFill>
        <p:spPr>
          <a:xfrm>
            <a:off x="35496" y="692696"/>
            <a:ext cx="9090741" cy="4896544"/>
          </a:xfrm>
        </p:spPr>
      </p:pic>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pPr>
              <a:defRPr/>
            </a:pPr>
            <a:fld id="{369AF959-3F19-45C0-BDE8-016007A35A46}" type="slidenum">
              <a:rPr lang="en-US" altLang="en-US" smtClean="0"/>
              <a:pPr>
                <a:defRPr/>
              </a:pPr>
              <a:t>22</a:t>
            </a:fld>
            <a:endParaRPr lang="en-US" altLang="en-US"/>
          </a:p>
        </p:txBody>
      </p:sp>
    </p:spTree>
    <p:extLst>
      <p:ext uri="{BB962C8B-B14F-4D97-AF65-F5344CB8AC3E}">
        <p14:creationId xmlns:p14="http://schemas.microsoft.com/office/powerpoint/2010/main" val="34484981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pPr>
              <a:defRPr/>
            </a:pPr>
            <a:fld id="{369AF959-3F19-45C0-BDE8-016007A35A46}" type="slidenum">
              <a:rPr lang="en-US" altLang="en-US" smtClean="0"/>
              <a:pPr>
                <a:defRPr/>
              </a:pPr>
              <a:t>23</a:t>
            </a:fld>
            <a:endParaRPr lang="en-US" altLang="en-US"/>
          </a:p>
        </p:txBody>
      </p:sp>
      <p:grpSp>
        <p:nvGrpSpPr>
          <p:cNvPr id="5" name="31 Grupo"/>
          <p:cNvGrpSpPr/>
          <p:nvPr/>
        </p:nvGrpSpPr>
        <p:grpSpPr>
          <a:xfrm>
            <a:off x="3362052" y="1202877"/>
            <a:ext cx="2578100" cy="2185624"/>
            <a:chOff x="3243262" y="1202877"/>
            <a:chExt cx="2578100" cy="2185624"/>
          </a:xfrm>
        </p:grpSpPr>
        <p:sp>
          <p:nvSpPr>
            <p:cNvPr id="6" name="32 Rectángulo"/>
            <p:cNvSpPr/>
            <p:nvPr/>
          </p:nvSpPr>
          <p:spPr>
            <a:xfrm>
              <a:off x="3243262" y="1202877"/>
              <a:ext cx="2578100" cy="2185624"/>
            </a:xfrm>
            <a:prstGeom prst="rect">
              <a:avLst/>
            </a:prstGeom>
            <a:solidFill>
              <a:schemeClr val="bg1"/>
            </a:solidFill>
            <a:ln w="6350">
              <a:solidFill>
                <a:schemeClr val="tx1">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CL" sz="1600" b="1">
                <a:solidFill>
                  <a:schemeClr val="tx1"/>
                </a:solidFill>
              </a:endParaRPr>
            </a:p>
          </p:txBody>
        </p:sp>
        <p:pic>
          <p:nvPicPr>
            <p:cNvPr id="7" name="Picture 1"/>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l="47102" t="5812" r="35145" b="67112"/>
            <a:stretch/>
          </p:blipFill>
          <p:spPr bwMode="auto">
            <a:xfrm>
              <a:off x="3629277" y="1672052"/>
              <a:ext cx="1806070" cy="1473900"/>
            </a:xfrm>
            <a:prstGeom prst="rect">
              <a:avLst/>
            </a:prstGeom>
            <a:noFill/>
            <a:ln w="9525">
              <a:noFill/>
              <a:miter lim="800000"/>
              <a:headEnd/>
              <a:tailEnd/>
            </a:ln>
          </p:spPr>
        </p:pic>
        <p:sp>
          <p:nvSpPr>
            <p:cNvPr id="8" name="9 Rectángulo"/>
            <p:cNvSpPr/>
            <p:nvPr/>
          </p:nvSpPr>
          <p:spPr>
            <a:xfrm>
              <a:off x="3268117" y="1202877"/>
              <a:ext cx="2528390" cy="402495"/>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L" sz="1600" b="1" dirty="0" err="1">
                  <a:solidFill>
                    <a:schemeClr val="tx1"/>
                  </a:solidFill>
                </a:rPr>
                <a:t>Genome</a:t>
              </a:r>
              <a:r>
                <a:rPr lang="es-CL" sz="1600" b="1" dirty="0">
                  <a:solidFill>
                    <a:schemeClr val="tx1"/>
                  </a:solidFill>
                </a:rPr>
                <a:t> </a:t>
              </a:r>
              <a:r>
                <a:rPr lang="es-CL" sz="1600" b="1" dirty="0" err="1">
                  <a:solidFill>
                    <a:schemeClr val="tx1"/>
                  </a:solidFill>
                </a:rPr>
                <a:t>technologies</a:t>
              </a:r>
              <a:endParaRPr lang="es-CL" sz="1600" b="1" dirty="0">
                <a:solidFill>
                  <a:schemeClr val="tx1"/>
                </a:solidFill>
              </a:endParaRPr>
            </a:p>
          </p:txBody>
        </p:sp>
      </p:grpSp>
      <p:sp>
        <p:nvSpPr>
          <p:cNvPr id="9" name="34 Rectángulo"/>
          <p:cNvSpPr/>
          <p:nvPr/>
        </p:nvSpPr>
        <p:spPr>
          <a:xfrm>
            <a:off x="6386388" y="2529019"/>
            <a:ext cx="2578100" cy="2185624"/>
          </a:xfrm>
          <a:prstGeom prst="rect">
            <a:avLst/>
          </a:prstGeom>
          <a:solidFill>
            <a:schemeClr val="bg1"/>
          </a:solidFill>
          <a:ln w="6350">
            <a:solidFill>
              <a:schemeClr val="tx1">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CL" sz="1600" b="1">
              <a:solidFill>
                <a:schemeClr val="tx1"/>
              </a:solidFill>
            </a:endParaRPr>
          </a:p>
        </p:txBody>
      </p:sp>
      <p:sp>
        <p:nvSpPr>
          <p:cNvPr id="10" name="11 Rectángulo"/>
          <p:cNvSpPr/>
          <p:nvPr/>
        </p:nvSpPr>
        <p:spPr>
          <a:xfrm>
            <a:off x="6398431" y="2494084"/>
            <a:ext cx="2554014" cy="582249"/>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smtClean="0">
                <a:solidFill>
                  <a:schemeClr val="tx1"/>
                </a:solidFill>
              </a:rPr>
              <a:t>“Individualized</a:t>
            </a:r>
            <a:r>
              <a:rPr lang="en-US" sz="1600" b="1" dirty="0">
                <a:solidFill>
                  <a:schemeClr val="tx1"/>
                </a:solidFill>
              </a:rPr>
              <a:t>” profile of cancer alterations</a:t>
            </a:r>
          </a:p>
        </p:txBody>
      </p:sp>
      <p:pic>
        <p:nvPicPr>
          <p:cNvPr id="11" name="Picture 1"/>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l="79018" t="42531" r="11147" b="35350"/>
          <a:stretch/>
        </p:blipFill>
        <p:spPr bwMode="auto">
          <a:xfrm>
            <a:off x="7084435" y="3203609"/>
            <a:ext cx="1182007" cy="1422400"/>
          </a:xfrm>
          <a:prstGeom prst="rect">
            <a:avLst/>
          </a:prstGeom>
          <a:noFill/>
          <a:ln w="9525">
            <a:noFill/>
            <a:miter lim="800000"/>
            <a:headEnd/>
            <a:tailEnd/>
          </a:ln>
        </p:spPr>
      </p:pic>
      <p:grpSp>
        <p:nvGrpSpPr>
          <p:cNvPr id="12" name="28 Grupo"/>
          <p:cNvGrpSpPr/>
          <p:nvPr/>
        </p:nvGrpSpPr>
        <p:grpSpPr>
          <a:xfrm>
            <a:off x="179512" y="2494084"/>
            <a:ext cx="2578100" cy="2185624"/>
            <a:chOff x="76200" y="2494086"/>
            <a:chExt cx="2578100" cy="2185624"/>
          </a:xfrm>
        </p:grpSpPr>
        <p:sp>
          <p:nvSpPr>
            <p:cNvPr id="13" name="27 Rectángulo"/>
            <p:cNvSpPr/>
            <p:nvPr/>
          </p:nvSpPr>
          <p:spPr>
            <a:xfrm>
              <a:off x="76200" y="2494086"/>
              <a:ext cx="2578100" cy="2185624"/>
            </a:xfrm>
            <a:prstGeom prst="rect">
              <a:avLst/>
            </a:prstGeom>
            <a:solidFill>
              <a:schemeClr val="bg1"/>
            </a:solidFill>
            <a:ln w="6350">
              <a:solidFill>
                <a:schemeClr val="tx1">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CL" sz="1600" b="1">
                <a:solidFill>
                  <a:schemeClr val="tx1"/>
                </a:solidFill>
              </a:endParaRPr>
            </a:p>
          </p:txBody>
        </p:sp>
        <p:pic>
          <p:nvPicPr>
            <p:cNvPr id="14" name="Picture 1"/>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l="22873" t="42439" r="65687" b="28896"/>
            <a:stretch/>
          </p:blipFill>
          <p:spPr bwMode="auto">
            <a:xfrm>
              <a:off x="805580" y="3145952"/>
              <a:ext cx="1119340" cy="1500826"/>
            </a:xfrm>
            <a:prstGeom prst="rect">
              <a:avLst/>
            </a:prstGeom>
            <a:noFill/>
            <a:ln>
              <a:noFill/>
            </a:ln>
          </p:spPr>
        </p:pic>
        <p:sp>
          <p:nvSpPr>
            <p:cNvPr id="15" name="14 Rectángulo"/>
            <p:cNvSpPr/>
            <p:nvPr/>
          </p:nvSpPr>
          <p:spPr>
            <a:xfrm>
              <a:off x="76200" y="2572146"/>
              <a:ext cx="2578100" cy="504188"/>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Diagnosis and prognosis for individual patients</a:t>
              </a:r>
            </a:p>
          </p:txBody>
        </p:sp>
      </p:grpSp>
      <p:grpSp>
        <p:nvGrpSpPr>
          <p:cNvPr id="16" name="41 Grupo"/>
          <p:cNvGrpSpPr/>
          <p:nvPr/>
        </p:nvGrpSpPr>
        <p:grpSpPr>
          <a:xfrm>
            <a:off x="3257330" y="3931127"/>
            <a:ext cx="2578101" cy="2185624"/>
            <a:chOff x="3257330" y="3931127"/>
            <a:chExt cx="2578101" cy="2185624"/>
          </a:xfrm>
        </p:grpSpPr>
        <p:sp>
          <p:nvSpPr>
            <p:cNvPr id="17" name="38 Rectángulo"/>
            <p:cNvSpPr/>
            <p:nvPr/>
          </p:nvSpPr>
          <p:spPr>
            <a:xfrm>
              <a:off x="3257331" y="3931127"/>
              <a:ext cx="2578100" cy="2185624"/>
            </a:xfrm>
            <a:prstGeom prst="rect">
              <a:avLst/>
            </a:prstGeom>
            <a:solidFill>
              <a:schemeClr val="bg1"/>
            </a:solidFill>
            <a:ln w="6350">
              <a:solidFill>
                <a:schemeClr val="tx1">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CL" sz="1600" b="1">
                <a:solidFill>
                  <a:schemeClr val="tx1"/>
                </a:solidFill>
              </a:endParaRPr>
            </a:p>
          </p:txBody>
        </p:sp>
        <p:sp>
          <p:nvSpPr>
            <p:cNvPr id="18" name="19 Rectángulo"/>
            <p:cNvSpPr/>
            <p:nvPr/>
          </p:nvSpPr>
          <p:spPr>
            <a:xfrm>
              <a:off x="3257331" y="3931127"/>
              <a:ext cx="2578100" cy="329666"/>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solidFill>
                </a:rPr>
                <a:t>Target therapy trials</a:t>
              </a:r>
            </a:p>
          </p:txBody>
        </p:sp>
        <p:sp>
          <p:nvSpPr>
            <p:cNvPr id="19" name="23 CuadroTexto"/>
            <p:cNvSpPr txBox="1"/>
            <p:nvPr/>
          </p:nvSpPr>
          <p:spPr>
            <a:xfrm>
              <a:off x="3257330" y="4319518"/>
              <a:ext cx="1303855" cy="261610"/>
            </a:xfrm>
            <a:prstGeom prst="rect">
              <a:avLst/>
            </a:prstGeom>
            <a:noFill/>
          </p:spPr>
          <p:txBody>
            <a:bodyPr wrap="square" rtlCol="0">
              <a:spAutoFit/>
            </a:bodyPr>
            <a:lstStyle/>
            <a:p>
              <a:pPr algn="ctr"/>
              <a:r>
                <a:rPr lang="en-US" sz="1050" dirty="0" smtClean="0">
                  <a:solidFill>
                    <a:schemeClr val="bg2"/>
                  </a:solidFill>
                  <a:latin typeface="+mn-lt"/>
                </a:rPr>
                <a:t>Targeted agents</a:t>
              </a:r>
              <a:endParaRPr lang="en-US" sz="1050" dirty="0">
                <a:solidFill>
                  <a:schemeClr val="bg2"/>
                </a:solidFill>
                <a:latin typeface="+mn-lt"/>
              </a:endParaRPr>
            </a:p>
          </p:txBody>
        </p:sp>
        <p:grpSp>
          <p:nvGrpSpPr>
            <p:cNvPr id="20" name="35 Grupo"/>
            <p:cNvGrpSpPr/>
            <p:nvPr/>
          </p:nvGrpSpPr>
          <p:grpSpPr>
            <a:xfrm>
              <a:off x="3409950" y="4635542"/>
              <a:ext cx="2299772" cy="1372211"/>
              <a:chOff x="3341370" y="4605062"/>
              <a:chExt cx="2299772" cy="1372211"/>
            </a:xfrm>
          </p:grpSpPr>
          <p:pic>
            <p:nvPicPr>
              <p:cNvPr id="22" name="Picture 1"/>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6211" t="62223" r="32412" b="8734"/>
              <a:stretch/>
            </p:blipFill>
            <p:spPr bwMode="auto">
              <a:xfrm>
                <a:off x="3753624" y="4605062"/>
                <a:ext cx="1887518" cy="1372211"/>
              </a:xfrm>
              <a:prstGeom prst="rect">
                <a:avLst/>
              </a:prstGeom>
              <a:noFill/>
              <a:ln w="9525">
                <a:noFill/>
                <a:miter lim="800000"/>
                <a:headEnd/>
                <a:tailEnd/>
              </a:ln>
            </p:spPr>
          </p:pic>
          <p:sp>
            <p:nvSpPr>
              <p:cNvPr id="23" name="22 CuadroTexto"/>
              <p:cNvSpPr txBox="1"/>
              <p:nvPr/>
            </p:nvSpPr>
            <p:spPr>
              <a:xfrm>
                <a:off x="3341370" y="4605062"/>
                <a:ext cx="574795" cy="415498"/>
              </a:xfrm>
              <a:prstGeom prst="rect">
                <a:avLst/>
              </a:prstGeom>
              <a:solidFill>
                <a:schemeClr val="bg1"/>
              </a:solidFill>
            </p:spPr>
            <p:txBody>
              <a:bodyPr wrap="square" lIns="0" tIns="0" rIns="0" bIns="0" rtlCol="0">
                <a:spAutoFit/>
              </a:bodyPr>
              <a:lstStyle>
                <a:defPPr>
                  <a:defRPr lang="es-ES"/>
                </a:defPPr>
                <a:lvl1pPr>
                  <a:defRPr sz="900">
                    <a:solidFill>
                      <a:schemeClr val="bg2">
                        <a:lumMod val="50000"/>
                      </a:schemeClr>
                    </a:solidFill>
                  </a:defRPr>
                </a:lvl1pPr>
              </a:lstStyle>
              <a:p>
                <a:r>
                  <a:rPr lang="en-US" dirty="0">
                    <a:latin typeface="+mn-lt"/>
                  </a:rPr>
                  <a:t>Cancer genome alterations</a:t>
                </a:r>
              </a:p>
            </p:txBody>
          </p:sp>
          <p:sp>
            <p:nvSpPr>
              <p:cNvPr id="24" name="24 CuadroTexto"/>
              <p:cNvSpPr txBox="1"/>
              <p:nvPr/>
            </p:nvSpPr>
            <p:spPr>
              <a:xfrm>
                <a:off x="4473704" y="4605062"/>
                <a:ext cx="632172" cy="415498"/>
              </a:xfrm>
              <a:prstGeom prst="rect">
                <a:avLst/>
              </a:prstGeom>
              <a:solidFill>
                <a:schemeClr val="bg1"/>
              </a:solidFill>
            </p:spPr>
            <p:txBody>
              <a:bodyPr wrap="square" lIns="0" tIns="0" rIns="0" bIns="0" rtlCol="0">
                <a:spAutoFit/>
              </a:bodyPr>
              <a:lstStyle/>
              <a:p>
                <a:r>
                  <a:rPr lang="en-US" sz="900" dirty="0" smtClean="0">
                    <a:solidFill>
                      <a:schemeClr val="bg2">
                        <a:lumMod val="50000"/>
                      </a:schemeClr>
                    </a:solidFill>
                    <a:latin typeface="+mn-lt"/>
                  </a:rPr>
                  <a:t>Cancer genome alterations</a:t>
                </a:r>
                <a:endParaRPr lang="en-US" sz="900" dirty="0">
                  <a:solidFill>
                    <a:schemeClr val="bg2">
                      <a:lumMod val="50000"/>
                    </a:schemeClr>
                  </a:solidFill>
                  <a:latin typeface="+mn-lt"/>
                </a:endParaRPr>
              </a:p>
            </p:txBody>
          </p:sp>
        </p:grpSp>
        <p:sp>
          <p:nvSpPr>
            <p:cNvPr id="21" name="25 CuadroTexto"/>
            <p:cNvSpPr txBox="1"/>
            <p:nvPr/>
          </p:nvSpPr>
          <p:spPr>
            <a:xfrm>
              <a:off x="4572000" y="4319518"/>
              <a:ext cx="1263431" cy="261610"/>
            </a:xfrm>
            <a:prstGeom prst="rect">
              <a:avLst/>
            </a:prstGeom>
            <a:noFill/>
          </p:spPr>
          <p:txBody>
            <a:bodyPr wrap="square" rtlCol="0">
              <a:spAutoFit/>
            </a:bodyPr>
            <a:lstStyle/>
            <a:p>
              <a:pPr algn="ctr"/>
              <a:r>
                <a:rPr lang="en-US" sz="1050" dirty="0" smtClean="0">
                  <a:solidFill>
                    <a:schemeClr val="bg2"/>
                  </a:solidFill>
                  <a:latin typeface="+mn-lt"/>
                </a:rPr>
                <a:t>Targeted agents</a:t>
              </a:r>
              <a:endParaRPr lang="en-US" sz="1050" dirty="0">
                <a:solidFill>
                  <a:schemeClr val="bg2"/>
                </a:solidFill>
                <a:latin typeface="+mn-lt"/>
              </a:endParaRPr>
            </a:p>
          </p:txBody>
        </p:sp>
      </p:grpSp>
      <p:cxnSp>
        <p:nvCxnSpPr>
          <p:cNvPr id="25" name="43 Conector angular"/>
          <p:cNvCxnSpPr>
            <a:endCxn id="10" idx="0"/>
          </p:cNvCxnSpPr>
          <p:nvPr/>
        </p:nvCxnSpPr>
        <p:spPr>
          <a:xfrm>
            <a:off x="5988787" y="2062359"/>
            <a:ext cx="1686651" cy="431725"/>
          </a:xfrm>
          <a:prstGeom prst="bentConnector2">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46 Conector angular"/>
          <p:cNvCxnSpPr>
            <a:stCxn id="9" idx="2"/>
            <a:endCxn id="17" idx="3"/>
          </p:cNvCxnSpPr>
          <p:nvPr/>
        </p:nvCxnSpPr>
        <p:spPr>
          <a:xfrm rot="5400000">
            <a:off x="6600787" y="3949288"/>
            <a:ext cx="309296" cy="1840007"/>
          </a:xfrm>
          <a:prstGeom prst="bentConnector2">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48 Conector angular"/>
          <p:cNvCxnSpPr>
            <a:stCxn id="17" idx="1"/>
            <a:endCxn id="13" idx="2"/>
          </p:cNvCxnSpPr>
          <p:nvPr/>
        </p:nvCxnSpPr>
        <p:spPr>
          <a:xfrm rot="10800000">
            <a:off x="1468563" y="4679709"/>
            <a:ext cx="1788769" cy="344231"/>
          </a:xfrm>
          <a:prstGeom prst="bentConnector2">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50 Conector angular"/>
          <p:cNvCxnSpPr>
            <a:stCxn id="13" idx="0"/>
          </p:cNvCxnSpPr>
          <p:nvPr/>
        </p:nvCxnSpPr>
        <p:spPr>
          <a:xfrm rot="5400000" flipH="1" flipV="1">
            <a:off x="2222503" y="1306635"/>
            <a:ext cx="433508" cy="1941390"/>
          </a:xfrm>
          <a:prstGeom prst="bentConnector2">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05878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51520" y="5589240"/>
            <a:ext cx="8568952" cy="115212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stretch>
            <a:fillRect/>
          </a:stretch>
        </p:blipFill>
        <p:spPr>
          <a:xfrm>
            <a:off x="0" y="635002"/>
            <a:ext cx="9144000" cy="5570175"/>
          </a:xfrm>
          <a:prstGeom prst="rect">
            <a:avLst/>
          </a:prstGeom>
        </p:spPr>
      </p:pic>
    </p:spTree>
    <p:extLst>
      <p:ext uri="{BB962C8B-B14F-4D97-AF65-F5344CB8AC3E}">
        <p14:creationId xmlns:p14="http://schemas.microsoft.com/office/powerpoint/2010/main" val="338833244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3891151" y="1673305"/>
            <a:ext cx="1291972" cy="1436236"/>
            <a:chOff x="3352800" y="3352800"/>
            <a:chExt cx="1291768" cy="1436236"/>
          </a:xfrm>
        </p:grpSpPr>
        <p:grpSp>
          <p:nvGrpSpPr>
            <p:cNvPr id="28" name="Group 27"/>
            <p:cNvGrpSpPr/>
            <p:nvPr/>
          </p:nvGrpSpPr>
          <p:grpSpPr>
            <a:xfrm>
              <a:off x="3385022" y="3352800"/>
              <a:ext cx="1259546" cy="806450"/>
              <a:chOff x="3434009" y="3352800"/>
              <a:chExt cx="1259546" cy="806450"/>
            </a:xfrm>
          </p:grpSpPr>
          <p:sp>
            <p:nvSpPr>
              <p:cNvPr id="14" name="Rounded Rectangle 13"/>
              <p:cNvSpPr/>
              <p:nvPr/>
            </p:nvSpPr>
            <p:spPr bwMode="auto">
              <a:xfrm>
                <a:off x="3434009" y="3352800"/>
                <a:ext cx="1233798" cy="80645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s-CL">
                  <a:solidFill>
                    <a:prstClr val="white"/>
                  </a:solidFill>
                </a:endParaRPr>
              </a:p>
            </p:txBody>
          </p:sp>
          <p:pic>
            <p:nvPicPr>
              <p:cNvPr id="15" name="Picture 14" descr="pfizer_rgb_pos.jpg"/>
              <p:cNvPicPr>
                <a:picLocks noChangeAspect="1"/>
              </p:cNvPicPr>
              <p:nvPr/>
            </p:nvPicPr>
            <p:blipFill>
              <a:blip r:embed="rId2" cstate="print"/>
              <a:srcRect/>
              <a:stretch>
                <a:fillRect/>
              </a:stretch>
            </p:blipFill>
            <p:spPr bwMode="auto">
              <a:xfrm>
                <a:off x="3758130" y="3482533"/>
                <a:ext cx="654740" cy="422510"/>
              </a:xfrm>
              <a:prstGeom prst="rect">
                <a:avLst/>
              </a:prstGeom>
              <a:noFill/>
              <a:ln w="9525">
                <a:noFill/>
                <a:miter lim="800000"/>
                <a:headEnd/>
                <a:tailEnd/>
              </a:ln>
            </p:spPr>
          </p:pic>
          <p:sp>
            <p:nvSpPr>
              <p:cNvPr id="16" name="TextBox 41"/>
              <p:cNvSpPr txBox="1">
                <a:spLocks noChangeArrowheads="1"/>
              </p:cNvSpPr>
              <p:nvPr/>
            </p:nvSpPr>
            <p:spPr bwMode="auto">
              <a:xfrm>
                <a:off x="3474355" y="3902679"/>
                <a:ext cx="1219200" cy="215444"/>
              </a:xfrm>
              <a:prstGeom prst="rect">
                <a:avLst/>
              </a:prstGeom>
              <a:noFill/>
              <a:ln w="9525">
                <a:noFill/>
                <a:miter lim="800000"/>
                <a:headEnd/>
                <a:tailEnd/>
              </a:ln>
            </p:spPr>
            <p:txBody>
              <a:bodyPr wrap="square">
                <a:spAutoFit/>
              </a:bodyPr>
              <a:lstStyle/>
              <a:p>
                <a:r>
                  <a:rPr lang="en-US" sz="800" b="1" dirty="0">
                    <a:latin typeface="Calibri" pitchFamily="34" charset="0"/>
                  </a:rPr>
                  <a:t>ICE  Precision Medicine</a:t>
                </a:r>
              </a:p>
            </p:txBody>
          </p:sp>
        </p:grpSp>
        <p:grpSp>
          <p:nvGrpSpPr>
            <p:cNvPr id="17" name="Group 49"/>
            <p:cNvGrpSpPr>
              <a:grpSpLocks/>
            </p:cNvGrpSpPr>
            <p:nvPr/>
          </p:nvGrpSpPr>
          <p:grpSpPr bwMode="auto">
            <a:xfrm>
              <a:off x="3962400" y="4212774"/>
              <a:ext cx="655637" cy="576262"/>
              <a:chOff x="3923929" y="3084033"/>
              <a:chExt cx="655730" cy="575376"/>
            </a:xfrm>
          </p:grpSpPr>
          <p:sp>
            <p:nvSpPr>
              <p:cNvPr id="18" name="Rounded Rectangle 17"/>
              <p:cNvSpPr/>
              <p:nvPr/>
            </p:nvSpPr>
            <p:spPr bwMode="auto">
              <a:xfrm>
                <a:off x="3923929" y="3084033"/>
                <a:ext cx="655730" cy="575376"/>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s-CL">
                  <a:solidFill>
                    <a:prstClr val="white"/>
                  </a:solidFill>
                </a:endParaRPr>
              </a:p>
            </p:txBody>
          </p:sp>
          <p:pic>
            <p:nvPicPr>
              <p:cNvPr id="19" name="Picture 11" descr="http://www.dim.uchile.cl/~rlopez/ues/img/mayor.gif"/>
              <p:cNvPicPr>
                <a:picLocks noChangeAspect="1" noChangeArrowheads="1"/>
              </p:cNvPicPr>
              <p:nvPr/>
            </p:nvPicPr>
            <p:blipFill>
              <a:blip r:embed="rId3" cstate="print"/>
              <a:srcRect l="18379" r="19121"/>
              <a:stretch>
                <a:fillRect/>
              </a:stretch>
            </p:blipFill>
            <p:spPr bwMode="auto">
              <a:xfrm>
                <a:off x="3990912" y="3122455"/>
                <a:ext cx="512535" cy="513904"/>
              </a:xfrm>
              <a:prstGeom prst="rect">
                <a:avLst/>
              </a:prstGeom>
              <a:noFill/>
              <a:ln w="9525">
                <a:noFill/>
                <a:miter lim="800000"/>
                <a:headEnd/>
                <a:tailEnd/>
              </a:ln>
            </p:spPr>
          </p:pic>
        </p:grpSp>
        <p:grpSp>
          <p:nvGrpSpPr>
            <p:cNvPr id="29" name="Group 28"/>
            <p:cNvGrpSpPr/>
            <p:nvPr/>
          </p:nvGrpSpPr>
          <p:grpSpPr>
            <a:xfrm>
              <a:off x="3352800" y="4249058"/>
              <a:ext cx="579437" cy="533400"/>
              <a:chOff x="3352800" y="4267200"/>
              <a:chExt cx="579437" cy="533400"/>
            </a:xfrm>
          </p:grpSpPr>
          <p:pic>
            <p:nvPicPr>
              <p:cNvPr id="26" name="Picture 25"/>
              <p:cNvPicPr>
                <a:picLocks noChangeAspect="1"/>
              </p:cNvPicPr>
              <p:nvPr/>
            </p:nvPicPr>
            <p:blipFill>
              <a:blip r:embed="rId4" cstate="print"/>
              <a:stretch>
                <a:fillRect/>
              </a:stretch>
            </p:blipFill>
            <p:spPr>
              <a:xfrm>
                <a:off x="3410858" y="4285342"/>
                <a:ext cx="478830" cy="498294"/>
              </a:xfrm>
              <a:prstGeom prst="rect">
                <a:avLst/>
              </a:prstGeom>
            </p:spPr>
          </p:pic>
          <p:sp>
            <p:nvSpPr>
              <p:cNvPr id="27" name="Rounded Rectangle 26"/>
              <p:cNvSpPr/>
              <p:nvPr/>
            </p:nvSpPr>
            <p:spPr bwMode="auto">
              <a:xfrm>
                <a:off x="3352800" y="4267200"/>
                <a:ext cx="579437" cy="53340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s-CL">
                  <a:solidFill>
                    <a:prstClr val="white"/>
                  </a:solidFill>
                </a:endParaRPr>
              </a:p>
            </p:txBody>
          </p:sp>
        </p:grpSp>
      </p:grpSp>
      <p:grpSp>
        <p:nvGrpSpPr>
          <p:cNvPr id="31" name="30 Grupo"/>
          <p:cNvGrpSpPr/>
          <p:nvPr/>
        </p:nvGrpSpPr>
        <p:grpSpPr>
          <a:xfrm>
            <a:off x="682242" y="1398813"/>
            <a:ext cx="2938115" cy="4666647"/>
            <a:chOff x="682242" y="1398813"/>
            <a:chExt cx="2938115" cy="4666647"/>
          </a:xfrm>
        </p:grpSpPr>
        <p:grpSp>
          <p:nvGrpSpPr>
            <p:cNvPr id="38" name="Group 37"/>
            <p:cNvGrpSpPr/>
            <p:nvPr/>
          </p:nvGrpSpPr>
          <p:grpSpPr>
            <a:xfrm>
              <a:off x="682242" y="1398813"/>
              <a:ext cx="1756158" cy="2997200"/>
              <a:chOff x="152234" y="1398813"/>
              <a:chExt cx="1756158" cy="2997200"/>
            </a:xfrm>
          </p:grpSpPr>
          <p:pic>
            <p:nvPicPr>
              <p:cNvPr id="21" name="Picture 20"/>
              <p:cNvPicPr>
                <a:picLocks noChangeAspect="1"/>
              </p:cNvPicPr>
              <p:nvPr/>
            </p:nvPicPr>
            <p:blipFill rotWithShape="1">
              <a:blip r:embed="rId5" cstate="print"/>
              <a:srcRect r="78195"/>
              <a:stretch/>
            </p:blipFill>
            <p:spPr>
              <a:xfrm>
                <a:off x="152234" y="1398813"/>
                <a:ext cx="620946" cy="2997200"/>
              </a:xfrm>
              <a:prstGeom prst="rect">
                <a:avLst/>
              </a:prstGeom>
            </p:spPr>
          </p:pic>
          <p:grpSp>
            <p:nvGrpSpPr>
              <p:cNvPr id="2" name="Group 64"/>
              <p:cNvGrpSpPr>
                <a:grpSpLocks/>
              </p:cNvGrpSpPr>
              <p:nvPr/>
            </p:nvGrpSpPr>
            <p:grpSpPr bwMode="auto">
              <a:xfrm>
                <a:off x="533400" y="2743200"/>
                <a:ext cx="1374992" cy="904875"/>
                <a:chOff x="3053001" y="665844"/>
                <a:chExt cx="1374983" cy="905396"/>
              </a:xfrm>
            </p:grpSpPr>
            <p:grpSp>
              <p:nvGrpSpPr>
                <p:cNvPr id="3" name="Group 35"/>
                <p:cNvGrpSpPr>
                  <a:grpSpLocks/>
                </p:cNvGrpSpPr>
                <p:nvPr/>
              </p:nvGrpSpPr>
              <p:grpSpPr bwMode="auto">
                <a:xfrm>
                  <a:off x="3053001" y="665844"/>
                  <a:ext cx="795012" cy="905396"/>
                  <a:chOff x="3053001" y="665844"/>
                  <a:chExt cx="795012" cy="905396"/>
                </a:xfrm>
              </p:grpSpPr>
              <p:pic>
                <p:nvPicPr>
                  <p:cNvPr id="5" name="Picture 4" descr="C:\Documents and Settings\avilar03\Local Settings\Temporary Internet Files\Content.IE5\GVC3KNDE\MC900432599[1].png"/>
                  <p:cNvPicPr>
                    <a:picLocks noChangeAspect="1" noChangeArrowheads="1"/>
                  </p:cNvPicPr>
                  <p:nvPr/>
                </p:nvPicPr>
                <p:blipFill>
                  <a:blip r:embed="rId6" cstate="print"/>
                  <a:srcRect/>
                  <a:stretch>
                    <a:fillRect/>
                  </a:stretch>
                </p:blipFill>
                <p:spPr bwMode="auto">
                  <a:xfrm>
                    <a:off x="3374716" y="692696"/>
                    <a:ext cx="473297" cy="473297"/>
                  </a:xfrm>
                  <a:prstGeom prst="rect">
                    <a:avLst/>
                  </a:prstGeom>
                  <a:noFill/>
                  <a:ln w="9525">
                    <a:noFill/>
                    <a:miter lim="800000"/>
                    <a:headEnd/>
                    <a:tailEnd/>
                  </a:ln>
                </p:spPr>
              </p:pic>
              <p:pic>
                <p:nvPicPr>
                  <p:cNvPr id="6" name="Picture 5" descr="C:\Documents and Settings\avilar03\Local Settings\Temporary Internet Files\Content.IE5\1XT58MJF\MC900412754[1].wmf"/>
                  <p:cNvPicPr>
                    <a:picLocks noChangeAspect="1" noChangeArrowheads="1"/>
                  </p:cNvPicPr>
                  <p:nvPr/>
                </p:nvPicPr>
                <p:blipFill>
                  <a:blip r:embed="rId7" cstate="print"/>
                  <a:srcRect/>
                  <a:stretch>
                    <a:fillRect/>
                  </a:stretch>
                </p:blipFill>
                <p:spPr bwMode="auto">
                  <a:xfrm>
                    <a:off x="3071121" y="665844"/>
                    <a:ext cx="362347" cy="461795"/>
                  </a:xfrm>
                  <a:prstGeom prst="rect">
                    <a:avLst/>
                  </a:prstGeom>
                  <a:noFill/>
                  <a:ln w="9525">
                    <a:noFill/>
                    <a:miter lim="800000"/>
                    <a:headEnd/>
                    <a:tailEnd/>
                  </a:ln>
                </p:spPr>
              </p:pic>
              <p:pic>
                <p:nvPicPr>
                  <p:cNvPr id="7" name="Picture 7" descr="http://www.olamoller.com/wp-content/uploads/Blood-sample.png"/>
                  <p:cNvPicPr>
                    <a:picLocks noChangeAspect="1" noChangeArrowheads="1"/>
                  </p:cNvPicPr>
                  <p:nvPr/>
                </p:nvPicPr>
                <p:blipFill>
                  <a:blip r:embed="rId8" cstate="print"/>
                  <a:srcRect/>
                  <a:stretch>
                    <a:fillRect/>
                  </a:stretch>
                </p:blipFill>
                <p:spPr bwMode="auto">
                  <a:xfrm>
                    <a:off x="3419872" y="1079588"/>
                    <a:ext cx="409470" cy="407423"/>
                  </a:xfrm>
                  <a:prstGeom prst="rect">
                    <a:avLst/>
                  </a:prstGeom>
                  <a:noFill/>
                  <a:ln w="9525">
                    <a:noFill/>
                    <a:miter lim="800000"/>
                    <a:headEnd/>
                    <a:tailEnd/>
                  </a:ln>
                </p:spPr>
              </p:pic>
              <p:pic>
                <p:nvPicPr>
                  <p:cNvPr id="8" name="Picture 9" descr="http://incytepathology.files.wordpress.com/2010/05/specimen.jpg?w=600"/>
                  <p:cNvPicPr>
                    <a:picLocks noChangeAspect="1" noChangeArrowheads="1"/>
                  </p:cNvPicPr>
                  <p:nvPr/>
                </p:nvPicPr>
                <p:blipFill>
                  <a:blip r:embed="rId9" cstate="print"/>
                  <a:srcRect/>
                  <a:stretch>
                    <a:fillRect/>
                  </a:stretch>
                </p:blipFill>
                <p:spPr bwMode="auto">
                  <a:xfrm>
                    <a:off x="3053001" y="1068299"/>
                    <a:ext cx="441306" cy="502941"/>
                  </a:xfrm>
                  <a:prstGeom prst="rect">
                    <a:avLst/>
                  </a:prstGeom>
                  <a:noFill/>
                  <a:ln w="9525">
                    <a:noFill/>
                    <a:miter lim="800000"/>
                    <a:headEnd/>
                    <a:tailEnd/>
                  </a:ln>
                </p:spPr>
              </p:pic>
            </p:grpSp>
            <p:pic>
              <p:nvPicPr>
                <p:cNvPr id="4" name="Picture 33" descr="http://www.abbottalk.com/static/cms_workspace/img/homepage/ALK_NewRotator_110826.jpg"/>
                <p:cNvPicPr>
                  <a:picLocks noChangeAspect="1" noChangeArrowheads="1"/>
                </p:cNvPicPr>
                <p:nvPr/>
              </p:nvPicPr>
              <p:blipFill>
                <a:blip r:embed="rId10" cstate="print"/>
                <a:srcRect l="67056" t="10114" r="10233" b="34261"/>
                <a:stretch>
                  <a:fillRect/>
                </a:stretch>
              </p:blipFill>
              <p:spPr bwMode="auto">
                <a:xfrm>
                  <a:off x="3779912" y="764704"/>
                  <a:ext cx="648072" cy="678933"/>
                </a:xfrm>
                <a:prstGeom prst="rect">
                  <a:avLst/>
                </a:prstGeom>
                <a:noFill/>
                <a:ln w="9525">
                  <a:noFill/>
                  <a:miter lim="800000"/>
                  <a:headEnd/>
                  <a:tailEnd/>
                </a:ln>
              </p:spPr>
            </p:pic>
          </p:grpSp>
          <p:sp>
            <p:nvSpPr>
              <p:cNvPr id="23" name="TextBox 22"/>
              <p:cNvSpPr txBox="1"/>
              <p:nvPr/>
            </p:nvSpPr>
            <p:spPr>
              <a:xfrm>
                <a:off x="533400" y="1905000"/>
                <a:ext cx="749042" cy="707886"/>
              </a:xfrm>
              <a:prstGeom prst="rect">
                <a:avLst/>
              </a:prstGeom>
              <a:noFill/>
            </p:spPr>
            <p:txBody>
              <a:bodyPr wrap="none" rtlCol="0">
                <a:spAutoFit/>
              </a:bodyPr>
              <a:lstStyle/>
              <a:p>
                <a:pPr marL="53975" indent="-53975">
                  <a:buFont typeface="Arial"/>
                  <a:buChar char="•"/>
                </a:pPr>
                <a:r>
                  <a:rPr lang="es-ES_tradnl" sz="800" dirty="0" smtClean="0"/>
                  <a:t>Antofagasta</a:t>
                </a:r>
              </a:p>
              <a:p>
                <a:pPr marL="53975" indent="-53975">
                  <a:buFont typeface="Arial"/>
                  <a:buChar char="•"/>
                </a:pPr>
                <a:r>
                  <a:rPr lang="es-ES_tradnl" sz="800" dirty="0" smtClean="0"/>
                  <a:t>Santiago</a:t>
                </a:r>
              </a:p>
              <a:p>
                <a:pPr marL="53975" indent="-53975">
                  <a:buFont typeface="Arial"/>
                  <a:buChar char="•"/>
                </a:pPr>
                <a:r>
                  <a:rPr lang="es-ES_tradnl" sz="800" dirty="0" smtClean="0"/>
                  <a:t>Viña</a:t>
                </a:r>
              </a:p>
              <a:p>
                <a:pPr marL="53975" indent="-53975">
                  <a:buFont typeface="Arial"/>
                  <a:buChar char="•"/>
                </a:pPr>
                <a:r>
                  <a:rPr lang="es-ES_tradnl" sz="800" dirty="0" smtClean="0"/>
                  <a:t>Concepción</a:t>
                </a:r>
              </a:p>
              <a:p>
                <a:pPr marL="53975" indent="-53975">
                  <a:buFont typeface="Arial"/>
                  <a:buChar char="•"/>
                </a:pPr>
                <a:r>
                  <a:rPr lang="es-ES_tradnl" sz="800" dirty="0" smtClean="0"/>
                  <a:t>Valdivia</a:t>
                </a:r>
                <a:endParaRPr lang="es-ES_tradnl" sz="800" dirty="0"/>
              </a:p>
            </p:txBody>
          </p:sp>
        </p:grpSp>
        <p:sp>
          <p:nvSpPr>
            <p:cNvPr id="40" name="Right Arrow 39"/>
            <p:cNvSpPr/>
            <p:nvPr/>
          </p:nvSpPr>
          <p:spPr>
            <a:xfrm>
              <a:off x="2705957" y="2440213"/>
              <a:ext cx="914400" cy="91440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sp>
          <p:nvSpPr>
            <p:cNvPr id="42" name="TextBox 41"/>
            <p:cNvSpPr txBox="1"/>
            <p:nvPr/>
          </p:nvSpPr>
          <p:spPr>
            <a:xfrm>
              <a:off x="685800" y="4495800"/>
              <a:ext cx="1981200" cy="1569660"/>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buFont typeface="Arial" pitchFamily="34" charset="0"/>
                <a:buChar char="•"/>
              </a:pPr>
              <a:r>
                <a:rPr lang="en-US" sz="1200" dirty="0" err="1" smtClean="0"/>
                <a:t>Dx</a:t>
              </a:r>
              <a:r>
                <a:rPr lang="en-US" sz="1200" dirty="0" smtClean="0"/>
                <a:t>. NSCLC</a:t>
              </a:r>
            </a:p>
            <a:p>
              <a:pPr>
                <a:buFont typeface="Arial" pitchFamily="34" charset="0"/>
                <a:buChar char="•"/>
              </a:pPr>
              <a:r>
                <a:rPr lang="en-US" sz="1200" dirty="0" smtClean="0"/>
                <a:t>Ethics Committee</a:t>
              </a:r>
            </a:p>
            <a:p>
              <a:pPr>
                <a:buFont typeface="Arial" pitchFamily="34" charset="0"/>
                <a:buChar char="•"/>
              </a:pPr>
              <a:r>
                <a:rPr lang="en-US" sz="1200" dirty="0" smtClean="0"/>
                <a:t>Inform Consent</a:t>
              </a:r>
            </a:p>
            <a:p>
              <a:pPr>
                <a:buFont typeface="Arial" pitchFamily="34" charset="0"/>
                <a:buChar char="•"/>
              </a:pPr>
              <a:r>
                <a:rPr lang="en-US" sz="1200" dirty="0"/>
                <a:t>Clinical </a:t>
              </a:r>
              <a:r>
                <a:rPr lang="en-US" sz="1200" dirty="0" smtClean="0"/>
                <a:t>Data</a:t>
              </a:r>
            </a:p>
            <a:p>
              <a:pPr>
                <a:buFont typeface="Arial" pitchFamily="34" charset="0"/>
                <a:buChar char="•"/>
              </a:pPr>
              <a:r>
                <a:rPr lang="en-US" sz="1200" dirty="0" smtClean="0"/>
                <a:t>Bx. QA (Protocol + training)</a:t>
              </a:r>
            </a:p>
            <a:p>
              <a:pPr>
                <a:buFont typeface="Arial" pitchFamily="34" charset="0"/>
                <a:buChar char="•"/>
              </a:pPr>
              <a:r>
                <a:rPr lang="en-US" sz="1200" dirty="0" smtClean="0"/>
                <a:t>FISH Q (Training)</a:t>
              </a:r>
            </a:p>
            <a:p>
              <a:pPr>
                <a:buFont typeface="Arial" pitchFamily="34" charset="0"/>
                <a:buChar char="•"/>
              </a:pPr>
              <a:r>
                <a:rPr lang="en-US" sz="1200" dirty="0" smtClean="0"/>
                <a:t>Tissue + Blood</a:t>
              </a:r>
            </a:p>
          </p:txBody>
        </p:sp>
      </p:grpSp>
      <p:grpSp>
        <p:nvGrpSpPr>
          <p:cNvPr id="32" name="31 Grupo"/>
          <p:cNvGrpSpPr/>
          <p:nvPr/>
        </p:nvGrpSpPr>
        <p:grpSpPr>
          <a:xfrm>
            <a:off x="5447443" y="2289400"/>
            <a:ext cx="3086956" cy="3960726"/>
            <a:chOff x="5447443" y="2289400"/>
            <a:chExt cx="3086956" cy="3960726"/>
          </a:xfrm>
        </p:grpSpPr>
        <p:grpSp>
          <p:nvGrpSpPr>
            <p:cNvPr id="37" name="Group 36"/>
            <p:cNvGrpSpPr/>
            <p:nvPr/>
          </p:nvGrpSpPr>
          <p:grpSpPr>
            <a:xfrm>
              <a:off x="6629400" y="2289400"/>
              <a:ext cx="1904999" cy="1216026"/>
              <a:chOff x="6934201" y="2286000"/>
              <a:chExt cx="1904999" cy="1216026"/>
            </a:xfrm>
          </p:grpSpPr>
          <p:pic>
            <p:nvPicPr>
              <p:cNvPr id="22" name="Picture 21"/>
              <p:cNvPicPr>
                <a:picLocks noChangeAspect="1"/>
              </p:cNvPicPr>
              <p:nvPr/>
            </p:nvPicPr>
            <p:blipFill>
              <a:blip r:embed="rId11" cstate="print"/>
              <a:stretch>
                <a:fillRect/>
              </a:stretch>
            </p:blipFill>
            <p:spPr>
              <a:xfrm>
                <a:off x="7619999" y="2286000"/>
                <a:ext cx="1219201" cy="1095564"/>
              </a:xfrm>
              <a:prstGeom prst="rect">
                <a:avLst/>
              </a:prstGeom>
            </p:spPr>
          </p:pic>
          <p:sp>
            <p:nvSpPr>
              <p:cNvPr id="24" name="TextBox 23"/>
              <p:cNvSpPr txBox="1"/>
              <p:nvPr/>
            </p:nvSpPr>
            <p:spPr>
              <a:xfrm>
                <a:off x="6934201" y="2438400"/>
                <a:ext cx="833883" cy="461665"/>
              </a:xfrm>
              <a:prstGeom prst="rect">
                <a:avLst/>
              </a:prstGeom>
              <a:noFill/>
            </p:spPr>
            <p:txBody>
              <a:bodyPr wrap="none" rtlCol="0">
                <a:spAutoFit/>
              </a:bodyPr>
              <a:lstStyle/>
              <a:p>
                <a:pPr marL="53975" indent="-53975">
                  <a:buFont typeface="Arial"/>
                  <a:buChar char="•"/>
                </a:pPr>
                <a:r>
                  <a:rPr lang="es-ES_tradnl" sz="800" dirty="0" smtClean="0"/>
                  <a:t>AC Camargo</a:t>
                </a:r>
              </a:p>
              <a:p>
                <a:pPr marL="53975" indent="-53975">
                  <a:buFont typeface="Arial"/>
                  <a:buChar char="•"/>
                </a:pPr>
                <a:r>
                  <a:rPr lang="es-ES_tradnl" sz="800" dirty="0" smtClean="0"/>
                  <a:t>ICESP</a:t>
                </a:r>
              </a:p>
              <a:p>
                <a:pPr marL="53975" indent="-53975">
                  <a:buFont typeface="Arial"/>
                  <a:buChar char="•"/>
                </a:pPr>
                <a:r>
                  <a:rPr lang="es-ES_tradnl" sz="800" dirty="0" err="1" smtClean="0"/>
                  <a:t>Onco</a:t>
                </a:r>
                <a:r>
                  <a:rPr lang="es-ES_tradnl" sz="800" dirty="0" smtClean="0"/>
                  <a:t> Net</a:t>
                </a:r>
                <a:endParaRPr lang="es-ES_tradnl" sz="800" dirty="0"/>
              </a:p>
            </p:txBody>
          </p:sp>
          <p:grpSp>
            <p:nvGrpSpPr>
              <p:cNvPr id="9" name="Group 65"/>
              <p:cNvGrpSpPr>
                <a:grpSpLocks/>
              </p:cNvGrpSpPr>
              <p:nvPr/>
            </p:nvGrpSpPr>
            <p:grpSpPr bwMode="auto">
              <a:xfrm>
                <a:off x="7173794" y="2895600"/>
                <a:ext cx="751006" cy="606426"/>
                <a:chOff x="6804247" y="1047918"/>
                <a:chExt cx="864097" cy="648072"/>
              </a:xfrm>
            </p:grpSpPr>
            <p:pic>
              <p:nvPicPr>
                <p:cNvPr id="10" name="Picture 31" descr="http://www.camelcitydispatch.com/wp-content/uploads/2012/11/ist2_4610923-binary-code.jpg"/>
                <p:cNvPicPr>
                  <a:picLocks noChangeAspect="1" noChangeArrowheads="1"/>
                </p:cNvPicPr>
                <p:nvPr/>
              </p:nvPicPr>
              <p:blipFill>
                <a:blip r:embed="rId12" cstate="print"/>
                <a:srcRect/>
                <a:stretch>
                  <a:fillRect/>
                </a:stretch>
              </p:blipFill>
              <p:spPr bwMode="auto">
                <a:xfrm>
                  <a:off x="6804247" y="1047918"/>
                  <a:ext cx="864097" cy="648072"/>
                </a:xfrm>
                <a:prstGeom prst="rect">
                  <a:avLst/>
                </a:prstGeom>
                <a:noFill/>
                <a:ln w="9525">
                  <a:noFill/>
                  <a:miter lim="800000"/>
                  <a:headEnd/>
                  <a:tailEnd/>
                </a:ln>
              </p:spPr>
            </p:pic>
            <p:pic>
              <p:nvPicPr>
                <p:cNvPr id="11" name="Picture 4" descr="C:\Documents and Settings\avilar03\Local Settings\Temporary Internet Files\Content.IE5\GVC3KNDE\MC900432599[1].png"/>
                <p:cNvPicPr>
                  <a:picLocks noChangeAspect="1" noChangeArrowheads="1"/>
                </p:cNvPicPr>
                <p:nvPr/>
              </p:nvPicPr>
              <p:blipFill>
                <a:blip r:embed="rId6" cstate="print"/>
                <a:srcRect/>
                <a:stretch>
                  <a:fillRect/>
                </a:stretch>
              </p:blipFill>
              <p:spPr bwMode="auto">
                <a:xfrm>
                  <a:off x="6809534" y="1151174"/>
                  <a:ext cx="473297" cy="473297"/>
                </a:xfrm>
                <a:prstGeom prst="rect">
                  <a:avLst/>
                </a:prstGeom>
                <a:noFill/>
                <a:ln w="9525">
                  <a:noFill/>
                  <a:miter lim="800000"/>
                  <a:headEnd/>
                  <a:tailEnd/>
                </a:ln>
              </p:spPr>
            </p:pic>
            <p:pic>
              <p:nvPicPr>
                <p:cNvPr id="12" name="Picture 33" descr="http://www.abbottalk.com/static/cms_workspace/img/homepage/ALK_NewRotator_110826.jpg"/>
                <p:cNvPicPr>
                  <a:picLocks noChangeAspect="1" noChangeArrowheads="1"/>
                </p:cNvPicPr>
                <p:nvPr/>
              </p:nvPicPr>
              <p:blipFill>
                <a:blip r:embed="rId13" cstate="print"/>
                <a:srcRect l="67056" t="10114" r="10233" b="34261"/>
                <a:stretch>
                  <a:fillRect/>
                </a:stretch>
              </p:blipFill>
              <p:spPr bwMode="auto">
                <a:xfrm>
                  <a:off x="7236296" y="1191466"/>
                  <a:ext cx="360040" cy="377185"/>
                </a:xfrm>
                <a:prstGeom prst="rect">
                  <a:avLst/>
                </a:prstGeom>
                <a:noFill/>
                <a:ln w="9525">
                  <a:noFill/>
                  <a:miter lim="800000"/>
                  <a:headEnd/>
                  <a:tailEnd/>
                </a:ln>
              </p:spPr>
            </p:pic>
          </p:grpSp>
        </p:grpSp>
        <p:sp>
          <p:nvSpPr>
            <p:cNvPr id="41" name="Right Arrow 40"/>
            <p:cNvSpPr/>
            <p:nvPr/>
          </p:nvSpPr>
          <p:spPr>
            <a:xfrm rot="10800000">
              <a:off x="5447443" y="2440214"/>
              <a:ext cx="914400" cy="91440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p>
          </p:txBody>
        </p:sp>
        <p:sp>
          <p:nvSpPr>
            <p:cNvPr id="43" name="TextBox 42"/>
            <p:cNvSpPr txBox="1"/>
            <p:nvPr/>
          </p:nvSpPr>
          <p:spPr>
            <a:xfrm>
              <a:off x="6781800" y="4495800"/>
              <a:ext cx="1676400" cy="1754326"/>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buFont typeface="Arial" pitchFamily="34" charset="0"/>
                <a:buChar char="•"/>
              </a:pPr>
              <a:r>
                <a:rPr lang="en-US" sz="1200" dirty="0" err="1" smtClean="0"/>
                <a:t>Dx</a:t>
              </a:r>
              <a:r>
                <a:rPr lang="en-US" sz="1200" dirty="0" smtClean="0"/>
                <a:t>. NSCLC</a:t>
              </a:r>
            </a:p>
            <a:p>
              <a:pPr>
                <a:buFont typeface="Arial" pitchFamily="34" charset="0"/>
                <a:buChar char="•"/>
              </a:pPr>
              <a:r>
                <a:rPr lang="en-US" sz="1200" dirty="0" smtClean="0"/>
                <a:t>Ethics Committee</a:t>
              </a:r>
            </a:p>
            <a:p>
              <a:pPr>
                <a:buFont typeface="Arial" pitchFamily="34" charset="0"/>
                <a:buChar char="•"/>
              </a:pPr>
              <a:r>
                <a:rPr lang="en-US" sz="1200" dirty="0" smtClean="0"/>
                <a:t>Inform Consent</a:t>
              </a:r>
            </a:p>
            <a:p>
              <a:pPr>
                <a:buFont typeface="Arial" pitchFamily="34" charset="0"/>
                <a:buChar char="•"/>
              </a:pPr>
              <a:r>
                <a:rPr lang="en-US" sz="1200" dirty="0"/>
                <a:t>Clinical </a:t>
              </a:r>
              <a:r>
                <a:rPr lang="en-US" sz="1200" dirty="0" smtClean="0"/>
                <a:t>Data</a:t>
              </a:r>
            </a:p>
            <a:p>
              <a:pPr>
                <a:buFont typeface="Arial" pitchFamily="34" charset="0"/>
                <a:buChar char="•"/>
              </a:pPr>
              <a:r>
                <a:rPr lang="es-CL" sz="1200" dirty="0" err="1" smtClean="0"/>
                <a:t>Tissue</a:t>
              </a:r>
              <a:r>
                <a:rPr lang="es-CL" sz="1200" dirty="0" smtClean="0"/>
                <a:t> + </a:t>
              </a:r>
              <a:r>
                <a:rPr lang="es-CL" sz="1200" dirty="0" err="1" smtClean="0"/>
                <a:t>Blood</a:t>
              </a:r>
              <a:endParaRPr lang="en-US" sz="1200" dirty="0" smtClean="0"/>
            </a:p>
            <a:p>
              <a:pPr>
                <a:buFont typeface="Arial" pitchFamily="34" charset="0"/>
                <a:buChar char="•"/>
              </a:pPr>
              <a:r>
                <a:rPr lang="en-US" sz="1200" dirty="0" smtClean="0"/>
                <a:t>FISH + NGS + CTC</a:t>
              </a:r>
            </a:p>
            <a:p>
              <a:pPr>
                <a:buFont typeface="Arial" pitchFamily="34" charset="0"/>
                <a:buChar char="•"/>
              </a:pPr>
              <a:r>
                <a:rPr lang="en-US" sz="1200" dirty="0" smtClean="0"/>
                <a:t>Send DATA to Chile for processing </a:t>
              </a:r>
              <a:endParaRPr lang="en-US" sz="1200" dirty="0"/>
            </a:p>
            <a:p>
              <a:endParaRPr lang="en-US" sz="1200" dirty="0"/>
            </a:p>
          </p:txBody>
        </p:sp>
      </p:grpSp>
      <p:sp>
        <p:nvSpPr>
          <p:cNvPr id="45" name="Rectangle 44"/>
          <p:cNvSpPr/>
          <p:nvPr/>
        </p:nvSpPr>
        <p:spPr>
          <a:xfrm>
            <a:off x="304800" y="228600"/>
            <a:ext cx="5257800" cy="584775"/>
          </a:xfrm>
          <a:prstGeom prst="rect">
            <a:avLst/>
          </a:prstGeom>
        </p:spPr>
        <p:txBody>
          <a:bodyPr wrap="square">
            <a:spAutoFit/>
          </a:bodyPr>
          <a:lstStyle/>
          <a:p>
            <a:pPr lvl="0" fontAlgn="base">
              <a:spcBef>
                <a:spcPct val="0"/>
              </a:spcBef>
              <a:spcAft>
                <a:spcPct val="0"/>
              </a:spcAft>
            </a:pPr>
            <a:r>
              <a:rPr lang="en-US" sz="3200" dirty="0" smtClean="0">
                <a:solidFill>
                  <a:schemeClr val="bg1"/>
                </a:solidFill>
                <a:cs typeface="Arial" pitchFamily="34" charset="0"/>
              </a:rPr>
              <a:t>Cadena de Valor</a:t>
            </a:r>
            <a:endParaRPr lang="en-US" sz="3200" dirty="0">
              <a:solidFill>
                <a:schemeClr val="bg1"/>
              </a:solidFill>
              <a:latin typeface="Arial" pitchFamily="34" charset="0"/>
              <a:ea typeface="Calibri" pitchFamily="34" charset="0"/>
              <a:cs typeface="Times New Roman" pitchFamily="18" charset="0"/>
            </a:endParaRPr>
          </a:p>
        </p:txBody>
      </p:sp>
      <p:grpSp>
        <p:nvGrpSpPr>
          <p:cNvPr id="33" name="32 Grupo"/>
          <p:cNvGrpSpPr/>
          <p:nvPr/>
        </p:nvGrpSpPr>
        <p:grpSpPr>
          <a:xfrm>
            <a:off x="3733800" y="3145422"/>
            <a:ext cx="1752600" cy="2920038"/>
            <a:chOff x="3733800" y="3145422"/>
            <a:chExt cx="1752600" cy="2920038"/>
          </a:xfrm>
        </p:grpSpPr>
        <p:sp>
          <p:nvSpPr>
            <p:cNvPr id="44" name="TextBox 43"/>
            <p:cNvSpPr txBox="1"/>
            <p:nvPr/>
          </p:nvSpPr>
          <p:spPr>
            <a:xfrm>
              <a:off x="3733800" y="4495800"/>
              <a:ext cx="1752600" cy="1569660"/>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buFont typeface="Arial" pitchFamily="34" charset="0"/>
                <a:buChar char="•"/>
              </a:pPr>
              <a:r>
                <a:rPr lang="en-US" sz="1200" dirty="0" smtClean="0"/>
                <a:t>NGS, CTC, FISH</a:t>
              </a:r>
            </a:p>
            <a:p>
              <a:pPr>
                <a:buFont typeface="Arial" pitchFamily="34" charset="0"/>
                <a:buChar char="•"/>
              </a:pPr>
              <a:r>
                <a:rPr lang="en-US" sz="1200" dirty="0" smtClean="0"/>
                <a:t>Clinical DATA</a:t>
              </a:r>
            </a:p>
            <a:p>
              <a:pPr>
                <a:buFont typeface="Arial" pitchFamily="34" charset="0"/>
                <a:buChar char="•"/>
              </a:pPr>
              <a:r>
                <a:rPr lang="en-US" sz="1200" dirty="0" smtClean="0"/>
                <a:t>Bioinformatics</a:t>
              </a:r>
            </a:p>
            <a:p>
              <a:pPr>
                <a:buFont typeface="Arial" pitchFamily="34" charset="0"/>
                <a:buChar char="•"/>
              </a:pPr>
              <a:r>
                <a:rPr lang="en-US" sz="1200" dirty="0" smtClean="0"/>
                <a:t>INSPIRE Site</a:t>
              </a:r>
            </a:p>
            <a:p>
              <a:pPr>
                <a:buFont typeface="Arial" pitchFamily="34" charset="0"/>
                <a:buChar char="•"/>
              </a:pPr>
              <a:r>
                <a:rPr lang="en-US" sz="1200" dirty="0" smtClean="0"/>
                <a:t>Protocols must comply with various Regulatory Agencies standards</a:t>
              </a:r>
            </a:p>
          </p:txBody>
        </p:sp>
        <p:pic>
          <p:nvPicPr>
            <p:cNvPr id="84994"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926215" y="3145422"/>
              <a:ext cx="1241230" cy="93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42916609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ormAutofit/>
          </a:bodyPr>
          <a:lstStyle/>
          <a:p>
            <a:pPr algn="l"/>
            <a:r>
              <a:rPr lang="es-CL" sz="3200" b="0" dirty="0" smtClean="0">
                <a:latin typeface="Century Gothic" pitchFamily="34" charset="0"/>
              </a:rPr>
              <a:t>Líneas de Investigación</a:t>
            </a:r>
            <a:endParaRPr lang="es-CL" sz="3200" b="0" dirty="0">
              <a:latin typeface="Century Gothic" pitchFamily="34" charset="0"/>
            </a:endParaRPr>
          </a:p>
        </p:txBody>
      </p:sp>
      <p:sp>
        <p:nvSpPr>
          <p:cNvPr id="3" name="Text Placeholder 2"/>
          <p:cNvSpPr>
            <a:spLocks noGrp="1"/>
          </p:cNvSpPr>
          <p:nvPr>
            <p:ph type="body" sz="quarter" idx="4294967295"/>
          </p:nvPr>
        </p:nvSpPr>
        <p:spPr>
          <a:xfrm>
            <a:off x="503238" y="1268413"/>
            <a:ext cx="8640762" cy="720725"/>
          </a:xfrm>
        </p:spPr>
        <p:txBody>
          <a:bodyPr>
            <a:noAutofit/>
          </a:bodyPr>
          <a:lstStyle/>
          <a:p>
            <a:pPr algn="just">
              <a:buClr>
                <a:schemeClr val="accent6"/>
              </a:buClr>
            </a:pPr>
            <a:endParaRPr lang="es-CL" sz="2000" dirty="0" smtClean="0">
              <a:solidFill>
                <a:schemeClr val="accent1">
                  <a:lumMod val="10000"/>
                </a:schemeClr>
              </a:solidFill>
              <a:latin typeface="Century Gothic" pitchFamily="34" charset="0"/>
            </a:endParaRPr>
          </a:p>
          <a:p>
            <a:pPr algn="just">
              <a:buClr>
                <a:schemeClr val="accent6"/>
              </a:buClr>
            </a:pPr>
            <a:endParaRPr lang="es-CL" sz="2000" dirty="0" smtClean="0">
              <a:solidFill>
                <a:schemeClr val="accent1">
                  <a:lumMod val="10000"/>
                </a:schemeClr>
              </a:solidFill>
              <a:latin typeface="Century Gothic" pitchFamily="34" charset="0"/>
            </a:endParaRPr>
          </a:p>
          <a:p>
            <a:pPr algn="just">
              <a:buClr>
                <a:schemeClr val="accent6"/>
              </a:buClr>
            </a:pPr>
            <a:endParaRPr lang="es-CL" sz="2000" dirty="0" smtClean="0">
              <a:solidFill>
                <a:schemeClr val="accent1">
                  <a:lumMod val="10000"/>
                </a:schemeClr>
              </a:solidFill>
              <a:latin typeface="Century Gothic" pitchFamily="34" charset="0"/>
            </a:endParaRPr>
          </a:p>
          <a:p>
            <a:pPr lvl="1" algn="just">
              <a:buClr>
                <a:schemeClr val="accent6"/>
              </a:buClr>
            </a:pPr>
            <a:endParaRPr lang="es-CL" sz="2000" dirty="0" smtClean="0">
              <a:solidFill>
                <a:schemeClr val="accent1">
                  <a:lumMod val="10000"/>
                </a:schemeClr>
              </a:solidFill>
              <a:latin typeface="Century Gothic" pitchFamily="34" charset="0"/>
            </a:endParaRPr>
          </a:p>
          <a:p>
            <a:pPr algn="just">
              <a:buClr>
                <a:schemeClr val="accent6"/>
              </a:buClr>
            </a:pPr>
            <a:endParaRPr lang="es-CL" sz="2000" dirty="0" smtClean="0">
              <a:solidFill>
                <a:schemeClr val="accent1">
                  <a:lumMod val="10000"/>
                </a:schemeClr>
              </a:solidFill>
              <a:latin typeface="Century Gothic" pitchFamily="34" charset="0"/>
            </a:endParaRPr>
          </a:p>
          <a:p>
            <a:pPr algn="just">
              <a:buClr>
                <a:schemeClr val="accent6"/>
              </a:buClr>
            </a:pPr>
            <a:endParaRPr lang="en-US" sz="2000" dirty="0">
              <a:solidFill>
                <a:schemeClr val="accent1">
                  <a:lumMod val="10000"/>
                </a:schemeClr>
              </a:solidFill>
              <a:latin typeface="Century Gothic" pitchFamily="34" charset="0"/>
            </a:endParaRPr>
          </a:p>
        </p:txBody>
      </p:sp>
      <p:sp>
        <p:nvSpPr>
          <p:cNvPr id="6" name="TextBox 5"/>
          <p:cNvSpPr txBox="1"/>
          <p:nvPr/>
        </p:nvSpPr>
        <p:spPr>
          <a:xfrm>
            <a:off x="251520" y="1628800"/>
            <a:ext cx="8424936" cy="3512757"/>
          </a:xfrm>
          <a:prstGeom prst="rect">
            <a:avLst/>
          </a:prstGeom>
          <a:noFill/>
        </p:spPr>
        <p:txBody>
          <a:bodyPr wrap="square" rtlCol="0">
            <a:spAutoFit/>
          </a:bodyPr>
          <a:lstStyle/>
          <a:p>
            <a:pPr algn="just">
              <a:buClr>
                <a:srgbClr val="F79646"/>
              </a:buClr>
            </a:pPr>
            <a:endParaRPr lang="es-CL" sz="2000" b="1" dirty="0" smtClean="0">
              <a:solidFill>
                <a:srgbClr val="4F81BD">
                  <a:lumMod val="10000"/>
                </a:srgbClr>
              </a:solidFill>
              <a:latin typeface="Century Gothic" pitchFamily="34" charset="0"/>
            </a:endParaRPr>
          </a:p>
          <a:p>
            <a:pPr algn="just">
              <a:lnSpc>
                <a:spcPct val="115000"/>
              </a:lnSpc>
              <a:spcAft>
                <a:spcPts val="1000"/>
              </a:spcAft>
            </a:pPr>
            <a:r>
              <a:rPr lang="es-CL" b="1" dirty="0">
                <a:latin typeface="Calibri"/>
                <a:ea typeface="Calibri"/>
                <a:cs typeface="Times New Roman"/>
              </a:rPr>
              <a:t>2- Células Tumorales Circulantes en Sangre: “</a:t>
            </a:r>
            <a:r>
              <a:rPr lang="es-CL" dirty="0">
                <a:latin typeface="Calibri"/>
                <a:ea typeface="Calibri"/>
                <a:cs typeface="Times New Roman"/>
              </a:rPr>
              <a:t>Validar el uso de un prototipo experimental de detección de Células Tumorales Circulantes, como método de diagnóstico de cáncer pulmonar de células no pequeñas NSCLC.”</a:t>
            </a:r>
            <a:endParaRPr lang="en-US" dirty="0">
              <a:latin typeface="Calibri"/>
              <a:ea typeface="Calibri"/>
              <a:cs typeface="Times New Roman"/>
            </a:endParaRPr>
          </a:p>
          <a:p>
            <a:pPr algn="just">
              <a:lnSpc>
                <a:spcPct val="115000"/>
              </a:lnSpc>
              <a:spcAft>
                <a:spcPts val="1000"/>
              </a:spcAft>
            </a:pPr>
            <a:r>
              <a:rPr lang="es-CL" dirty="0">
                <a:latin typeface="Calibri"/>
                <a:ea typeface="Calibri"/>
                <a:cs typeface="Times New Roman"/>
              </a:rPr>
              <a:t>La primera etapa de este protocolo de investigación se desarrolló en el laboratorio de Siemens AG en Duluth, Georgia USA. En  donde se ha fabricado un prototipo experimental que busca detectar Células Tumorales Circulantes (CTC) en la sangre, de pacientes con diagnóstico de adenocarcinoma pulmonar, mediante la detección de los </a:t>
            </a:r>
            <a:r>
              <a:rPr lang="es-CL" dirty="0" err="1">
                <a:latin typeface="Calibri"/>
                <a:ea typeface="Calibri"/>
                <a:cs typeface="Times New Roman"/>
              </a:rPr>
              <a:t>biomarcadores</a:t>
            </a:r>
            <a:r>
              <a:rPr lang="es-CL" dirty="0">
                <a:latin typeface="Calibri"/>
                <a:ea typeface="Calibri"/>
                <a:cs typeface="Times New Roman"/>
              </a:rPr>
              <a:t> moleculares ALK y  5T4.</a:t>
            </a:r>
            <a:endParaRPr lang="en-US" dirty="0">
              <a:latin typeface="Calibri"/>
              <a:ea typeface="Calibri"/>
              <a:cs typeface="Times New Roman"/>
            </a:endParaRPr>
          </a:p>
          <a:p>
            <a:pPr algn="just"/>
            <a:endParaRPr lang="fr-FR" sz="2000" b="1" dirty="0">
              <a:solidFill>
                <a:prstClr val="black"/>
              </a:solidFill>
              <a:latin typeface="Century Gothic" panose="020B0502020202020204" pitchFamily="34" charset="0"/>
            </a:endParaRPr>
          </a:p>
        </p:txBody>
      </p:sp>
    </p:spTree>
    <p:extLst>
      <p:ext uri="{BB962C8B-B14F-4D97-AF65-F5344CB8AC3E}">
        <p14:creationId xmlns:p14="http://schemas.microsoft.com/office/powerpoint/2010/main" val="39142739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ormAutofit/>
          </a:bodyPr>
          <a:lstStyle/>
          <a:p>
            <a:pPr algn="l"/>
            <a:r>
              <a:rPr lang="es-CL" sz="3200" b="0" dirty="0" smtClean="0">
                <a:latin typeface="Century Gothic" pitchFamily="34" charset="0"/>
              </a:rPr>
              <a:t>Líneas de Investigación</a:t>
            </a:r>
            <a:endParaRPr lang="es-CL" sz="3200" b="0" dirty="0">
              <a:latin typeface="Century Gothic" pitchFamily="34" charset="0"/>
            </a:endParaRPr>
          </a:p>
        </p:txBody>
      </p:sp>
      <p:sp>
        <p:nvSpPr>
          <p:cNvPr id="3" name="Text Placeholder 2"/>
          <p:cNvSpPr>
            <a:spLocks noGrp="1"/>
          </p:cNvSpPr>
          <p:nvPr>
            <p:ph type="body" sz="quarter" idx="4294967295"/>
          </p:nvPr>
        </p:nvSpPr>
        <p:spPr>
          <a:xfrm>
            <a:off x="503238" y="1268413"/>
            <a:ext cx="8640762" cy="720725"/>
          </a:xfrm>
        </p:spPr>
        <p:txBody>
          <a:bodyPr>
            <a:noAutofit/>
          </a:bodyPr>
          <a:lstStyle/>
          <a:p>
            <a:pPr algn="just">
              <a:buClr>
                <a:schemeClr val="accent6"/>
              </a:buClr>
            </a:pPr>
            <a:endParaRPr lang="es-CL" sz="2000" dirty="0" smtClean="0">
              <a:solidFill>
                <a:schemeClr val="accent1">
                  <a:lumMod val="10000"/>
                </a:schemeClr>
              </a:solidFill>
              <a:latin typeface="Century Gothic" pitchFamily="34" charset="0"/>
            </a:endParaRPr>
          </a:p>
          <a:p>
            <a:pPr algn="just">
              <a:buClr>
                <a:schemeClr val="accent6"/>
              </a:buClr>
            </a:pPr>
            <a:endParaRPr lang="es-CL" sz="2000" dirty="0" smtClean="0">
              <a:solidFill>
                <a:schemeClr val="accent1">
                  <a:lumMod val="10000"/>
                </a:schemeClr>
              </a:solidFill>
              <a:latin typeface="Century Gothic" pitchFamily="34" charset="0"/>
            </a:endParaRPr>
          </a:p>
          <a:p>
            <a:pPr algn="just">
              <a:buClr>
                <a:schemeClr val="accent6"/>
              </a:buClr>
            </a:pPr>
            <a:endParaRPr lang="es-CL" sz="2000" dirty="0" smtClean="0">
              <a:solidFill>
                <a:schemeClr val="accent1">
                  <a:lumMod val="10000"/>
                </a:schemeClr>
              </a:solidFill>
              <a:latin typeface="Century Gothic" pitchFamily="34" charset="0"/>
            </a:endParaRPr>
          </a:p>
          <a:p>
            <a:pPr lvl="1" algn="just">
              <a:buClr>
                <a:schemeClr val="accent6"/>
              </a:buClr>
            </a:pPr>
            <a:endParaRPr lang="es-CL" sz="2000" dirty="0" smtClean="0">
              <a:solidFill>
                <a:schemeClr val="accent1">
                  <a:lumMod val="10000"/>
                </a:schemeClr>
              </a:solidFill>
              <a:latin typeface="Century Gothic" pitchFamily="34" charset="0"/>
            </a:endParaRPr>
          </a:p>
          <a:p>
            <a:pPr algn="just">
              <a:buClr>
                <a:schemeClr val="accent6"/>
              </a:buClr>
            </a:pPr>
            <a:endParaRPr lang="es-CL" sz="2000" dirty="0" smtClean="0">
              <a:solidFill>
                <a:schemeClr val="accent1">
                  <a:lumMod val="10000"/>
                </a:schemeClr>
              </a:solidFill>
              <a:latin typeface="Century Gothic" pitchFamily="34" charset="0"/>
            </a:endParaRPr>
          </a:p>
          <a:p>
            <a:pPr algn="just">
              <a:buClr>
                <a:schemeClr val="accent6"/>
              </a:buClr>
            </a:pPr>
            <a:endParaRPr lang="en-US" sz="2000" dirty="0">
              <a:solidFill>
                <a:schemeClr val="accent1">
                  <a:lumMod val="10000"/>
                </a:schemeClr>
              </a:solidFill>
              <a:latin typeface="Century Gothic" pitchFamily="34" charset="0"/>
            </a:endParaRPr>
          </a:p>
        </p:txBody>
      </p:sp>
      <p:sp>
        <p:nvSpPr>
          <p:cNvPr id="6" name="TextBox 5"/>
          <p:cNvSpPr txBox="1"/>
          <p:nvPr/>
        </p:nvSpPr>
        <p:spPr>
          <a:xfrm>
            <a:off x="323528" y="1412776"/>
            <a:ext cx="8424936" cy="5236562"/>
          </a:xfrm>
          <a:prstGeom prst="rect">
            <a:avLst/>
          </a:prstGeom>
          <a:noFill/>
        </p:spPr>
        <p:txBody>
          <a:bodyPr wrap="square" rtlCol="0">
            <a:spAutoFit/>
          </a:bodyPr>
          <a:lstStyle/>
          <a:p>
            <a:pPr algn="just">
              <a:lnSpc>
                <a:spcPct val="115000"/>
              </a:lnSpc>
              <a:spcAft>
                <a:spcPts val="1000"/>
              </a:spcAft>
            </a:pPr>
            <a:r>
              <a:rPr lang="es-CL" b="1" dirty="0" smtClean="0">
                <a:latin typeface="Calibri"/>
                <a:ea typeface="Calibri"/>
                <a:cs typeface="Times New Roman"/>
              </a:rPr>
              <a:t>3 </a:t>
            </a:r>
            <a:r>
              <a:rPr lang="es-CL" b="1" dirty="0">
                <a:latin typeface="Calibri"/>
                <a:ea typeface="Calibri"/>
                <a:cs typeface="Times New Roman"/>
              </a:rPr>
              <a:t>- NGS Plasma</a:t>
            </a:r>
            <a:endParaRPr lang="en-US" dirty="0">
              <a:latin typeface="Calibri"/>
              <a:ea typeface="Calibri"/>
              <a:cs typeface="Times New Roman"/>
            </a:endParaRPr>
          </a:p>
          <a:p>
            <a:pPr algn="just">
              <a:lnSpc>
                <a:spcPct val="115000"/>
              </a:lnSpc>
              <a:spcAft>
                <a:spcPts val="1000"/>
              </a:spcAft>
            </a:pPr>
            <a:r>
              <a:rPr lang="es-CL" dirty="0">
                <a:latin typeface="Calibri"/>
                <a:ea typeface="Calibri"/>
                <a:cs typeface="Times New Roman"/>
              </a:rPr>
              <a:t>El objetivo de esta línea de investigación es el desarrollo de un método diagnóstico menos invasivo para el diagnóstico del cáncer. El proyecto consiste en la detección de ácidos nucleicos libres en la sangre que permitan identificar alteraciones genómicas que puedan ser usadas como prueba diagnósticas en la práctica clínica.</a:t>
            </a:r>
            <a:endParaRPr lang="en-US" dirty="0">
              <a:latin typeface="Calibri"/>
              <a:ea typeface="Calibri"/>
              <a:cs typeface="Times New Roman"/>
            </a:endParaRPr>
          </a:p>
          <a:p>
            <a:pPr algn="just">
              <a:lnSpc>
                <a:spcPct val="115000"/>
              </a:lnSpc>
              <a:spcAft>
                <a:spcPts val="1000"/>
              </a:spcAft>
            </a:pPr>
            <a:r>
              <a:rPr lang="en-US" b="1" dirty="0">
                <a:latin typeface="Calibri"/>
                <a:ea typeface="Calibri"/>
                <a:cs typeface="Times New Roman"/>
              </a:rPr>
              <a:t>4- “</a:t>
            </a:r>
            <a:r>
              <a:rPr lang="en-US" b="1" i="1" dirty="0">
                <a:latin typeface="Calibri"/>
                <a:ea typeface="Calibri"/>
                <a:cs typeface="Times New Roman"/>
              </a:rPr>
              <a:t>The </a:t>
            </a:r>
            <a:r>
              <a:rPr lang="en-US" b="1" i="1" dirty="0" err="1">
                <a:latin typeface="Calibri"/>
                <a:ea typeface="Calibri"/>
                <a:cs typeface="Times New Roman"/>
              </a:rPr>
              <a:t>Cito</a:t>
            </a:r>
            <a:r>
              <a:rPr lang="en-US" b="1" i="1" dirty="0">
                <a:latin typeface="Calibri"/>
                <a:ea typeface="Calibri"/>
                <a:cs typeface="Times New Roman"/>
              </a:rPr>
              <a:t> Gastric Classification Project</a:t>
            </a:r>
            <a:r>
              <a:rPr lang="en-US" b="1" dirty="0">
                <a:latin typeface="Calibri"/>
                <a:ea typeface="Calibri"/>
                <a:cs typeface="Times New Roman"/>
              </a:rPr>
              <a:t>. </a:t>
            </a:r>
            <a:r>
              <a:rPr lang="es-CL" b="1" dirty="0">
                <a:latin typeface="Calibri"/>
                <a:ea typeface="Calibri"/>
                <a:cs typeface="Times New Roman"/>
              </a:rPr>
              <a:t>Identificación de subtipos moleculares asociados a pronóstico y predicción de respuesta a terapia en adenocarcinoma gástrico”. </a:t>
            </a:r>
            <a:endParaRPr lang="en-US" dirty="0">
              <a:latin typeface="Calibri"/>
              <a:ea typeface="Calibri"/>
              <a:cs typeface="Times New Roman"/>
            </a:endParaRPr>
          </a:p>
          <a:p>
            <a:pPr algn="just">
              <a:lnSpc>
                <a:spcPct val="115000"/>
              </a:lnSpc>
              <a:spcAft>
                <a:spcPts val="1000"/>
              </a:spcAft>
            </a:pPr>
            <a:r>
              <a:rPr lang="es-CL" dirty="0">
                <a:latin typeface="Calibri"/>
                <a:ea typeface="Calibri"/>
                <a:cs typeface="Times New Roman"/>
              </a:rPr>
              <a:t>Este estudio apunta a evaluar alteraciones genéticas relevantes para estratificar pacientes con adenocarcinoma gástrico en grupos de diferente pronóstico y evolución a tratamientos. Este proyecto incluye la secuenciación genómica de 200 muestras de tejido tumoral proveniente de </a:t>
            </a:r>
            <a:r>
              <a:rPr lang="es-CL" dirty="0" err="1">
                <a:latin typeface="Calibri"/>
                <a:ea typeface="Calibri"/>
                <a:cs typeface="Times New Roman"/>
              </a:rPr>
              <a:t>biobanco</a:t>
            </a:r>
            <a:r>
              <a:rPr lang="es-CL" dirty="0">
                <a:latin typeface="Calibri"/>
                <a:ea typeface="Calibri"/>
                <a:cs typeface="Times New Roman"/>
              </a:rPr>
              <a:t> para posteriormente realizar el análisis multivariado de la información clínica y los resultados moleculares. Esta iniciativa se realiza en colaboración con el Centro de Investigación </a:t>
            </a:r>
            <a:r>
              <a:rPr lang="es-CL" dirty="0" err="1">
                <a:latin typeface="Calibri"/>
                <a:ea typeface="Calibri"/>
                <a:cs typeface="Times New Roman"/>
              </a:rPr>
              <a:t>Traslacional</a:t>
            </a:r>
            <a:r>
              <a:rPr lang="es-CL" dirty="0">
                <a:latin typeface="Calibri"/>
                <a:ea typeface="Calibri"/>
                <a:cs typeface="Times New Roman"/>
              </a:rPr>
              <a:t> en Oncología de la Pontificia Universidad Católica, con presupuesto propio de Pfizer</a:t>
            </a:r>
            <a:r>
              <a:rPr lang="es-CL" dirty="0" smtClean="0">
                <a:latin typeface="Calibri"/>
                <a:ea typeface="Calibri"/>
                <a:cs typeface="Times New Roman"/>
              </a:rPr>
              <a:t>.</a:t>
            </a:r>
            <a:endParaRPr lang="en-US" dirty="0">
              <a:latin typeface="Calibri"/>
              <a:ea typeface="Calibri"/>
              <a:cs typeface="Times New Roman"/>
            </a:endParaRPr>
          </a:p>
        </p:txBody>
      </p:sp>
    </p:spTree>
    <p:extLst>
      <p:ext uri="{BB962C8B-B14F-4D97-AF65-F5344CB8AC3E}">
        <p14:creationId xmlns:p14="http://schemas.microsoft.com/office/powerpoint/2010/main" val="24555742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ormAutofit/>
          </a:bodyPr>
          <a:lstStyle/>
          <a:p>
            <a:pPr algn="l"/>
            <a:r>
              <a:rPr lang="es-CL" sz="3200" b="0" dirty="0" smtClean="0">
                <a:latin typeface="Century Gothic" pitchFamily="34" charset="0"/>
              </a:rPr>
              <a:t>Líneas de Investigación</a:t>
            </a:r>
            <a:endParaRPr lang="es-CL" sz="3200" b="0" dirty="0">
              <a:latin typeface="Century Gothic" pitchFamily="34" charset="0"/>
            </a:endParaRPr>
          </a:p>
        </p:txBody>
      </p:sp>
      <p:sp>
        <p:nvSpPr>
          <p:cNvPr id="3" name="Text Placeholder 2"/>
          <p:cNvSpPr>
            <a:spLocks noGrp="1"/>
          </p:cNvSpPr>
          <p:nvPr>
            <p:ph type="body" sz="quarter" idx="4294967295"/>
          </p:nvPr>
        </p:nvSpPr>
        <p:spPr>
          <a:xfrm>
            <a:off x="503238" y="1268413"/>
            <a:ext cx="8640762" cy="720725"/>
          </a:xfrm>
        </p:spPr>
        <p:txBody>
          <a:bodyPr>
            <a:noAutofit/>
          </a:bodyPr>
          <a:lstStyle/>
          <a:p>
            <a:pPr algn="just">
              <a:buClr>
                <a:schemeClr val="accent6"/>
              </a:buClr>
            </a:pPr>
            <a:endParaRPr lang="es-CL" sz="2000" dirty="0" smtClean="0">
              <a:solidFill>
                <a:schemeClr val="accent1">
                  <a:lumMod val="10000"/>
                </a:schemeClr>
              </a:solidFill>
              <a:latin typeface="Century Gothic" pitchFamily="34" charset="0"/>
            </a:endParaRPr>
          </a:p>
          <a:p>
            <a:pPr algn="just">
              <a:buClr>
                <a:schemeClr val="accent6"/>
              </a:buClr>
            </a:pPr>
            <a:endParaRPr lang="es-CL" sz="2000" dirty="0" smtClean="0">
              <a:solidFill>
                <a:schemeClr val="accent1">
                  <a:lumMod val="10000"/>
                </a:schemeClr>
              </a:solidFill>
              <a:latin typeface="Century Gothic" pitchFamily="34" charset="0"/>
            </a:endParaRPr>
          </a:p>
          <a:p>
            <a:pPr algn="just">
              <a:buClr>
                <a:schemeClr val="accent6"/>
              </a:buClr>
            </a:pPr>
            <a:endParaRPr lang="es-CL" sz="2000" dirty="0" smtClean="0">
              <a:solidFill>
                <a:schemeClr val="accent1">
                  <a:lumMod val="10000"/>
                </a:schemeClr>
              </a:solidFill>
              <a:latin typeface="Century Gothic" pitchFamily="34" charset="0"/>
            </a:endParaRPr>
          </a:p>
          <a:p>
            <a:pPr lvl="1" algn="just">
              <a:buClr>
                <a:schemeClr val="accent6"/>
              </a:buClr>
            </a:pPr>
            <a:endParaRPr lang="es-CL" sz="2000" dirty="0" smtClean="0">
              <a:solidFill>
                <a:schemeClr val="accent1">
                  <a:lumMod val="10000"/>
                </a:schemeClr>
              </a:solidFill>
              <a:latin typeface="Century Gothic" pitchFamily="34" charset="0"/>
            </a:endParaRPr>
          </a:p>
          <a:p>
            <a:pPr algn="just">
              <a:buClr>
                <a:schemeClr val="accent6"/>
              </a:buClr>
            </a:pPr>
            <a:endParaRPr lang="es-CL" sz="2000" dirty="0" smtClean="0">
              <a:solidFill>
                <a:schemeClr val="accent1">
                  <a:lumMod val="10000"/>
                </a:schemeClr>
              </a:solidFill>
              <a:latin typeface="Century Gothic" pitchFamily="34" charset="0"/>
            </a:endParaRPr>
          </a:p>
          <a:p>
            <a:pPr algn="just">
              <a:buClr>
                <a:schemeClr val="accent6"/>
              </a:buClr>
            </a:pPr>
            <a:endParaRPr lang="en-US" sz="2000" dirty="0">
              <a:solidFill>
                <a:schemeClr val="accent1">
                  <a:lumMod val="10000"/>
                </a:schemeClr>
              </a:solidFill>
              <a:latin typeface="Century Gothic" pitchFamily="34" charset="0"/>
            </a:endParaRPr>
          </a:p>
        </p:txBody>
      </p:sp>
      <p:sp>
        <p:nvSpPr>
          <p:cNvPr id="6" name="TextBox 5"/>
          <p:cNvSpPr txBox="1"/>
          <p:nvPr/>
        </p:nvSpPr>
        <p:spPr>
          <a:xfrm>
            <a:off x="323528" y="1628800"/>
            <a:ext cx="8424936" cy="2750240"/>
          </a:xfrm>
          <a:prstGeom prst="rect">
            <a:avLst/>
          </a:prstGeom>
          <a:noFill/>
        </p:spPr>
        <p:txBody>
          <a:bodyPr wrap="square" rtlCol="0">
            <a:spAutoFit/>
          </a:bodyPr>
          <a:lstStyle/>
          <a:p>
            <a:pPr algn="just">
              <a:lnSpc>
                <a:spcPct val="115000"/>
              </a:lnSpc>
              <a:spcAft>
                <a:spcPts val="1000"/>
              </a:spcAft>
            </a:pPr>
            <a:r>
              <a:rPr lang="es-CL" b="1" dirty="0">
                <a:latin typeface="Calibri"/>
                <a:ea typeface="Calibri"/>
                <a:cs typeface="Times New Roman"/>
              </a:rPr>
              <a:t>5. “ADAR. La adenosina desaminase de RNA (ADAR) promueve la progresión del cáncer de mama a través de la regulación de genes de ciclo celular y reparación del DNA”. </a:t>
            </a:r>
            <a:endParaRPr lang="en-US" dirty="0">
              <a:latin typeface="Calibri"/>
              <a:ea typeface="Calibri"/>
              <a:cs typeface="Times New Roman"/>
            </a:endParaRPr>
          </a:p>
          <a:p>
            <a:pPr algn="just">
              <a:lnSpc>
                <a:spcPct val="115000"/>
              </a:lnSpc>
              <a:spcAft>
                <a:spcPts val="1000"/>
              </a:spcAft>
            </a:pPr>
            <a:r>
              <a:rPr lang="es-CL" dirty="0">
                <a:latin typeface="Calibri"/>
                <a:ea typeface="Calibri"/>
                <a:cs typeface="Times New Roman"/>
              </a:rPr>
              <a:t>Este estudio busca definir a nivel clínico y preclínico el rol que juegan las modificaciones del RNA mensajero mediados por ADAR en la progresión del cáncer de mama. Este proyecto es financiado con aportes </a:t>
            </a:r>
            <a:r>
              <a:rPr lang="es-CL" dirty="0" err="1">
                <a:latin typeface="Calibri"/>
                <a:ea typeface="Calibri"/>
                <a:cs typeface="Times New Roman"/>
              </a:rPr>
              <a:t>Fondecyt</a:t>
            </a:r>
            <a:r>
              <a:rPr lang="es-CL" dirty="0">
                <a:latin typeface="Calibri"/>
                <a:ea typeface="Calibri"/>
                <a:cs typeface="Times New Roman"/>
              </a:rPr>
              <a:t> y se realiza en colaboración con el Centro de Investigación y Tratamiento del Cáncer de la Universidad de Chile, la Fundación Ciencia y Vida, y la Red de Investigación en Cáncer de Estados Unidos y Latinoamérica (USLACRN).</a:t>
            </a:r>
            <a:endParaRPr lang="en-US" dirty="0">
              <a:effectLst/>
              <a:latin typeface="Calibri"/>
              <a:ea typeface="Calibri"/>
              <a:cs typeface="Times New Roman"/>
            </a:endParaRPr>
          </a:p>
        </p:txBody>
      </p:sp>
    </p:spTree>
    <p:extLst>
      <p:ext uri="{BB962C8B-B14F-4D97-AF65-F5344CB8AC3E}">
        <p14:creationId xmlns:p14="http://schemas.microsoft.com/office/powerpoint/2010/main" val="33351338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146" name="Slide Number Placeholder 3"/>
          <p:cNvSpPr>
            <a:spLocks noGrp="1"/>
          </p:cNvSpPr>
          <p:nvPr>
            <p:ph type="sldNum" sz="quarter" idx="10"/>
          </p:nvPr>
        </p:nvSpPr>
        <p:spPr bwMode="auto">
          <a:xfrm>
            <a:off x="8788400" y="6581775"/>
            <a:ext cx="355600" cy="122238"/>
          </a:xfrm>
          <a:noFill/>
          <a:ln>
            <a:miter lim="800000"/>
            <a:headEnd/>
            <a:tailEnd/>
          </a:ln>
        </p:spPr>
        <p:txBody>
          <a:bodyPr wrap="square" numCol="1" anchorCtr="0" compatLnSpc="1">
            <a:prstTxWarp prst="textNoShape">
              <a:avLst/>
            </a:prstTxWarp>
          </a:bodyPr>
          <a:lstStyle/>
          <a:p>
            <a:pPr defTabSz="912813"/>
            <a:fld id="{66566507-FA6D-46B7-8130-A8B68EFBC4C2}" type="slidenum">
              <a:rPr lang="en-US" altLang="en-US" smtClean="0">
                <a:solidFill>
                  <a:prstClr val="white"/>
                </a:solidFill>
                <a:latin typeface="Arial" pitchFamily="34" charset="0"/>
                <a:cs typeface="Arial" pitchFamily="34" charset="0"/>
              </a:rPr>
              <a:pPr defTabSz="912813"/>
              <a:t>29</a:t>
            </a:fld>
            <a:endParaRPr lang="en-US" altLang="en-US" dirty="0" smtClean="0">
              <a:solidFill>
                <a:prstClr val="white"/>
              </a:solidFill>
              <a:latin typeface="Arial" pitchFamily="34" charset="0"/>
              <a:cs typeface="Arial" pitchFamily="34" charset="0"/>
            </a:endParaRPr>
          </a:p>
        </p:txBody>
      </p:sp>
      <p:pic>
        <p:nvPicPr>
          <p:cNvPr id="6147" name="Picture 36" descr="ReverseTitlePage_1"/>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6148" name="Rectangle 4"/>
          <p:cNvSpPr>
            <a:spLocks noChangeArrowheads="1"/>
          </p:cNvSpPr>
          <p:nvPr/>
        </p:nvSpPr>
        <p:spPr bwMode="auto">
          <a:xfrm>
            <a:off x="2586039" y="2590800"/>
            <a:ext cx="42862" cy="1219200"/>
          </a:xfrm>
          <a:prstGeom prst="rect">
            <a:avLst/>
          </a:prstGeom>
          <a:solidFill>
            <a:schemeClr val="bg1"/>
          </a:solidFill>
          <a:ln w="9525" algn="ctr">
            <a:noFill/>
            <a:round/>
            <a:headEnd/>
            <a:tailEnd/>
          </a:ln>
        </p:spPr>
        <p:txBody>
          <a:bodyPr wrap="none" anchor="ctr"/>
          <a:lstStyle/>
          <a:p>
            <a:pPr algn="ctr">
              <a:buClr>
                <a:srgbClr val="009900"/>
              </a:buClr>
              <a:buFont typeface="Arial" pitchFamily="34" charset="0"/>
              <a:buChar char="–"/>
            </a:pPr>
            <a:endParaRPr lang="pt-BR">
              <a:solidFill>
                <a:prstClr val="white"/>
              </a:solidFill>
            </a:endParaRPr>
          </a:p>
        </p:txBody>
      </p:sp>
      <p:pic>
        <p:nvPicPr>
          <p:cNvPr id="6150" name="Picture 8" descr="Pfizerwhite.png">
            <a:hlinkClick r:id="rId4" action="ppaction://hlinkfile"/>
          </p:cNvPr>
          <p:cNvPicPr>
            <a:picLocks noChangeAspect="1"/>
          </p:cNvPicPr>
          <p:nvPr/>
        </p:nvPicPr>
        <p:blipFill>
          <a:blip r:embed="rId5" cstate="print"/>
          <a:srcRect/>
          <a:stretch>
            <a:fillRect/>
          </a:stretch>
        </p:blipFill>
        <p:spPr bwMode="auto">
          <a:xfrm>
            <a:off x="685800" y="2743200"/>
            <a:ext cx="1208088" cy="750887"/>
          </a:xfrm>
          <a:prstGeom prst="rect">
            <a:avLst/>
          </a:prstGeom>
          <a:noFill/>
          <a:ln w="9525">
            <a:noFill/>
            <a:miter lim="800000"/>
            <a:headEnd/>
            <a:tailEnd/>
          </a:ln>
        </p:spPr>
      </p:pic>
      <p:sp>
        <p:nvSpPr>
          <p:cNvPr id="9" name="TextBox 6"/>
          <p:cNvSpPr txBox="1">
            <a:spLocks noChangeArrowheads="1"/>
          </p:cNvSpPr>
          <p:nvPr/>
        </p:nvSpPr>
        <p:spPr bwMode="auto">
          <a:xfrm>
            <a:off x="2667000" y="2636912"/>
            <a:ext cx="6477000" cy="1723549"/>
          </a:xfrm>
          <a:prstGeom prst="rect">
            <a:avLst/>
          </a:prstGeom>
          <a:noFill/>
          <a:ln w="9525">
            <a:noFill/>
            <a:miter lim="800000"/>
            <a:headEnd/>
            <a:tailEnd/>
          </a:ln>
        </p:spPr>
        <p:txBody>
          <a:bodyPr wrap="square">
            <a:spAutoFit/>
          </a:bodyPr>
          <a:lstStyle/>
          <a:p>
            <a:pPr>
              <a:lnSpc>
                <a:spcPct val="150000"/>
              </a:lnSpc>
              <a:buClr>
                <a:srgbClr val="F79646"/>
              </a:buClr>
            </a:pPr>
            <a:r>
              <a:rPr lang="en-US" sz="3600" dirty="0" err="1" smtClean="0">
                <a:solidFill>
                  <a:prstClr val="white"/>
                </a:solidFill>
                <a:latin typeface="Century Gothic" panose="020B0502020202020204" pitchFamily="34" charset="0"/>
              </a:rPr>
              <a:t>Construyendo</a:t>
            </a:r>
            <a:r>
              <a:rPr lang="en-US" sz="3600" dirty="0" smtClean="0">
                <a:solidFill>
                  <a:prstClr val="white"/>
                </a:solidFill>
                <a:latin typeface="Century Gothic" panose="020B0502020202020204" pitchFamily="34" charset="0"/>
              </a:rPr>
              <a:t> </a:t>
            </a:r>
            <a:r>
              <a:rPr lang="en-US" sz="3600" dirty="0" err="1" smtClean="0">
                <a:solidFill>
                  <a:prstClr val="white"/>
                </a:solidFill>
                <a:latin typeface="Century Gothic" panose="020B0502020202020204" pitchFamily="34" charset="0"/>
              </a:rPr>
              <a:t>Ecosistema</a:t>
            </a:r>
            <a:endParaRPr lang="en-US" sz="3600" dirty="0">
              <a:solidFill>
                <a:prstClr val="white"/>
              </a:solidFill>
              <a:latin typeface="Century Gothic" panose="020B0502020202020204" pitchFamily="34" charset="0"/>
            </a:endParaRPr>
          </a:p>
          <a:p>
            <a:pPr>
              <a:buClr>
                <a:srgbClr val="009900"/>
              </a:buClr>
              <a:buFont typeface="Arial" pitchFamily="34" charset="0"/>
              <a:buNone/>
            </a:pPr>
            <a:endParaRPr lang="en-US" sz="2800" dirty="0" smtClean="0">
              <a:solidFill>
                <a:prstClr val="white"/>
              </a:solidFill>
              <a:latin typeface="Century Gothic" panose="020B0502020202020204" pitchFamily="34" charset="0"/>
              <a:cs typeface="Arial" pitchFamily="34" charset="0"/>
            </a:endParaRPr>
          </a:p>
          <a:p>
            <a:pPr>
              <a:buClr>
                <a:srgbClr val="009900"/>
              </a:buClr>
              <a:buFont typeface="Arial" pitchFamily="34" charset="0"/>
              <a:buNone/>
            </a:pPr>
            <a:r>
              <a:rPr lang="en-US" sz="2400" dirty="0" smtClean="0">
                <a:solidFill>
                  <a:prstClr val="white"/>
                </a:solidFill>
                <a:latin typeface="Century Gothic" panose="020B0502020202020204" pitchFamily="34" charset="0"/>
                <a:cs typeface="Arial" pitchFamily="34" charset="0"/>
              </a:rPr>
              <a:t> </a:t>
            </a:r>
            <a:endParaRPr lang="en-US" sz="2400" dirty="0">
              <a:solidFill>
                <a:prstClr val="white"/>
              </a:solidFill>
              <a:latin typeface="Century Gothic" panose="020B0502020202020204" pitchFamily="34" charset="0"/>
              <a:cs typeface="Arial" pitchFamily="34" charset="0"/>
            </a:endParaRPr>
          </a:p>
        </p:txBody>
      </p:sp>
    </p:spTree>
    <p:extLst>
      <p:ext uri="{BB962C8B-B14F-4D97-AF65-F5344CB8AC3E}">
        <p14:creationId xmlns:p14="http://schemas.microsoft.com/office/powerpoint/2010/main" val="34043428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7715" y="84138"/>
            <a:ext cx="6802558" cy="711200"/>
          </a:xfrm>
        </p:spPr>
        <p:txBody>
          <a:bodyPr>
            <a:noAutofit/>
          </a:bodyPr>
          <a:lstStyle/>
          <a:p>
            <a:pPr algn="l"/>
            <a:r>
              <a:rPr lang="en-US" sz="3100" b="0" dirty="0" smtClean="0"/>
              <a:t>Platform: Research &amp; Development </a:t>
            </a:r>
            <a:endParaRPr lang="es-CL" sz="3100" b="0" dirty="0"/>
          </a:p>
        </p:txBody>
      </p:sp>
      <p:sp>
        <p:nvSpPr>
          <p:cNvPr id="4" name="TextBox 3"/>
          <p:cNvSpPr txBox="1"/>
          <p:nvPr/>
        </p:nvSpPr>
        <p:spPr>
          <a:xfrm>
            <a:off x="467544" y="1485900"/>
            <a:ext cx="4032448" cy="4532010"/>
          </a:xfrm>
          <a:prstGeom prst="rect">
            <a:avLst/>
          </a:prstGeom>
          <a:noFill/>
        </p:spPr>
        <p:txBody>
          <a:bodyPr wrap="square" lIns="0" tIns="0" rIns="0" bIns="0" rtlCol="0">
            <a:spAutoFit/>
          </a:bodyPr>
          <a:lstStyle/>
          <a:p>
            <a:r>
              <a:rPr lang="en-US" dirty="0" smtClean="0"/>
              <a:t>Historically, we have invested more than </a:t>
            </a:r>
            <a:r>
              <a:rPr lang="en-US" b="1" dirty="0" smtClean="0"/>
              <a:t>$7 billion </a:t>
            </a:r>
            <a:r>
              <a:rPr lang="en-US" dirty="0" smtClean="0"/>
              <a:t>a year toward developing safe and effective medicines. We work with more than </a:t>
            </a:r>
            <a:r>
              <a:rPr lang="en-US" b="1" dirty="0" smtClean="0"/>
              <a:t>250 partners </a:t>
            </a:r>
            <a:r>
              <a:rPr lang="en-US" dirty="0" smtClean="0"/>
              <a:t>in academia and industry.</a:t>
            </a:r>
          </a:p>
          <a:p>
            <a:endParaRPr lang="en-US" dirty="0" smtClean="0"/>
          </a:p>
          <a:p>
            <a:pPr>
              <a:spcAft>
                <a:spcPts val="900"/>
              </a:spcAft>
            </a:pPr>
            <a:r>
              <a:rPr lang="en-US" dirty="0" smtClean="0"/>
              <a:t>We have </a:t>
            </a:r>
            <a:r>
              <a:rPr lang="en-US" b="1" dirty="0" smtClean="0"/>
              <a:t>state-of-the-art research facilities </a:t>
            </a:r>
            <a:r>
              <a:rPr lang="en-US" dirty="0" smtClean="0"/>
              <a:t>in:</a:t>
            </a:r>
          </a:p>
          <a:p>
            <a:pPr marL="714375" indent="-174625">
              <a:spcAft>
                <a:spcPts val="900"/>
              </a:spcAft>
              <a:buClr>
                <a:srgbClr val="0093CF"/>
              </a:buClr>
              <a:buFont typeface="Wingdings" charset="2"/>
              <a:buChar char="§"/>
            </a:pPr>
            <a:r>
              <a:rPr lang="en-US" sz="1400" dirty="0" smtClean="0">
                <a:latin typeface="Arial" pitchFamily="34" charset="0"/>
                <a:cs typeface="Arial" pitchFamily="34" charset="0"/>
              </a:rPr>
              <a:t>California (La Jolla, San Francisco)</a:t>
            </a:r>
          </a:p>
          <a:p>
            <a:pPr marL="714375" indent="-174625">
              <a:spcAft>
                <a:spcPts val="900"/>
              </a:spcAft>
              <a:buClr>
                <a:srgbClr val="0093CF"/>
              </a:buClr>
              <a:buFont typeface="Wingdings" charset="2"/>
              <a:buChar char="§"/>
            </a:pPr>
            <a:r>
              <a:rPr lang="en-US" sz="1400" dirty="0" smtClean="0">
                <a:latin typeface="Arial" pitchFamily="34" charset="0"/>
                <a:cs typeface="Arial" pitchFamily="34" charset="0"/>
              </a:rPr>
              <a:t>China (Shanghai)</a:t>
            </a:r>
          </a:p>
          <a:p>
            <a:pPr marL="714375" indent="-174625">
              <a:spcAft>
                <a:spcPts val="900"/>
              </a:spcAft>
              <a:buClr>
                <a:srgbClr val="0093CF"/>
              </a:buClr>
              <a:buFont typeface="Wingdings" charset="2"/>
              <a:buChar char="§"/>
            </a:pPr>
            <a:r>
              <a:rPr lang="en-US" sz="1400" dirty="0" smtClean="0">
                <a:latin typeface="Arial" pitchFamily="34" charset="0"/>
                <a:cs typeface="Arial" pitchFamily="34" charset="0"/>
              </a:rPr>
              <a:t>Connecticut (Groton)</a:t>
            </a:r>
          </a:p>
          <a:p>
            <a:pPr marL="714375" indent="-174625">
              <a:spcAft>
                <a:spcPts val="900"/>
              </a:spcAft>
              <a:buClr>
                <a:srgbClr val="0093CF"/>
              </a:buClr>
              <a:buFont typeface="Wingdings" charset="2"/>
              <a:buChar char="§"/>
            </a:pPr>
            <a:r>
              <a:rPr lang="en-US" sz="1400" dirty="0" smtClean="0">
                <a:latin typeface="Arial" pitchFamily="34" charset="0"/>
                <a:cs typeface="Arial" pitchFamily="34" charset="0"/>
              </a:rPr>
              <a:t>Massachusetts (Andover, Cambridge)</a:t>
            </a:r>
          </a:p>
          <a:p>
            <a:pPr marL="714375" indent="-174625">
              <a:spcAft>
                <a:spcPts val="900"/>
              </a:spcAft>
              <a:buClr>
                <a:srgbClr val="0093CF"/>
              </a:buClr>
              <a:buFont typeface="Wingdings" charset="2"/>
              <a:buChar char="§"/>
            </a:pPr>
            <a:r>
              <a:rPr lang="en-US" sz="1400" dirty="0" smtClean="0">
                <a:latin typeface="Arial" pitchFamily="34" charset="0"/>
                <a:cs typeface="Arial" pitchFamily="34" charset="0"/>
              </a:rPr>
              <a:t>Missouri (St. Louis)</a:t>
            </a:r>
          </a:p>
          <a:p>
            <a:pPr marL="714375" indent="-174625">
              <a:spcAft>
                <a:spcPts val="900"/>
              </a:spcAft>
              <a:buClr>
                <a:srgbClr val="0093CF"/>
              </a:buClr>
              <a:buFont typeface="Wingdings" charset="2"/>
              <a:buChar char="§"/>
            </a:pPr>
            <a:r>
              <a:rPr lang="en-US" sz="1400" dirty="0" smtClean="0">
                <a:latin typeface="Arial" pitchFamily="34" charset="0"/>
                <a:cs typeface="Arial" pitchFamily="34" charset="0"/>
              </a:rPr>
              <a:t>New York (Pearl River)</a:t>
            </a:r>
          </a:p>
          <a:p>
            <a:pPr marL="714375" indent="-174625">
              <a:spcAft>
                <a:spcPts val="900"/>
              </a:spcAft>
              <a:buClr>
                <a:srgbClr val="0093CF"/>
              </a:buClr>
              <a:buFont typeface="Wingdings" charset="2"/>
              <a:buChar char="§"/>
            </a:pPr>
            <a:r>
              <a:rPr lang="en-US" sz="1400" dirty="0" smtClean="0">
                <a:latin typeface="Arial" pitchFamily="34" charset="0"/>
                <a:cs typeface="Arial" pitchFamily="34" charset="0"/>
              </a:rPr>
              <a:t>U.K.(Cambridge, Sandwich)</a:t>
            </a:r>
          </a:p>
        </p:txBody>
      </p:sp>
      <p:sp>
        <p:nvSpPr>
          <p:cNvPr id="5" name="TextBox 4"/>
          <p:cNvSpPr txBox="1"/>
          <p:nvPr/>
        </p:nvSpPr>
        <p:spPr>
          <a:xfrm>
            <a:off x="4972050" y="4547394"/>
            <a:ext cx="3479800" cy="1231106"/>
          </a:xfrm>
          <a:prstGeom prst="rect">
            <a:avLst/>
          </a:prstGeom>
          <a:noFill/>
        </p:spPr>
        <p:txBody>
          <a:bodyPr wrap="square" lIns="0" tIns="0" rIns="0" bIns="0" rtlCol="0">
            <a:spAutoFit/>
          </a:bodyPr>
          <a:lstStyle/>
          <a:p>
            <a:r>
              <a:rPr lang="en-US" b="1" dirty="0" smtClean="0"/>
              <a:t>We are committed to the safety of patients who take part in our trials, and uphold the highest ethical standards in all of our research initiatives.</a:t>
            </a:r>
          </a:p>
        </p:txBody>
      </p:sp>
      <p:pic>
        <p:nvPicPr>
          <p:cNvPr id="6" name="Picture 2"/>
          <p:cNvPicPr>
            <a:picLocks noChangeAspect="1" noChangeArrowheads="1"/>
          </p:cNvPicPr>
          <p:nvPr/>
        </p:nvPicPr>
        <p:blipFill>
          <a:blip r:embed="rId2" cstate="print"/>
          <a:srcRect/>
          <a:stretch>
            <a:fillRect/>
          </a:stretch>
        </p:blipFill>
        <p:spPr bwMode="auto">
          <a:xfrm>
            <a:off x="4922981" y="1485900"/>
            <a:ext cx="3528869" cy="2344615"/>
          </a:xfrm>
          <a:prstGeom prst="rect">
            <a:avLst/>
          </a:prstGeom>
          <a:noFill/>
          <a:ln w="9525">
            <a:noFill/>
            <a:miter lim="800000"/>
            <a:headEnd/>
            <a:tailEnd/>
          </a:ln>
          <a:effectLst/>
        </p:spPr>
      </p:pic>
    </p:spTree>
    <p:extLst>
      <p:ext uri="{BB962C8B-B14F-4D97-AF65-F5344CB8AC3E}">
        <p14:creationId xmlns:p14="http://schemas.microsoft.com/office/powerpoint/2010/main" val="42086272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5 Marcador de contenido"/>
          <p:cNvGraphicFramePr>
            <a:graphicFrameLocks/>
          </p:cNvGraphicFramePr>
          <p:nvPr>
            <p:extLst>
              <p:ext uri="{D42A27DB-BD31-4B8C-83A1-F6EECF244321}">
                <p14:modId xmlns:p14="http://schemas.microsoft.com/office/powerpoint/2010/main" val="130638949"/>
              </p:ext>
            </p:extLst>
          </p:nvPr>
        </p:nvGraphicFramePr>
        <p:xfrm>
          <a:off x="6047656" y="1844824"/>
          <a:ext cx="3096344" cy="28803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4 Diagrama"/>
          <p:cNvGraphicFramePr/>
          <p:nvPr>
            <p:extLst>
              <p:ext uri="{D42A27DB-BD31-4B8C-83A1-F6EECF244321}">
                <p14:modId xmlns:p14="http://schemas.microsoft.com/office/powerpoint/2010/main" val="1479760963"/>
              </p:ext>
            </p:extLst>
          </p:nvPr>
        </p:nvGraphicFramePr>
        <p:xfrm>
          <a:off x="5652120" y="4149080"/>
          <a:ext cx="3275856" cy="248484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6" name="5 Diagrama"/>
          <p:cNvGraphicFramePr/>
          <p:nvPr>
            <p:extLst>
              <p:ext uri="{D42A27DB-BD31-4B8C-83A1-F6EECF244321}">
                <p14:modId xmlns:p14="http://schemas.microsoft.com/office/powerpoint/2010/main" val="3916929477"/>
              </p:ext>
            </p:extLst>
          </p:nvPr>
        </p:nvGraphicFramePr>
        <p:xfrm>
          <a:off x="2771800" y="4005064"/>
          <a:ext cx="2952328" cy="268007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7" name="6 Diagrama"/>
          <p:cNvGraphicFramePr/>
          <p:nvPr>
            <p:extLst>
              <p:ext uri="{D42A27DB-BD31-4B8C-83A1-F6EECF244321}">
                <p14:modId xmlns:p14="http://schemas.microsoft.com/office/powerpoint/2010/main" val="4157368505"/>
              </p:ext>
            </p:extLst>
          </p:nvPr>
        </p:nvGraphicFramePr>
        <p:xfrm>
          <a:off x="395536" y="3789040"/>
          <a:ext cx="2592288" cy="2160240"/>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aphicFrame>
        <p:nvGraphicFramePr>
          <p:cNvPr id="8" name="7 Diagrama"/>
          <p:cNvGraphicFramePr/>
          <p:nvPr>
            <p:extLst>
              <p:ext uri="{D42A27DB-BD31-4B8C-83A1-F6EECF244321}">
                <p14:modId xmlns:p14="http://schemas.microsoft.com/office/powerpoint/2010/main" val="3336400193"/>
              </p:ext>
            </p:extLst>
          </p:nvPr>
        </p:nvGraphicFramePr>
        <p:xfrm>
          <a:off x="3275856" y="620688"/>
          <a:ext cx="2664296" cy="2160240"/>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graphicFrame>
        <p:nvGraphicFramePr>
          <p:cNvPr id="9" name="11 Marcador de contenido"/>
          <p:cNvGraphicFramePr>
            <a:graphicFrameLocks/>
          </p:cNvGraphicFramePr>
          <p:nvPr>
            <p:extLst>
              <p:ext uri="{D42A27DB-BD31-4B8C-83A1-F6EECF244321}">
                <p14:modId xmlns:p14="http://schemas.microsoft.com/office/powerpoint/2010/main" val="3488369002"/>
              </p:ext>
            </p:extLst>
          </p:nvPr>
        </p:nvGraphicFramePr>
        <p:xfrm>
          <a:off x="323528" y="764704"/>
          <a:ext cx="2746648" cy="2692896"/>
        </p:xfrm>
        <a:graphic>
          <a:graphicData uri="http://schemas.openxmlformats.org/drawingml/2006/diagram">
            <dgm:relIds xmlns:dgm="http://schemas.openxmlformats.org/drawingml/2006/diagram" xmlns:r="http://schemas.openxmlformats.org/officeDocument/2006/relationships" r:dm="rId27" r:lo="rId28" r:qs="rId29" r:cs="rId30"/>
          </a:graphicData>
        </a:graphic>
      </p:graphicFrame>
      <p:graphicFrame>
        <p:nvGraphicFramePr>
          <p:cNvPr id="10" name="9 Diagrama"/>
          <p:cNvGraphicFramePr/>
          <p:nvPr>
            <p:extLst>
              <p:ext uri="{D42A27DB-BD31-4B8C-83A1-F6EECF244321}">
                <p14:modId xmlns:p14="http://schemas.microsoft.com/office/powerpoint/2010/main" val="1711324982"/>
              </p:ext>
            </p:extLst>
          </p:nvPr>
        </p:nvGraphicFramePr>
        <p:xfrm>
          <a:off x="2627784" y="2420888"/>
          <a:ext cx="2255912" cy="1887984"/>
        </p:xfrm>
        <a:graphic>
          <a:graphicData uri="http://schemas.openxmlformats.org/drawingml/2006/diagram">
            <dgm:relIds xmlns:dgm="http://schemas.openxmlformats.org/drawingml/2006/diagram" xmlns:r="http://schemas.openxmlformats.org/officeDocument/2006/relationships" r:dm="rId32" r:lo="rId33" r:qs="rId34" r:cs="rId35"/>
          </a:graphicData>
        </a:graphic>
      </p:graphicFrame>
      <p:graphicFrame>
        <p:nvGraphicFramePr>
          <p:cNvPr id="11" name="10 Diagrama"/>
          <p:cNvGraphicFramePr/>
          <p:nvPr>
            <p:extLst>
              <p:ext uri="{D42A27DB-BD31-4B8C-83A1-F6EECF244321}">
                <p14:modId xmlns:p14="http://schemas.microsoft.com/office/powerpoint/2010/main" val="276224624"/>
              </p:ext>
            </p:extLst>
          </p:nvPr>
        </p:nvGraphicFramePr>
        <p:xfrm>
          <a:off x="6019687" y="0"/>
          <a:ext cx="2799928" cy="2367880"/>
        </p:xfrm>
        <a:graphic>
          <a:graphicData uri="http://schemas.openxmlformats.org/drawingml/2006/diagram">
            <dgm:relIds xmlns:dgm="http://schemas.openxmlformats.org/drawingml/2006/diagram" xmlns:r="http://schemas.openxmlformats.org/officeDocument/2006/relationships" r:dm="rId37" r:lo="rId38" r:qs="rId39" r:cs="rId40"/>
          </a:graphicData>
        </a:graphic>
      </p:graphicFrame>
      <p:graphicFrame>
        <p:nvGraphicFramePr>
          <p:cNvPr id="12" name="11 Diagrama"/>
          <p:cNvGraphicFramePr/>
          <p:nvPr>
            <p:extLst>
              <p:ext uri="{D42A27DB-BD31-4B8C-83A1-F6EECF244321}">
                <p14:modId xmlns:p14="http://schemas.microsoft.com/office/powerpoint/2010/main" val="2232211240"/>
              </p:ext>
            </p:extLst>
          </p:nvPr>
        </p:nvGraphicFramePr>
        <p:xfrm>
          <a:off x="4211960" y="2564904"/>
          <a:ext cx="2255912" cy="1887984"/>
        </p:xfrm>
        <a:graphic>
          <a:graphicData uri="http://schemas.openxmlformats.org/drawingml/2006/diagram">
            <dgm:relIds xmlns:dgm="http://schemas.openxmlformats.org/drawingml/2006/diagram" xmlns:r="http://schemas.openxmlformats.org/officeDocument/2006/relationships" r:dm="rId42" r:lo="rId43" r:qs="rId44" r:cs="rId45"/>
          </a:graphicData>
        </a:graphic>
      </p:graphicFrame>
      <p:sp>
        <p:nvSpPr>
          <p:cNvPr id="2" name="1 Título"/>
          <p:cNvSpPr>
            <a:spLocks noGrp="1"/>
          </p:cNvSpPr>
          <p:nvPr>
            <p:ph type="title"/>
          </p:nvPr>
        </p:nvSpPr>
        <p:spPr>
          <a:xfrm>
            <a:off x="35497" y="44624"/>
            <a:ext cx="4608512" cy="569563"/>
          </a:xfrm>
        </p:spPr>
        <p:txBody>
          <a:bodyPr/>
          <a:lstStyle/>
          <a:p>
            <a:r>
              <a:rPr lang="es-CL" b="0" dirty="0"/>
              <a:t>R</a:t>
            </a:r>
            <a:r>
              <a:rPr lang="es-CL" b="0" dirty="0" smtClean="0"/>
              <a:t>edes de colaboración</a:t>
            </a:r>
            <a:endParaRPr lang="en-US" b="0" dirty="0"/>
          </a:p>
        </p:txBody>
      </p:sp>
    </p:spTree>
    <p:extLst>
      <p:ext uri="{BB962C8B-B14F-4D97-AF65-F5344CB8AC3E}">
        <p14:creationId xmlns:p14="http://schemas.microsoft.com/office/powerpoint/2010/main" val="42309657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Graphic spid="5" grpId="0">
        <p:bldAsOne/>
      </p:bldGraphic>
      <p:bldGraphic spid="6" grpId="0">
        <p:bldAsOne/>
      </p:bldGraphic>
      <p:bldGraphic spid="7" grpId="0">
        <p:bldAsOne/>
      </p:bldGraphic>
      <p:bldGraphic spid="8" grpId="0">
        <p:bldAsOne/>
      </p:bldGraphic>
      <p:bldGraphic spid="9" grpId="0">
        <p:bldAsOne/>
      </p:bldGraphic>
      <p:bldGraphic spid="10" grpId="0">
        <p:bldAsOne/>
      </p:bldGraphic>
      <p:bldGraphic spid="11" grpId="0">
        <p:bldAsOne/>
      </p:bldGraphic>
      <p:bldGraphic spid="12" grpId="0">
        <p:bldAsOne/>
      </p:bldGraphic>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7714" y="84138"/>
            <a:ext cx="7547429" cy="824582"/>
          </a:xfrm>
        </p:spPr>
        <p:txBody>
          <a:bodyPr anchor="ctr"/>
          <a:lstStyle/>
          <a:p>
            <a:pPr algn="l"/>
            <a:r>
              <a:rPr lang="es-CL" sz="3600" b="0" dirty="0" smtClean="0">
                <a:solidFill>
                  <a:schemeClr val="bg1"/>
                </a:solidFill>
                <a:latin typeface="Century Gothic" panose="020B0502020202020204" pitchFamily="34" charset="0"/>
              </a:rPr>
              <a:t>Acuerdos Estratégicos</a:t>
            </a:r>
            <a:endParaRPr lang="es-CL" sz="3600" b="0" dirty="0">
              <a:solidFill>
                <a:schemeClr val="bg1"/>
              </a:solidFill>
              <a:latin typeface="Century Gothic" panose="020B0502020202020204" pitchFamily="34" charset="0"/>
            </a:endParaRPr>
          </a:p>
        </p:txBody>
      </p:sp>
      <p:sp>
        <p:nvSpPr>
          <p:cNvPr id="2" name="Content Placeholder 1"/>
          <p:cNvSpPr>
            <a:spLocks noGrp="1"/>
          </p:cNvSpPr>
          <p:nvPr>
            <p:ph idx="4294967295"/>
          </p:nvPr>
        </p:nvSpPr>
        <p:spPr>
          <a:xfrm>
            <a:off x="899592" y="1196975"/>
            <a:ext cx="5184576" cy="3027050"/>
          </a:xfrm>
          <a:solidFill>
            <a:schemeClr val="bg1"/>
          </a:solidFill>
        </p:spPr>
        <p:txBody>
          <a:bodyPr/>
          <a:lstStyle/>
          <a:p>
            <a:pPr algn="just">
              <a:buClr>
                <a:srgbClr val="FF9933"/>
              </a:buClr>
              <a:buFont typeface="Arial" panose="020B0604020202020204" pitchFamily="34" charset="0"/>
              <a:buChar char="•"/>
            </a:pPr>
            <a:endParaRPr lang="es-CL" sz="2000" b="0" kern="1200" dirty="0" smtClean="0">
              <a:solidFill>
                <a:srgbClr val="080808"/>
              </a:solidFill>
              <a:latin typeface="Century Gothic" panose="020B0502020202020204" pitchFamily="34" charset="0"/>
            </a:endParaRPr>
          </a:p>
          <a:p>
            <a:pPr algn="just">
              <a:buClr>
                <a:srgbClr val="FF9933"/>
              </a:buClr>
              <a:buFont typeface="Arial" panose="020B0604020202020204" pitchFamily="34" charset="0"/>
              <a:buChar char="•"/>
            </a:pPr>
            <a:r>
              <a:rPr lang="es-CL" sz="2000" b="0" kern="1200" dirty="0" err="1" smtClean="0">
                <a:solidFill>
                  <a:srgbClr val="080808"/>
                </a:solidFill>
                <a:latin typeface="Century Gothic" panose="020B0502020202020204" pitchFamily="34" charset="0"/>
              </a:rPr>
              <a:t>MoU</a:t>
            </a:r>
            <a:r>
              <a:rPr lang="es-CL" sz="2000" b="0" kern="1200" dirty="0" smtClean="0">
                <a:solidFill>
                  <a:srgbClr val="080808"/>
                </a:solidFill>
                <a:latin typeface="Century Gothic" panose="020B0502020202020204" pitchFamily="34" charset="0"/>
              </a:rPr>
              <a:t> Pontificia </a:t>
            </a:r>
            <a:r>
              <a:rPr lang="es-CL" sz="2000" b="0" kern="1200" dirty="0">
                <a:solidFill>
                  <a:srgbClr val="080808"/>
                </a:solidFill>
                <a:latin typeface="Century Gothic" panose="020B0502020202020204" pitchFamily="34" charset="0"/>
              </a:rPr>
              <a:t>Universidad </a:t>
            </a:r>
            <a:r>
              <a:rPr lang="es-CL" sz="2000" b="0" kern="1200" dirty="0" smtClean="0">
                <a:solidFill>
                  <a:srgbClr val="080808"/>
                </a:solidFill>
                <a:latin typeface="Century Gothic" panose="020B0502020202020204" pitchFamily="34" charset="0"/>
              </a:rPr>
              <a:t>Católica</a:t>
            </a:r>
            <a:endParaRPr lang="es-CL" sz="800" kern="1200" dirty="0">
              <a:solidFill>
                <a:srgbClr val="080808"/>
              </a:solidFill>
              <a:latin typeface="Century Gothic" panose="020B0502020202020204" pitchFamily="34" charset="0"/>
              <a:ea typeface="+mn-ea"/>
            </a:endParaRPr>
          </a:p>
          <a:p>
            <a:pPr algn="just">
              <a:buClr>
                <a:srgbClr val="FF9933"/>
              </a:buClr>
              <a:buFont typeface="Arial" panose="020B0604020202020204" pitchFamily="34" charset="0"/>
              <a:buChar char="•"/>
            </a:pPr>
            <a:r>
              <a:rPr lang="es-CL" sz="2000" b="0" kern="1200" dirty="0" err="1">
                <a:solidFill>
                  <a:srgbClr val="080808"/>
                </a:solidFill>
                <a:latin typeface="Century Gothic" panose="020B0502020202020204" pitchFamily="34" charset="0"/>
              </a:rPr>
              <a:t>MoU</a:t>
            </a:r>
            <a:r>
              <a:rPr lang="es-CL" sz="2000" b="0" kern="1200" dirty="0">
                <a:solidFill>
                  <a:srgbClr val="080808"/>
                </a:solidFill>
                <a:latin typeface="Century Gothic" panose="020B0502020202020204" pitchFamily="34" charset="0"/>
              </a:rPr>
              <a:t> </a:t>
            </a:r>
            <a:r>
              <a:rPr lang="es-CL" sz="2000" b="0" kern="1200" dirty="0" smtClean="0">
                <a:solidFill>
                  <a:srgbClr val="080808"/>
                </a:solidFill>
                <a:latin typeface="Century Gothic" panose="020B0502020202020204" pitchFamily="34" charset="0"/>
              </a:rPr>
              <a:t>Universidad Mayor</a:t>
            </a:r>
            <a:endParaRPr lang="es-CL" sz="2000" b="0" kern="1200" dirty="0">
              <a:solidFill>
                <a:srgbClr val="080808"/>
              </a:solidFill>
              <a:latin typeface="Century Gothic" panose="020B0502020202020204" pitchFamily="34" charset="0"/>
            </a:endParaRPr>
          </a:p>
          <a:p>
            <a:pPr algn="just">
              <a:buClr>
                <a:srgbClr val="FF9933"/>
              </a:buClr>
              <a:buFont typeface="Arial" panose="020B0604020202020204" pitchFamily="34" charset="0"/>
              <a:buChar char="•"/>
            </a:pPr>
            <a:r>
              <a:rPr lang="es-CL" sz="2000" b="0" kern="1200" dirty="0" err="1" smtClean="0">
                <a:solidFill>
                  <a:srgbClr val="080808"/>
                </a:solidFill>
                <a:latin typeface="Century Gothic" panose="020B0502020202020204" pitchFamily="34" charset="0"/>
              </a:rPr>
              <a:t>MoU</a:t>
            </a:r>
            <a:r>
              <a:rPr lang="es-CL" sz="2000" b="0" kern="1200" dirty="0" smtClean="0">
                <a:solidFill>
                  <a:srgbClr val="080808"/>
                </a:solidFill>
                <a:latin typeface="Century Gothic" panose="020B0502020202020204" pitchFamily="34" charset="0"/>
              </a:rPr>
              <a:t> Universidad Andres Bello</a:t>
            </a:r>
          </a:p>
          <a:p>
            <a:pPr algn="just">
              <a:buClr>
                <a:srgbClr val="FF9933"/>
              </a:buClr>
              <a:buFont typeface="Arial" panose="020B0604020202020204" pitchFamily="34" charset="0"/>
              <a:buChar char="•"/>
            </a:pPr>
            <a:r>
              <a:rPr lang="es-CL" sz="2000" b="0" kern="1200" dirty="0" smtClean="0">
                <a:solidFill>
                  <a:srgbClr val="080808"/>
                </a:solidFill>
                <a:latin typeface="Century Gothic" panose="020B0502020202020204" pitchFamily="34" charset="0"/>
              </a:rPr>
              <a:t>Universidad de Chile</a:t>
            </a:r>
          </a:p>
          <a:p>
            <a:pPr algn="just">
              <a:buClr>
                <a:srgbClr val="FF9933"/>
              </a:buClr>
              <a:buFont typeface="Arial" panose="020B0604020202020204" pitchFamily="34" charset="0"/>
              <a:buChar char="•"/>
            </a:pPr>
            <a:r>
              <a:rPr lang="es-CL" sz="2000" b="0" kern="1200" dirty="0" smtClean="0">
                <a:solidFill>
                  <a:srgbClr val="080808"/>
                </a:solidFill>
                <a:latin typeface="Century Gothic" panose="020B0502020202020204" pitchFamily="34" charset="0"/>
              </a:rPr>
              <a:t>Inst. Nacional del Tórax</a:t>
            </a:r>
          </a:p>
          <a:p>
            <a:pPr algn="just">
              <a:buClr>
                <a:srgbClr val="FF9933"/>
              </a:buClr>
              <a:buFont typeface="Arial" panose="020B0604020202020204" pitchFamily="34" charset="0"/>
              <a:buChar char="•"/>
            </a:pPr>
            <a:r>
              <a:rPr lang="es-CL" sz="2000" b="0" kern="1200" dirty="0" smtClean="0">
                <a:solidFill>
                  <a:srgbClr val="080808"/>
                </a:solidFill>
                <a:latin typeface="Century Gothic" panose="020B0502020202020204" pitchFamily="34" charset="0"/>
              </a:rPr>
              <a:t>AC Camargo</a:t>
            </a:r>
          </a:p>
          <a:p>
            <a:pPr algn="just">
              <a:buClr>
                <a:srgbClr val="FF9933"/>
              </a:buClr>
              <a:buFont typeface="Arial" panose="020B0604020202020204" pitchFamily="34" charset="0"/>
              <a:buChar char="•"/>
            </a:pPr>
            <a:r>
              <a:rPr lang="es-CL" sz="2000" b="0" kern="1200" dirty="0" smtClean="0">
                <a:solidFill>
                  <a:srgbClr val="080808"/>
                </a:solidFill>
                <a:latin typeface="Century Gothic" panose="020B0502020202020204" pitchFamily="34" charset="0"/>
              </a:rPr>
              <a:t>ICESP</a:t>
            </a:r>
          </a:p>
        </p:txBody>
      </p:sp>
      <p:pic>
        <p:nvPicPr>
          <p:cNvPr id="4" name="Picture 2" descr="Universidad Nacional de Colombia sede MedellÃ­n "/>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06775" y="1556792"/>
            <a:ext cx="982617" cy="1410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http://escudouchile.files.wordpress.com/2012/05/escudo-universidad-de-chile-lineal-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16216" y="3212976"/>
            <a:ext cx="1963737" cy="162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descr="https://lh5.googleusercontent.com/-V-bxld0fTX0/AAAAAAAAAAI/AAAAAAAAGeo/ieW2YI7KbnQ/s120-c/photo.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02534" y="5083183"/>
            <a:ext cx="1391098" cy="1391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4" descr="torax"/>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51720" y="4166888"/>
            <a:ext cx="1871837" cy="1337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6" descr="andresbell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79054" y="3307045"/>
            <a:ext cx="1949158" cy="1434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18" name="Picture 2" descr="http://tse1.mm.bing.net/th?&amp;id=OIP.Ma4deb1aa587b019bbd5a0e9c08d097cco0&amp;w=170&amp;h=118&amp;c=0&amp;pid=1.9&amp;rs=0&amp;p=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44008" y="5217749"/>
            <a:ext cx="1619250" cy="1123950"/>
          </a:xfrm>
          <a:prstGeom prst="rect">
            <a:avLst/>
          </a:prstGeom>
          <a:noFill/>
          <a:extLst>
            <a:ext uri="{909E8E84-426E-40dd-AFC4-6F175D3DCCD1}">
              <a14:hiddenFill xmlns:a14="http://schemas.microsoft.com/office/drawing/2010/main">
                <a:solidFill>
                  <a:srgbClr val="FFFFFF"/>
                </a:solidFill>
              </a14:hiddenFill>
            </a:ext>
          </a:extLst>
        </p:spPr>
      </p:pic>
      <p:pic>
        <p:nvPicPr>
          <p:cNvPr id="86020" name="Picture 4" descr="http://jornaljoseensenews.com.br/portal/wp-content/uploads/2014/11/unnamedc5677.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624776" y="5733256"/>
            <a:ext cx="2446784" cy="6084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37551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8"/>
          <p:cNvGrpSpPr/>
          <p:nvPr/>
        </p:nvGrpSpPr>
        <p:grpSpPr>
          <a:xfrm>
            <a:off x="107504" y="1628800"/>
            <a:ext cx="4608512" cy="2681749"/>
            <a:chOff x="1331640" y="2132856"/>
            <a:chExt cx="6984776" cy="3672408"/>
          </a:xfrm>
        </p:grpSpPr>
        <p:pic>
          <p:nvPicPr>
            <p:cNvPr id="31" name="Picture 30"/>
            <p:cNvPicPr>
              <a:picLocks noChangeAspect="1" noChangeArrowheads="1"/>
            </p:cNvPicPr>
            <p:nvPr/>
          </p:nvPicPr>
          <p:blipFill>
            <a:blip r:embed="rId3" cstate="print"/>
            <a:srcRect l="31100" t="36350" r="18697" b="15351"/>
            <a:stretch>
              <a:fillRect/>
            </a:stretch>
          </p:blipFill>
          <p:spPr bwMode="auto">
            <a:xfrm>
              <a:off x="2195736" y="2492896"/>
              <a:ext cx="6120680" cy="3312368"/>
            </a:xfrm>
            <a:prstGeom prst="rect">
              <a:avLst/>
            </a:prstGeom>
            <a:noFill/>
            <a:ln w="9525">
              <a:noFill/>
              <a:miter lim="800000"/>
              <a:headEnd/>
              <a:tailEnd/>
            </a:ln>
          </p:spPr>
        </p:pic>
        <p:pic>
          <p:nvPicPr>
            <p:cNvPr id="32" name="Picture 2"/>
            <p:cNvPicPr>
              <a:picLocks noChangeAspect="1" noChangeArrowheads="1"/>
            </p:cNvPicPr>
            <p:nvPr/>
          </p:nvPicPr>
          <p:blipFill>
            <a:blip r:embed="rId4" cstate="print"/>
            <a:srcRect l="23916" t="31100" r="54231" b="43700"/>
            <a:stretch>
              <a:fillRect/>
            </a:stretch>
          </p:blipFill>
          <p:spPr bwMode="auto">
            <a:xfrm>
              <a:off x="1331640" y="2132856"/>
              <a:ext cx="2664296" cy="1728192"/>
            </a:xfrm>
            <a:prstGeom prst="rect">
              <a:avLst/>
            </a:prstGeom>
            <a:noFill/>
            <a:ln w="9525">
              <a:noFill/>
              <a:miter lim="800000"/>
              <a:headEnd/>
              <a:tailEnd/>
            </a:ln>
          </p:spPr>
        </p:pic>
        <p:pic>
          <p:nvPicPr>
            <p:cNvPr id="33" name="Picture 32"/>
            <p:cNvPicPr>
              <a:picLocks noChangeAspect="1" noChangeArrowheads="1"/>
            </p:cNvPicPr>
            <p:nvPr/>
          </p:nvPicPr>
          <p:blipFill>
            <a:blip r:embed="rId5" cstate="print"/>
            <a:srcRect l="42322" t="40550" r="45275" b="45800"/>
            <a:stretch>
              <a:fillRect/>
            </a:stretch>
          </p:blipFill>
          <p:spPr bwMode="auto">
            <a:xfrm>
              <a:off x="3635896" y="2780928"/>
              <a:ext cx="1512168" cy="936104"/>
            </a:xfrm>
            <a:prstGeom prst="rect">
              <a:avLst/>
            </a:prstGeom>
            <a:noFill/>
            <a:ln w="9525">
              <a:noFill/>
              <a:miter lim="800000"/>
              <a:headEnd/>
              <a:tailEnd/>
            </a:ln>
          </p:spPr>
        </p:pic>
      </p:grpSp>
      <p:sp>
        <p:nvSpPr>
          <p:cNvPr id="4" name="Text Placeholder 3"/>
          <p:cNvSpPr>
            <a:spLocks noGrp="1"/>
          </p:cNvSpPr>
          <p:nvPr>
            <p:ph type="body" sz="quarter" idx="4294967295"/>
          </p:nvPr>
        </p:nvSpPr>
        <p:spPr>
          <a:xfrm>
            <a:off x="4859338" y="1406525"/>
            <a:ext cx="4284662" cy="2382838"/>
          </a:xfrm>
        </p:spPr>
        <p:txBody>
          <a:bodyPr>
            <a:normAutofit/>
          </a:bodyPr>
          <a:lstStyle/>
          <a:p>
            <a:pPr marL="0" indent="0" algn="just">
              <a:buClr>
                <a:schemeClr val="accent6"/>
              </a:buClr>
              <a:buNone/>
            </a:pPr>
            <a:endParaRPr lang="es-CL" sz="1900" dirty="0">
              <a:solidFill>
                <a:srgbClr val="080808"/>
              </a:solidFill>
              <a:latin typeface="Arial"/>
              <a:cs typeface="Arial"/>
            </a:endParaRPr>
          </a:p>
          <a:p>
            <a:pPr marL="0" indent="0" algn="just">
              <a:buClr>
                <a:schemeClr val="accent6"/>
              </a:buClr>
              <a:buNone/>
            </a:pPr>
            <a:r>
              <a:rPr lang="es-CL" sz="1900" b="0" dirty="0" smtClean="0">
                <a:solidFill>
                  <a:srgbClr val="080808"/>
                </a:solidFill>
                <a:latin typeface="Arial"/>
                <a:cs typeface="Arial"/>
              </a:rPr>
              <a:t>Desde este centro, se ha establecido una </a:t>
            </a:r>
            <a:r>
              <a:rPr lang="es-CL" sz="1900" b="1" dirty="0" smtClean="0">
                <a:solidFill>
                  <a:srgbClr val="080808"/>
                </a:solidFill>
                <a:latin typeface="Arial"/>
                <a:cs typeface="Arial"/>
              </a:rPr>
              <a:t>Red Internacional de Investigación Oncológica</a:t>
            </a:r>
            <a:r>
              <a:rPr lang="es-CL" sz="1900" b="0" dirty="0" smtClean="0">
                <a:solidFill>
                  <a:srgbClr val="080808"/>
                </a:solidFill>
                <a:latin typeface="Arial"/>
                <a:cs typeface="Arial"/>
              </a:rPr>
              <a:t>, con equipos en </a:t>
            </a:r>
            <a:r>
              <a:rPr lang="es-CL" sz="1900" dirty="0" smtClean="0">
                <a:solidFill>
                  <a:srgbClr val="080808"/>
                </a:solidFill>
                <a:latin typeface="Arial"/>
                <a:cs typeface="Arial"/>
              </a:rPr>
              <a:t>Chile, Brasil y La </a:t>
            </a:r>
            <a:r>
              <a:rPr lang="es-CL" sz="1900" dirty="0" err="1" smtClean="0">
                <a:solidFill>
                  <a:srgbClr val="080808"/>
                </a:solidFill>
                <a:latin typeface="Arial"/>
                <a:cs typeface="Arial"/>
              </a:rPr>
              <a:t>Jolla</a:t>
            </a:r>
            <a:r>
              <a:rPr lang="es-CL" sz="1900" dirty="0" smtClean="0">
                <a:solidFill>
                  <a:srgbClr val="080808"/>
                </a:solidFill>
                <a:latin typeface="Arial"/>
                <a:cs typeface="Arial"/>
              </a:rPr>
              <a:t> California</a:t>
            </a:r>
          </a:p>
          <a:p>
            <a:pPr lvl="0" algn="just">
              <a:buClr>
                <a:schemeClr val="accent6"/>
              </a:buClr>
            </a:pPr>
            <a:endParaRPr lang="es-CL" sz="1900" b="0" dirty="0" smtClean="0">
              <a:solidFill>
                <a:srgbClr val="080808"/>
              </a:solidFill>
              <a:latin typeface="Arial"/>
              <a:cs typeface="Arial"/>
            </a:endParaRPr>
          </a:p>
          <a:p>
            <a:pPr lvl="0" algn="just">
              <a:buClr>
                <a:schemeClr val="accent6"/>
              </a:buClr>
            </a:pPr>
            <a:endParaRPr lang="es-CL" sz="1900" b="0" dirty="0" smtClean="0">
              <a:solidFill>
                <a:srgbClr val="080808"/>
              </a:solidFill>
              <a:latin typeface="Arial"/>
              <a:cs typeface="Arial"/>
            </a:endParaRPr>
          </a:p>
          <a:p>
            <a:pPr lvl="0" algn="just">
              <a:buClr>
                <a:schemeClr val="accent6"/>
              </a:buClr>
              <a:buNone/>
            </a:pPr>
            <a:endParaRPr lang="en-US" sz="1900" b="0" dirty="0">
              <a:solidFill>
                <a:srgbClr val="080808"/>
              </a:solidFill>
              <a:latin typeface="Arial"/>
              <a:cs typeface="Arial"/>
            </a:endParaRPr>
          </a:p>
        </p:txBody>
      </p:sp>
      <p:sp>
        <p:nvSpPr>
          <p:cNvPr id="5" name="Title 1"/>
          <p:cNvSpPr txBox="1">
            <a:spLocks/>
          </p:cNvSpPr>
          <p:nvPr/>
        </p:nvSpPr>
        <p:spPr>
          <a:xfrm>
            <a:off x="35496" y="66692"/>
            <a:ext cx="6140896" cy="1000108"/>
          </a:xfrm>
          <a:prstGeom prst="rect">
            <a:avLst/>
          </a:prstGeom>
        </p:spPr>
        <p:txBody>
          <a:bodyPr vert="horz" lIns="91440" tIns="45720" rIns="91440" bIns="45720" rtlCol="0" anchor="ctr">
            <a:noAutofit/>
          </a:bodyPr>
          <a:lstStyle/>
          <a:p>
            <a:pPr>
              <a:buClr>
                <a:srgbClr val="009900"/>
              </a:buClr>
              <a:buFont typeface="Arial" pitchFamily="34" charset="0"/>
              <a:buNone/>
            </a:pPr>
            <a:r>
              <a:rPr lang="es-CL" sz="3600" dirty="0" smtClean="0">
                <a:solidFill>
                  <a:schemeClr val="bg1"/>
                </a:solidFill>
                <a:latin typeface="Century Gothic" panose="020B0502020202020204" pitchFamily="34" charset="0"/>
                <a:cs typeface="Arial" pitchFamily="34" charset="0"/>
              </a:rPr>
              <a:t>Investigación en Pfizer</a:t>
            </a:r>
          </a:p>
        </p:txBody>
      </p:sp>
      <p:grpSp>
        <p:nvGrpSpPr>
          <p:cNvPr id="6" name="Group 17"/>
          <p:cNvGrpSpPr/>
          <p:nvPr/>
        </p:nvGrpSpPr>
        <p:grpSpPr>
          <a:xfrm>
            <a:off x="631814" y="2408923"/>
            <a:ext cx="1796760" cy="797670"/>
            <a:chOff x="-317551" y="2913566"/>
            <a:chExt cx="2667289" cy="883074"/>
          </a:xfrm>
        </p:grpSpPr>
        <p:pic>
          <p:nvPicPr>
            <p:cNvPr id="11" name="Picture 10" descr="Mapa RD USA.bmp"/>
            <p:cNvPicPr>
              <a:picLocks noChangeAspect="1"/>
            </p:cNvPicPr>
            <p:nvPr/>
          </p:nvPicPr>
          <p:blipFill>
            <a:blip r:embed="rId6" cstate="print">
              <a:clrChange>
                <a:clrFrom>
                  <a:srgbClr val="FFFFFF"/>
                </a:clrFrom>
                <a:clrTo>
                  <a:srgbClr val="FFFFFF">
                    <a:alpha val="0"/>
                  </a:srgbClr>
                </a:clrTo>
              </a:clrChange>
            </a:blip>
            <a:srcRect l="21771" t="24935" r="4791"/>
            <a:stretch>
              <a:fillRect/>
            </a:stretch>
          </p:blipFill>
          <p:spPr bwMode="auto">
            <a:xfrm rot="21210285">
              <a:off x="-317551" y="3173498"/>
              <a:ext cx="1457183" cy="623142"/>
            </a:xfrm>
            <a:prstGeom prst="rect">
              <a:avLst/>
            </a:prstGeom>
            <a:noFill/>
            <a:ln w="9525">
              <a:noFill/>
              <a:miter lim="800000"/>
              <a:headEnd/>
              <a:tailEnd/>
            </a:ln>
          </p:spPr>
        </p:pic>
        <p:sp>
          <p:nvSpPr>
            <p:cNvPr id="8" name="Rectangle 7"/>
            <p:cNvSpPr/>
            <p:nvPr/>
          </p:nvSpPr>
          <p:spPr>
            <a:xfrm>
              <a:off x="1944162" y="2913566"/>
              <a:ext cx="214314" cy="1428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9" name="Rectangle 8"/>
            <p:cNvSpPr/>
            <p:nvPr/>
          </p:nvSpPr>
          <p:spPr>
            <a:xfrm>
              <a:off x="1921110" y="3342194"/>
              <a:ext cx="428628" cy="1428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grpSp>
      <p:grpSp>
        <p:nvGrpSpPr>
          <p:cNvPr id="28" name="Group 27"/>
          <p:cNvGrpSpPr/>
          <p:nvPr/>
        </p:nvGrpSpPr>
        <p:grpSpPr>
          <a:xfrm>
            <a:off x="849163" y="2925155"/>
            <a:ext cx="1016227" cy="1001564"/>
            <a:chOff x="849163" y="2925155"/>
            <a:chExt cx="1016227" cy="1001564"/>
          </a:xfrm>
        </p:grpSpPr>
        <p:sp>
          <p:nvSpPr>
            <p:cNvPr id="18" name="Oval 17"/>
            <p:cNvSpPr/>
            <p:nvPr/>
          </p:nvSpPr>
          <p:spPr>
            <a:xfrm>
              <a:off x="1489982" y="3857469"/>
              <a:ext cx="92584" cy="69250"/>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Oval 23"/>
            <p:cNvSpPr/>
            <p:nvPr/>
          </p:nvSpPr>
          <p:spPr>
            <a:xfrm>
              <a:off x="1772806" y="3558150"/>
              <a:ext cx="92584" cy="69250"/>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Oval 24"/>
            <p:cNvSpPr/>
            <p:nvPr/>
          </p:nvSpPr>
          <p:spPr>
            <a:xfrm>
              <a:off x="849163" y="2925155"/>
              <a:ext cx="92584" cy="69250"/>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6" name="TextBox 25"/>
          <p:cNvSpPr txBox="1"/>
          <p:nvPr/>
        </p:nvSpPr>
        <p:spPr>
          <a:xfrm>
            <a:off x="4932040" y="4100879"/>
            <a:ext cx="4104456" cy="923330"/>
          </a:xfrm>
          <a:prstGeom prst="rect">
            <a:avLst/>
          </a:prstGeom>
          <a:noFill/>
        </p:spPr>
        <p:txBody>
          <a:bodyPr wrap="square" rtlCol="0">
            <a:spAutoFit/>
          </a:bodyPr>
          <a:lstStyle/>
          <a:p>
            <a:pPr lvl="0" algn="just"/>
            <a:r>
              <a:rPr lang="es-CL" dirty="0" smtClean="0">
                <a:solidFill>
                  <a:srgbClr val="080808"/>
                </a:solidFill>
                <a:latin typeface="Arial"/>
                <a:cs typeface="Arial"/>
              </a:rPr>
              <a:t>Pfizer espera consolidar el desarrollo y la investigación en Chile, para llegar a ser un</a:t>
            </a:r>
            <a:r>
              <a:rPr lang="es-CL" b="1" dirty="0" smtClean="0">
                <a:solidFill>
                  <a:srgbClr val="080808"/>
                </a:solidFill>
                <a:latin typeface="Arial"/>
                <a:cs typeface="Arial"/>
              </a:rPr>
              <a:t> líder innovador en la región </a:t>
            </a:r>
            <a:endParaRPr lang="fr-FR" dirty="0">
              <a:latin typeface="Arial"/>
              <a:cs typeface="Arial"/>
            </a:endParaRPr>
          </a:p>
        </p:txBody>
      </p:sp>
      <p:sp>
        <p:nvSpPr>
          <p:cNvPr id="34" name="Rectangle 33"/>
          <p:cNvSpPr/>
          <p:nvPr/>
        </p:nvSpPr>
        <p:spPr>
          <a:xfrm>
            <a:off x="552252" y="2708920"/>
            <a:ext cx="226296" cy="1818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6828142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26"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706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3" name="Rounded Rectangle 52"/>
          <p:cNvSpPr/>
          <p:nvPr/>
        </p:nvSpPr>
        <p:spPr>
          <a:xfrm rot="16200000">
            <a:off x="-3009414" y="2606187"/>
            <a:ext cx="4333548" cy="2784047"/>
          </a:xfrm>
          <a:prstGeom prst="roundRect">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prstTxWarp prst="textArchDown">
              <a:avLst>
                <a:gd name="adj" fmla="val 1046500"/>
              </a:avLst>
            </a:prstTxWarp>
          </a:bodyPr>
          <a:lstStyle/>
          <a:p>
            <a:pPr algn="ctr"/>
            <a:r>
              <a:rPr lang="en-US" sz="1400" b="1" dirty="0" err="1" smtClean="0">
                <a:solidFill>
                  <a:schemeClr val="tx2"/>
                </a:solidFill>
              </a:rPr>
              <a:t>Mientras</a:t>
            </a:r>
            <a:r>
              <a:rPr lang="en-US" sz="1400" b="1" dirty="0" smtClean="0">
                <a:solidFill>
                  <a:schemeClr val="tx2"/>
                </a:solidFill>
              </a:rPr>
              <a:t> </a:t>
            </a:r>
            <a:r>
              <a:rPr lang="en-US" sz="1400" b="1" dirty="0" err="1" smtClean="0">
                <a:solidFill>
                  <a:schemeClr val="tx2"/>
                </a:solidFill>
              </a:rPr>
              <a:t>Seguimos</a:t>
            </a:r>
            <a:r>
              <a:rPr lang="en-US" sz="1400" b="1" dirty="0" smtClean="0">
                <a:solidFill>
                  <a:schemeClr val="tx2"/>
                </a:solidFill>
              </a:rPr>
              <a:t> </a:t>
            </a:r>
            <a:r>
              <a:rPr lang="en-US" sz="1400" b="1" dirty="0" err="1" smtClean="0">
                <a:solidFill>
                  <a:schemeClr val="tx2"/>
                </a:solidFill>
              </a:rPr>
              <a:t>Investigando</a:t>
            </a:r>
            <a:endParaRPr lang="en-US" sz="1400" b="1" dirty="0">
              <a:solidFill>
                <a:schemeClr val="tx2"/>
              </a:solidFill>
            </a:endParaRPr>
          </a:p>
        </p:txBody>
      </p:sp>
      <p:sp>
        <p:nvSpPr>
          <p:cNvPr id="41" name="Rounded Rectangle 40"/>
          <p:cNvSpPr/>
          <p:nvPr/>
        </p:nvSpPr>
        <p:spPr>
          <a:xfrm>
            <a:off x="1335815" y="5019857"/>
            <a:ext cx="2191189" cy="548640"/>
          </a:xfrm>
          <a:prstGeom prst="roundRect">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0000" tIns="0" bIns="0" anchor="ctr"/>
          <a:lstStyle/>
          <a:p>
            <a:r>
              <a:rPr lang="es-CL" sz="1100" b="1" dirty="0" smtClean="0"/>
              <a:t>Programas educativos de clase mundial</a:t>
            </a:r>
            <a:endParaRPr lang="es-CL" sz="1100" b="1" dirty="0"/>
          </a:p>
        </p:txBody>
      </p:sp>
      <p:sp>
        <p:nvSpPr>
          <p:cNvPr id="42" name="Rounded Rectangle 41"/>
          <p:cNvSpPr/>
          <p:nvPr/>
        </p:nvSpPr>
        <p:spPr>
          <a:xfrm>
            <a:off x="912927" y="1647489"/>
            <a:ext cx="2614077" cy="548640"/>
          </a:xfrm>
          <a:prstGeom prst="roundRect">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0000" tIns="0" bIns="0" anchor="ctr"/>
          <a:lstStyle/>
          <a:p>
            <a:r>
              <a:rPr lang="es-CL" sz="1100" b="1" dirty="0" smtClean="0"/>
              <a:t>NGS: Obtener Resultados</a:t>
            </a:r>
            <a:endParaRPr lang="es-CL" sz="1100" b="1" dirty="0"/>
          </a:p>
        </p:txBody>
      </p:sp>
      <p:sp>
        <p:nvSpPr>
          <p:cNvPr id="43" name="Rounded Rectangle 42"/>
          <p:cNvSpPr/>
          <p:nvPr/>
        </p:nvSpPr>
        <p:spPr>
          <a:xfrm>
            <a:off x="1294998" y="2490581"/>
            <a:ext cx="2232006" cy="548640"/>
          </a:xfrm>
          <a:prstGeom prst="roundRect">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0000" tIns="0" bIns="0" anchor="ctr"/>
          <a:lstStyle/>
          <a:p>
            <a:r>
              <a:rPr lang="es-CL" sz="1100" b="1" dirty="0" smtClean="0"/>
              <a:t>Estándares de Calidad</a:t>
            </a:r>
            <a:endParaRPr lang="es-CL" sz="1100" b="1" dirty="0"/>
          </a:p>
        </p:txBody>
      </p:sp>
      <p:sp>
        <p:nvSpPr>
          <p:cNvPr id="44" name="Rounded Rectangle 43"/>
          <p:cNvSpPr/>
          <p:nvPr/>
        </p:nvSpPr>
        <p:spPr>
          <a:xfrm>
            <a:off x="1437588" y="3333673"/>
            <a:ext cx="2089416" cy="548640"/>
          </a:xfrm>
          <a:prstGeom prst="roundRect">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0000" tIns="0" bIns="0" anchor="ctr"/>
          <a:lstStyle/>
          <a:p>
            <a:r>
              <a:rPr lang="es-CL" sz="1100" b="1" dirty="0" smtClean="0"/>
              <a:t>Desarrollar y retener los mejores talentos</a:t>
            </a:r>
            <a:endParaRPr lang="es-CL" sz="1100" b="1" dirty="0"/>
          </a:p>
        </p:txBody>
      </p:sp>
      <p:sp>
        <p:nvSpPr>
          <p:cNvPr id="45" name="Rounded Rectangle 44"/>
          <p:cNvSpPr/>
          <p:nvPr/>
        </p:nvSpPr>
        <p:spPr>
          <a:xfrm>
            <a:off x="1481276" y="4176765"/>
            <a:ext cx="2045728" cy="548640"/>
          </a:xfrm>
          <a:prstGeom prst="roundRect">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0000" tIns="0" rIns="72000" bIns="0" anchor="ctr"/>
          <a:lstStyle/>
          <a:p>
            <a:r>
              <a:rPr lang="es-CL" sz="1100" b="1" dirty="0" smtClean="0"/>
              <a:t>Red de trabajo colaborativo</a:t>
            </a:r>
            <a:endParaRPr lang="es-CL" sz="1100" b="1" dirty="0"/>
          </a:p>
        </p:txBody>
      </p:sp>
      <p:sp>
        <p:nvSpPr>
          <p:cNvPr id="46" name="Rounded Rectangle 45"/>
          <p:cNvSpPr/>
          <p:nvPr/>
        </p:nvSpPr>
        <p:spPr>
          <a:xfrm>
            <a:off x="1024821" y="5862949"/>
            <a:ext cx="2502183" cy="548640"/>
          </a:xfrm>
          <a:prstGeom prst="roundRect">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0000" tIns="0" bIns="0" anchor="ctr"/>
          <a:lstStyle/>
          <a:p>
            <a:r>
              <a:rPr lang="es-CL" sz="1100" b="1" dirty="0" smtClean="0"/>
              <a:t>Atraer Inversión y negocios en Biotecnología</a:t>
            </a:r>
            <a:endParaRPr lang="es-CL" sz="1100" b="1" dirty="0"/>
          </a:p>
        </p:txBody>
      </p:sp>
      <p:sp>
        <p:nvSpPr>
          <p:cNvPr id="4" name="Title 3"/>
          <p:cNvSpPr>
            <a:spLocks noGrp="1"/>
          </p:cNvSpPr>
          <p:nvPr>
            <p:ph type="title"/>
          </p:nvPr>
        </p:nvSpPr>
        <p:spPr>
          <a:xfrm>
            <a:off x="217715" y="332656"/>
            <a:ext cx="5938462" cy="504056"/>
          </a:xfrm>
        </p:spPr>
        <p:txBody>
          <a:bodyPr>
            <a:noAutofit/>
          </a:bodyPr>
          <a:lstStyle/>
          <a:p>
            <a:r>
              <a:rPr lang="es-CL" sz="2800" b="0" dirty="0" smtClean="0"/>
              <a:t>Visión de mediano y largo plazo</a:t>
            </a:r>
            <a:endParaRPr lang="es-CL" sz="2800" b="0" dirty="0"/>
          </a:p>
        </p:txBody>
      </p:sp>
      <p:sp>
        <p:nvSpPr>
          <p:cNvPr id="16" name="Block Arc 15"/>
          <p:cNvSpPr/>
          <p:nvPr/>
        </p:nvSpPr>
        <p:spPr>
          <a:xfrm>
            <a:off x="-4328624" y="969276"/>
            <a:ext cx="5472816" cy="6014852"/>
          </a:xfrm>
          <a:prstGeom prst="blockArc">
            <a:avLst>
              <a:gd name="adj1" fmla="val 18272135"/>
              <a:gd name="adj2" fmla="val 3303538"/>
              <a:gd name="adj3" fmla="val 0"/>
            </a:avLst>
          </a:prstGeom>
          <a:ln>
            <a:solidFill>
              <a:schemeClr val="tx2"/>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18" name="Oval 17"/>
          <p:cNvSpPr/>
          <p:nvPr/>
        </p:nvSpPr>
        <p:spPr>
          <a:xfrm>
            <a:off x="168124" y="1610025"/>
            <a:ext cx="623568" cy="623568"/>
          </a:xfrm>
          <a:prstGeom prst="ellipse">
            <a:avLst/>
          </a:prstGeom>
          <a:ln>
            <a:solidFill>
              <a:schemeClr val="bg2"/>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0" name="Oval 19"/>
          <p:cNvSpPr/>
          <p:nvPr/>
        </p:nvSpPr>
        <p:spPr>
          <a:xfrm>
            <a:off x="589352" y="2453117"/>
            <a:ext cx="623568" cy="623568"/>
          </a:xfrm>
          <a:prstGeom prst="ellipse">
            <a:avLst/>
          </a:prstGeom>
          <a:ln>
            <a:solidFill>
              <a:schemeClr val="bg2"/>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2" name="Oval 21"/>
          <p:cNvSpPr/>
          <p:nvPr/>
        </p:nvSpPr>
        <p:spPr>
          <a:xfrm>
            <a:off x="776991" y="3296209"/>
            <a:ext cx="623568" cy="623568"/>
          </a:xfrm>
          <a:prstGeom prst="ellipse">
            <a:avLst/>
          </a:prstGeom>
          <a:ln>
            <a:solidFill>
              <a:schemeClr val="bg2"/>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4" name="Oval 23"/>
          <p:cNvSpPr/>
          <p:nvPr/>
        </p:nvSpPr>
        <p:spPr>
          <a:xfrm>
            <a:off x="776991" y="4139301"/>
            <a:ext cx="623568" cy="623568"/>
          </a:xfrm>
          <a:prstGeom prst="ellipse">
            <a:avLst/>
          </a:prstGeom>
          <a:ln>
            <a:solidFill>
              <a:schemeClr val="bg2"/>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6" name="Oval 25"/>
          <p:cNvSpPr/>
          <p:nvPr/>
        </p:nvSpPr>
        <p:spPr>
          <a:xfrm>
            <a:off x="589352" y="4982393"/>
            <a:ext cx="623568" cy="623568"/>
          </a:xfrm>
          <a:prstGeom prst="ellipse">
            <a:avLst/>
          </a:prstGeom>
          <a:ln>
            <a:solidFill>
              <a:schemeClr val="bg2"/>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8" name="Oval 27"/>
          <p:cNvSpPr/>
          <p:nvPr/>
        </p:nvSpPr>
        <p:spPr>
          <a:xfrm>
            <a:off x="168124" y="5825485"/>
            <a:ext cx="623568" cy="623568"/>
          </a:xfrm>
          <a:prstGeom prst="ellipse">
            <a:avLst/>
          </a:prstGeom>
          <a:ln>
            <a:solidFill>
              <a:schemeClr val="bg2"/>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7" name="Right Arrow 16"/>
          <p:cNvSpPr/>
          <p:nvPr/>
        </p:nvSpPr>
        <p:spPr bwMode="auto">
          <a:xfrm>
            <a:off x="3610098" y="993854"/>
            <a:ext cx="5510151" cy="684000"/>
          </a:xfrm>
          <a:prstGeom prst="rightArrow">
            <a:avLst/>
          </a:prstGeom>
          <a:solidFill>
            <a:schemeClr val="accent2">
              <a:lumMod val="75000"/>
            </a:schemeClr>
          </a:solidFill>
          <a:ln w="31750" cmpd="dbl">
            <a:noFill/>
            <a:miter lim="800000"/>
            <a:headEnd/>
            <a:tailEnd/>
          </a:ln>
        </p:spPr>
        <p:txBody>
          <a:bodyPr wrap="square" rtlCol="0" anchor="ctr"/>
          <a:lstStyle/>
          <a:p>
            <a:pPr algn="ctr" eaLnBrk="0" hangingPunct="0">
              <a:spcBef>
                <a:spcPct val="20000"/>
              </a:spcBef>
            </a:pPr>
            <a:endParaRPr lang="en-US" sz="1200" b="1" smtClean="0">
              <a:solidFill>
                <a:schemeClr val="bg1"/>
              </a:solidFill>
            </a:endParaRPr>
          </a:p>
        </p:txBody>
      </p:sp>
      <p:cxnSp>
        <p:nvCxnSpPr>
          <p:cNvPr id="23" name="Straight Connector 22"/>
          <p:cNvCxnSpPr/>
          <p:nvPr/>
        </p:nvCxnSpPr>
        <p:spPr>
          <a:xfrm flipV="1">
            <a:off x="901136" y="2253202"/>
            <a:ext cx="78272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341912" y="3225084"/>
            <a:ext cx="738645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1543792" y="3990902"/>
            <a:ext cx="718457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341912" y="4963788"/>
            <a:ext cx="738645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901136" y="5843509"/>
            <a:ext cx="7827228"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5" name="Table 34"/>
          <p:cNvGraphicFramePr>
            <a:graphicFrameLocks noGrp="1"/>
          </p:cNvGraphicFramePr>
          <p:nvPr>
            <p:extLst>
              <p:ext uri="{D42A27DB-BD31-4B8C-83A1-F6EECF244321}">
                <p14:modId xmlns:p14="http://schemas.microsoft.com/office/powerpoint/2010/main" val="3464445606"/>
              </p:ext>
            </p:extLst>
          </p:nvPr>
        </p:nvGraphicFramePr>
        <p:xfrm>
          <a:off x="3673432" y="1171372"/>
          <a:ext cx="5316189" cy="370840"/>
        </p:xfrm>
        <a:graphic>
          <a:graphicData uri="http://schemas.openxmlformats.org/drawingml/2006/table">
            <a:tbl>
              <a:tblPr firstRow="1" bandRow="1">
                <a:tableStyleId>{5C22544A-7EE6-4342-B048-85BDC9FD1C3A}</a:tableStyleId>
              </a:tblPr>
              <a:tblGrid>
                <a:gridCol w="2489243"/>
                <a:gridCol w="2826946"/>
              </a:tblGrid>
              <a:tr h="370840">
                <a:tc>
                  <a:txBody>
                    <a:bodyPr/>
                    <a:lstStyle/>
                    <a:p>
                      <a:pPr algn="ctr"/>
                      <a:r>
                        <a:rPr lang="es-CL" sz="1200" noProof="0" dirty="0" smtClean="0"/>
                        <a:t>Impacto corto plazo</a:t>
                      </a:r>
                      <a:endParaRPr lang="es-CL" sz="1200" noProof="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s-CL" sz="1200" noProof="0" dirty="0" smtClean="0"/>
                        <a:t>Impacto </a:t>
                      </a:r>
                      <a:r>
                        <a:rPr lang="es-CL" sz="1200" noProof="0" dirty="0" err="1" smtClean="0"/>
                        <a:t>Med</a:t>
                      </a:r>
                      <a:r>
                        <a:rPr lang="es-CL" sz="1200" noProof="0" dirty="0" smtClean="0"/>
                        <a:t>/largo plazo</a:t>
                      </a:r>
                      <a:endParaRPr lang="es-CL" sz="1200" noProof="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3973586289"/>
              </p:ext>
            </p:extLst>
          </p:nvPr>
        </p:nvGraphicFramePr>
        <p:xfrm>
          <a:off x="3610099" y="1406138"/>
          <a:ext cx="5367646" cy="5150830"/>
        </p:xfrm>
        <a:graphic>
          <a:graphicData uri="http://schemas.openxmlformats.org/drawingml/2006/table">
            <a:tbl>
              <a:tblPr>
                <a:tableStyleId>{5C22544A-7EE6-4342-B048-85BDC9FD1C3A}</a:tableStyleId>
              </a:tblPr>
              <a:tblGrid>
                <a:gridCol w="2648197"/>
                <a:gridCol w="2719449"/>
              </a:tblGrid>
              <a:tr h="866899">
                <a:tc>
                  <a:txBody>
                    <a:bodyPr/>
                    <a:lstStyle/>
                    <a:p>
                      <a:pPr marL="177800" marR="0" indent="-177800" algn="l" defTabSz="914400" eaLnBrk="1" fontAlgn="auto" latinLnBrk="0" hangingPunct="1">
                        <a:lnSpc>
                          <a:spcPct val="100000"/>
                        </a:lnSpc>
                        <a:spcBef>
                          <a:spcPts val="0"/>
                        </a:spcBef>
                        <a:spcAft>
                          <a:spcPts val="0"/>
                        </a:spcAft>
                        <a:buClrTx/>
                        <a:buSzTx/>
                        <a:buFont typeface="Arial" pitchFamily="34" charset="0"/>
                        <a:buChar char="•"/>
                        <a:tabLst/>
                        <a:defRPr/>
                      </a:pPr>
                      <a:r>
                        <a:rPr lang="es-CL" sz="1100" b="1" noProof="0" dirty="0" smtClean="0">
                          <a:solidFill>
                            <a:schemeClr val="dk1"/>
                          </a:solidFill>
                          <a:latin typeface="+mn-lt"/>
                          <a:ea typeface="+mn-ea"/>
                          <a:cs typeface="+mn-cs"/>
                        </a:rPr>
                        <a:t>Análisis Interino 1000 muestras</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7800" marR="0" indent="-177800" algn="l" defTabSz="914400" eaLnBrk="1" fontAlgn="auto" latinLnBrk="0" hangingPunct="1">
                        <a:lnSpc>
                          <a:spcPct val="100000"/>
                        </a:lnSpc>
                        <a:spcBef>
                          <a:spcPts val="0"/>
                        </a:spcBef>
                        <a:spcAft>
                          <a:spcPts val="0"/>
                        </a:spcAft>
                        <a:buClrTx/>
                        <a:buSzTx/>
                        <a:buFont typeface="Arial" pitchFamily="34" charset="0"/>
                        <a:buChar char="•"/>
                        <a:tabLst/>
                        <a:defRPr/>
                      </a:pPr>
                      <a:r>
                        <a:rPr lang="es-CL" sz="1100" b="1" noProof="0" dirty="0" smtClean="0">
                          <a:solidFill>
                            <a:schemeClr val="dk1"/>
                          </a:solidFill>
                          <a:latin typeface="+mn-lt"/>
                          <a:ea typeface="+mn-ea"/>
                          <a:cs typeface="+mn-cs"/>
                        </a:rPr>
                        <a:t>Terminar investigación</a:t>
                      </a:r>
                    </a:p>
                    <a:p>
                      <a:pPr marL="177800" marR="0" indent="-177800" algn="l" defTabSz="914400" eaLnBrk="1" fontAlgn="auto" latinLnBrk="0" hangingPunct="1">
                        <a:lnSpc>
                          <a:spcPct val="100000"/>
                        </a:lnSpc>
                        <a:spcBef>
                          <a:spcPts val="0"/>
                        </a:spcBef>
                        <a:spcAft>
                          <a:spcPts val="0"/>
                        </a:spcAft>
                        <a:buClrTx/>
                        <a:buSzTx/>
                        <a:buFont typeface="Arial" pitchFamily="34" charset="0"/>
                        <a:buChar char="•"/>
                        <a:tabLst/>
                        <a:defRPr/>
                      </a:pPr>
                      <a:r>
                        <a:rPr lang="es-CL" sz="1100" b="1" noProof="0" dirty="0" smtClean="0">
                          <a:solidFill>
                            <a:schemeClr val="dk1"/>
                          </a:solidFill>
                          <a:latin typeface="+mn-lt"/>
                          <a:ea typeface="+mn-ea"/>
                          <a:cs typeface="+mn-cs"/>
                        </a:rPr>
                        <a:t>Publicaciones científicas</a:t>
                      </a:r>
                      <a:endParaRPr lang="es-CL" sz="1100" b="1" baseline="0" noProof="0" dirty="0" smtClean="0">
                        <a:solidFill>
                          <a:schemeClr val="dk1"/>
                        </a:solidFill>
                        <a:latin typeface="+mn-lt"/>
                        <a:ea typeface="+mn-ea"/>
                        <a:cs typeface="+mn-cs"/>
                      </a:endParaRPr>
                    </a:p>
                    <a:p>
                      <a:pPr marL="177800" marR="0" indent="-177800" algn="l" defTabSz="914400" eaLnBrk="1" fontAlgn="auto" latinLnBrk="0" hangingPunct="1">
                        <a:lnSpc>
                          <a:spcPct val="100000"/>
                        </a:lnSpc>
                        <a:spcBef>
                          <a:spcPts val="0"/>
                        </a:spcBef>
                        <a:spcAft>
                          <a:spcPts val="0"/>
                        </a:spcAft>
                        <a:buClrTx/>
                        <a:buSzTx/>
                        <a:buFont typeface="Arial" pitchFamily="34" charset="0"/>
                        <a:buChar char="•"/>
                        <a:tabLst/>
                        <a:defRPr/>
                      </a:pPr>
                      <a:r>
                        <a:rPr lang="es-CL" sz="1100" b="1" noProof="0" dirty="0" smtClean="0">
                          <a:solidFill>
                            <a:schemeClr val="dk1"/>
                          </a:solidFill>
                          <a:latin typeface="+mn-lt"/>
                          <a:ea typeface="+mn-ea"/>
                          <a:cs typeface="+mn-cs"/>
                        </a:rPr>
                        <a:t>Validación de la tecnología</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832425">
                <a:tc>
                  <a:txBody>
                    <a:bodyPr/>
                    <a:lstStyle/>
                    <a:p>
                      <a:pPr marL="177800" indent="-177800" algn="l">
                        <a:buFont typeface="Arial" pitchFamily="34" charset="0"/>
                        <a:buChar char="•"/>
                      </a:pPr>
                      <a:r>
                        <a:rPr lang="es-CL" sz="1100" b="1" noProof="0" dirty="0" smtClean="0">
                          <a:solidFill>
                            <a:schemeClr val="dk1"/>
                          </a:solidFill>
                          <a:latin typeface="+mn-lt"/>
                          <a:ea typeface="+mn-ea"/>
                          <a:cs typeface="+mn-cs"/>
                        </a:rPr>
                        <a:t>Transferencia</a:t>
                      </a:r>
                      <a:r>
                        <a:rPr lang="es-CL" sz="1100" b="1" baseline="0" noProof="0" dirty="0" smtClean="0">
                          <a:solidFill>
                            <a:schemeClr val="dk1"/>
                          </a:solidFill>
                          <a:latin typeface="+mn-lt"/>
                          <a:ea typeface="+mn-ea"/>
                          <a:cs typeface="+mn-cs"/>
                        </a:rPr>
                        <a:t> de conocimiento</a:t>
                      </a:r>
                    </a:p>
                    <a:p>
                      <a:pPr marL="177800" indent="-177800" algn="l">
                        <a:buFont typeface="Arial" pitchFamily="34" charset="0"/>
                        <a:buChar char="•"/>
                      </a:pPr>
                      <a:r>
                        <a:rPr lang="es-CL" sz="1100" b="1" baseline="0" noProof="0" dirty="0" smtClean="0">
                          <a:solidFill>
                            <a:schemeClr val="dk1"/>
                          </a:solidFill>
                          <a:latin typeface="+mn-lt"/>
                          <a:ea typeface="+mn-ea"/>
                          <a:cs typeface="+mn-cs"/>
                        </a:rPr>
                        <a:t>Cultura de Calidad, SOP, WI</a:t>
                      </a:r>
                      <a:endParaRPr lang="es-CL" sz="1100" b="1" noProof="0" dirty="0" smtClean="0">
                        <a:solidFill>
                          <a:schemeClr val="dk1"/>
                        </a:solidFill>
                        <a:latin typeface="+mn-lt"/>
                        <a:ea typeface="+mn-ea"/>
                        <a:cs typeface="+mn-cs"/>
                      </a:endParaRP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7800" marR="0" indent="-177800" algn="l" defTabSz="914400" eaLnBrk="1" fontAlgn="auto" latinLnBrk="0" hangingPunct="1">
                        <a:lnSpc>
                          <a:spcPct val="100000"/>
                        </a:lnSpc>
                        <a:spcBef>
                          <a:spcPts val="0"/>
                        </a:spcBef>
                        <a:spcAft>
                          <a:spcPts val="0"/>
                        </a:spcAft>
                        <a:buClrTx/>
                        <a:buSzTx/>
                        <a:buFont typeface="Arial" pitchFamily="34" charset="0"/>
                        <a:buChar char="•"/>
                        <a:tabLst/>
                        <a:defRPr/>
                      </a:pPr>
                      <a:r>
                        <a:rPr lang="es-CL" sz="1100" b="1" noProof="0" dirty="0" smtClean="0"/>
                        <a:t>ISO 9001</a:t>
                      </a:r>
                    </a:p>
                    <a:p>
                      <a:pPr marL="177800" marR="0" indent="-177800" algn="l" defTabSz="914400" eaLnBrk="1" fontAlgn="auto" latinLnBrk="0" hangingPunct="1">
                        <a:lnSpc>
                          <a:spcPct val="100000"/>
                        </a:lnSpc>
                        <a:spcBef>
                          <a:spcPts val="0"/>
                        </a:spcBef>
                        <a:spcAft>
                          <a:spcPts val="0"/>
                        </a:spcAft>
                        <a:buClrTx/>
                        <a:buSzTx/>
                        <a:buFont typeface="Arial" pitchFamily="34" charset="0"/>
                        <a:buChar char="•"/>
                        <a:tabLst/>
                        <a:defRPr/>
                      </a:pPr>
                      <a:r>
                        <a:rPr lang="es-CL" sz="1100" b="1" noProof="0" dirty="0" smtClean="0"/>
                        <a:t>ISO</a:t>
                      </a:r>
                      <a:r>
                        <a:rPr lang="es-CL" sz="1100" b="1" baseline="0" noProof="0" dirty="0" smtClean="0"/>
                        <a:t> 14000</a:t>
                      </a:r>
                      <a:endParaRPr lang="es-CL" sz="1100" b="1" noProof="0" dirty="0" smtClean="0"/>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832425">
                <a:tc>
                  <a:txBody>
                    <a:bodyPr/>
                    <a:lstStyle/>
                    <a:p>
                      <a:pPr marL="177800" indent="-177800" algn="l">
                        <a:buFont typeface="Arial" pitchFamily="34" charset="0"/>
                        <a:buChar char="•"/>
                      </a:pPr>
                      <a:r>
                        <a:rPr lang="es-CL" sz="1100" b="1" noProof="0" dirty="0" smtClean="0">
                          <a:solidFill>
                            <a:schemeClr val="dk1"/>
                          </a:solidFill>
                          <a:latin typeface="+mn-lt"/>
                          <a:ea typeface="+mn-ea"/>
                          <a:cs typeface="+mn-cs"/>
                        </a:rPr>
                        <a:t>Transferencia de Conocimiento</a:t>
                      </a:r>
                    </a:p>
                    <a:p>
                      <a:pPr marL="177800" indent="-177800" algn="l">
                        <a:buFont typeface="Arial" pitchFamily="34" charset="0"/>
                        <a:buChar char="•"/>
                      </a:pPr>
                      <a:r>
                        <a:rPr lang="es-CL" sz="1100" b="1" noProof="0" dirty="0" smtClean="0">
                          <a:solidFill>
                            <a:schemeClr val="dk1"/>
                          </a:solidFill>
                          <a:latin typeface="+mn-lt"/>
                          <a:ea typeface="+mn-ea"/>
                          <a:cs typeface="+mn-cs"/>
                        </a:rPr>
                        <a:t>Oportunidades y experiencia</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7800" marR="0" indent="-177800" algn="l" defTabSz="914400" eaLnBrk="1" fontAlgn="auto" latinLnBrk="0" hangingPunct="1">
                        <a:lnSpc>
                          <a:spcPct val="100000"/>
                        </a:lnSpc>
                        <a:spcBef>
                          <a:spcPts val="0"/>
                        </a:spcBef>
                        <a:spcAft>
                          <a:spcPts val="0"/>
                        </a:spcAft>
                        <a:buClrTx/>
                        <a:buSzTx/>
                        <a:buFont typeface="Arial" pitchFamily="34" charset="0"/>
                        <a:buChar char="•"/>
                        <a:tabLst/>
                        <a:defRPr/>
                      </a:pPr>
                      <a:r>
                        <a:rPr lang="es-CL" sz="1100" b="1" noProof="0" dirty="0" smtClean="0">
                          <a:solidFill>
                            <a:schemeClr val="dk1"/>
                          </a:solidFill>
                          <a:latin typeface="+mn-lt"/>
                          <a:ea typeface="+mn-ea"/>
                          <a:cs typeface="+mn-cs"/>
                        </a:rPr>
                        <a:t>Profesionales capacitados</a:t>
                      </a:r>
                      <a:r>
                        <a:rPr lang="es-CL" sz="1100" b="1" baseline="0" noProof="0" dirty="0" smtClean="0">
                          <a:solidFill>
                            <a:schemeClr val="dk1"/>
                          </a:solidFill>
                          <a:latin typeface="+mn-lt"/>
                          <a:ea typeface="+mn-ea"/>
                          <a:cs typeface="+mn-cs"/>
                        </a:rPr>
                        <a:t> en el mercado</a:t>
                      </a:r>
                      <a:endParaRPr lang="es-CL" sz="1100" b="1" noProof="0" dirty="0" smtClean="0">
                        <a:solidFill>
                          <a:schemeClr val="dk1"/>
                        </a:solidFill>
                        <a:latin typeface="+mn-lt"/>
                        <a:ea typeface="+mn-ea"/>
                        <a:cs typeface="+mn-cs"/>
                      </a:endParaRP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805217">
                <a:tc>
                  <a:txBody>
                    <a:bodyPr/>
                    <a:lstStyle/>
                    <a:p>
                      <a:pPr marL="177800" indent="-177800" algn="l">
                        <a:buFont typeface="Arial" pitchFamily="34" charset="0"/>
                        <a:buChar char="•"/>
                      </a:pPr>
                      <a:r>
                        <a:rPr lang="es-CL" sz="1100" b="1" noProof="0" dirty="0" smtClean="0">
                          <a:solidFill>
                            <a:schemeClr val="dk1"/>
                          </a:solidFill>
                          <a:latin typeface="+mn-lt"/>
                          <a:ea typeface="+mn-ea"/>
                          <a:cs typeface="+mn-cs"/>
                        </a:rPr>
                        <a:t>Desarrollo de relaciones basadas en confianza</a:t>
                      </a:r>
                    </a:p>
                    <a:p>
                      <a:pPr marL="177800" indent="-177800" algn="l">
                        <a:buFont typeface="Arial" pitchFamily="34" charset="0"/>
                        <a:buChar char="•"/>
                      </a:pPr>
                      <a:r>
                        <a:rPr lang="es-CL" sz="1100" b="1" noProof="0" dirty="0" smtClean="0">
                          <a:solidFill>
                            <a:schemeClr val="dk1"/>
                          </a:solidFill>
                          <a:latin typeface="+mn-lt"/>
                          <a:ea typeface="+mn-ea"/>
                          <a:cs typeface="+mn-cs"/>
                        </a:rPr>
                        <a:t>Sinergia y colaboración entre instituciones</a:t>
                      </a: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7800" marR="0" indent="-177800" algn="l" defTabSz="914400" eaLnBrk="1" fontAlgn="auto" latinLnBrk="0" hangingPunct="1">
                        <a:lnSpc>
                          <a:spcPct val="100000"/>
                        </a:lnSpc>
                        <a:spcBef>
                          <a:spcPts val="0"/>
                        </a:spcBef>
                        <a:spcAft>
                          <a:spcPts val="0"/>
                        </a:spcAft>
                        <a:buClrTx/>
                        <a:buSzTx/>
                        <a:buFont typeface="Arial" pitchFamily="34" charset="0"/>
                        <a:buChar char="•"/>
                        <a:tabLst/>
                        <a:defRPr/>
                      </a:pPr>
                      <a:r>
                        <a:rPr lang="es-CL" sz="1100" b="1" noProof="0" dirty="0" smtClean="0"/>
                        <a:t>Desarrollo de iniciativas de colaboración exitosas</a:t>
                      </a:r>
                      <a:r>
                        <a:rPr lang="es-CL" sz="1100" b="1" baseline="0" noProof="0" dirty="0" smtClean="0"/>
                        <a:t> que generen conocimiento y negocios</a:t>
                      </a:r>
                      <a:endParaRPr lang="es-CL" sz="1100" b="1" noProof="0" dirty="0" smtClean="0">
                        <a:solidFill>
                          <a:schemeClr val="dk1"/>
                        </a:solidFill>
                        <a:latin typeface="+mn-lt"/>
                        <a:ea typeface="+mn-ea"/>
                        <a:cs typeface="+mn-cs"/>
                      </a:endParaRP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914400">
                <a:tc>
                  <a:txBody>
                    <a:bodyPr/>
                    <a:lstStyle/>
                    <a:p>
                      <a:pPr marL="177800" marR="0" indent="-177800" algn="l" defTabSz="914400" eaLnBrk="1" fontAlgn="auto" latinLnBrk="0" hangingPunct="1">
                        <a:lnSpc>
                          <a:spcPct val="100000"/>
                        </a:lnSpc>
                        <a:spcBef>
                          <a:spcPts val="0"/>
                        </a:spcBef>
                        <a:spcAft>
                          <a:spcPts val="0"/>
                        </a:spcAft>
                        <a:buClrTx/>
                        <a:buSzTx/>
                        <a:buFont typeface="Arial" pitchFamily="34" charset="0"/>
                        <a:buChar char="•"/>
                        <a:tabLst/>
                        <a:defRPr/>
                      </a:pPr>
                      <a:endParaRPr lang="es-CL" sz="1100" b="1" noProof="0" dirty="0" smtClean="0">
                        <a:solidFill>
                          <a:schemeClr val="dk1"/>
                        </a:solidFill>
                        <a:latin typeface="+mn-lt"/>
                        <a:ea typeface="+mn-ea"/>
                        <a:cs typeface="+mn-cs"/>
                      </a:endParaRPr>
                    </a:p>
                    <a:p>
                      <a:pPr marL="177800" marR="0" indent="-177800" algn="l" defTabSz="914400" eaLnBrk="1" fontAlgn="auto" latinLnBrk="0" hangingPunct="1">
                        <a:lnSpc>
                          <a:spcPct val="100000"/>
                        </a:lnSpc>
                        <a:spcBef>
                          <a:spcPts val="0"/>
                        </a:spcBef>
                        <a:spcAft>
                          <a:spcPts val="0"/>
                        </a:spcAft>
                        <a:buClrTx/>
                        <a:buSzTx/>
                        <a:buFont typeface="Arial" pitchFamily="34" charset="0"/>
                        <a:buChar char="•"/>
                        <a:tabLst/>
                        <a:defRPr/>
                      </a:pPr>
                      <a:r>
                        <a:rPr lang="es-CL" sz="1100" b="1" noProof="0" dirty="0" smtClean="0">
                          <a:solidFill>
                            <a:schemeClr val="dk1"/>
                          </a:solidFill>
                          <a:latin typeface="+mn-lt"/>
                          <a:ea typeface="+mn-ea"/>
                          <a:cs typeface="+mn-cs"/>
                        </a:rPr>
                        <a:t>Programas Universitarios</a:t>
                      </a:r>
                    </a:p>
                    <a:p>
                      <a:pPr marL="177800" marR="0" indent="-177800" algn="l" defTabSz="914400" eaLnBrk="1" fontAlgn="auto" latinLnBrk="0" hangingPunct="1">
                        <a:lnSpc>
                          <a:spcPct val="100000"/>
                        </a:lnSpc>
                        <a:spcBef>
                          <a:spcPts val="0"/>
                        </a:spcBef>
                        <a:spcAft>
                          <a:spcPts val="0"/>
                        </a:spcAft>
                        <a:buClrTx/>
                        <a:buSzTx/>
                        <a:buFont typeface="Arial" pitchFamily="34" charset="0"/>
                        <a:buChar char="•"/>
                        <a:tabLst/>
                        <a:defRPr/>
                      </a:pPr>
                      <a:r>
                        <a:rPr lang="es-CL" sz="1100" b="1" noProof="0" dirty="0" smtClean="0">
                          <a:solidFill>
                            <a:schemeClr val="dk1"/>
                          </a:solidFill>
                          <a:latin typeface="+mn-lt"/>
                          <a:ea typeface="+mn-ea"/>
                          <a:cs typeface="+mn-cs"/>
                        </a:rPr>
                        <a:t>Rotaciones y pasantías Nacionales e internacionales</a:t>
                      </a:r>
                    </a:p>
                    <a:p>
                      <a:pPr marL="177800" marR="0" indent="-177800" algn="l" defTabSz="914400" eaLnBrk="1" fontAlgn="auto" latinLnBrk="0" hangingPunct="1">
                        <a:lnSpc>
                          <a:spcPct val="100000"/>
                        </a:lnSpc>
                        <a:spcBef>
                          <a:spcPts val="0"/>
                        </a:spcBef>
                        <a:spcAft>
                          <a:spcPts val="0"/>
                        </a:spcAft>
                        <a:buClrTx/>
                        <a:buSzTx/>
                        <a:buFont typeface="Arial" pitchFamily="34" charset="0"/>
                        <a:buChar char="•"/>
                        <a:tabLst/>
                        <a:defRPr/>
                      </a:pPr>
                      <a:r>
                        <a:rPr lang="es-CL" sz="1100" b="1" noProof="0" dirty="0" smtClean="0">
                          <a:solidFill>
                            <a:schemeClr val="dk1"/>
                          </a:solidFill>
                          <a:latin typeface="+mn-lt"/>
                          <a:ea typeface="+mn-ea"/>
                          <a:cs typeface="+mn-cs"/>
                        </a:rPr>
                        <a:t>Educación</a:t>
                      </a:r>
                      <a:r>
                        <a:rPr lang="es-CL" sz="1100" b="1" baseline="0" noProof="0" dirty="0" smtClean="0">
                          <a:solidFill>
                            <a:schemeClr val="dk1"/>
                          </a:solidFill>
                          <a:latin typeface="+mn-lt"/>
                          <a:ea typeface="+mn-ea"/>
                          <a:cs typeface="+mn-cs"/>
                        </a:rPr>
                        <a:t> científica continuada</a:t>
                      </a:r>
                      <a:endParaRPr lang="es-CL" sz="1100" b="1" noProof="0" dirty="0" smtClean="0">
                        <a:solidFill>
                          <a:schemeClr val="dk1"/>
                        </a:solidFill>
                        <a:latin typeface="+mn-lt"/>
                        <a:ea typeface="+mn-ea"/>
                        <a:cs typeface="+mn-cs"/>
                      </a:endParaRP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7800" marR="0" indent="-177800" algn="l" defTabSz="914400" eaLnBrk="1" fontAlgn="auto" latinLnBrk="0" hangingPunct="1">
                        <a:lnSpc>
                          <a:spcPct val="100000"/>
                        </a:lnSpc>
                        <a:spcBef>
                          <a:spcPts val="0"/>
                        </a:spcBef>
                        <a:spcAft>
                          <a:spcPts val="0"/>
                        </a:spcAft>
                        <a:buClrTx/>
                        <a:buSzTx/>
                        <a:buFont typeface="Arial" pitchFamily="34" charset="0"/>
                        <a:buChar char="•"/>
                        <a:tabLst/>
                        <a:defRPr/>
                      </a:pPr>
                      <a:endParaRPr lang="es-CL" sz="1100" b="1" noProof="0" dirty="0" smtClean="0"/>
                    </a:p>
                    <a:p>
                      <a:pPr marL="177800" marR="0" indent="-177800" algn="l" defTabSz="914400" eaLnBrk="1" fontAlgn="auto" latinLnBrk="0" hangingPunct="1">
                        <a:lnSpc>
                          <a:spcPct val="100000"/>
                        </a:lnSpc>
                        <a:spcBef>
                          <a:spcPts val="0"/>
                        </a:spcBef>
                        <a:spcAft>
                          <a:spcPts val="0"/>
                        </a:spcAft>
                        <a:buClrTx/>
                        <a:buSzTx/>
                        <a:buFont typeface="Arial" pitchFamily="34" charset="0"/>
                        <a:buChar char="•"/>
                        <a:tabLst/>
                        <a:defRPr/>
                      </a:pPr>
                      <a:endParaRPr lang="es-CL" sz="1100" b="1" noProof="0" dirty="0" smtClean="0"/>
                    </a:p>
                    <a:p>
                      <a:pPr marL="177800" marR="0" indent="-177800" algn="l" defTabSz="914400" eaLnBrk="1" fontAlgn="auto" latinLnBrk="0" hangingPunct="1">
                        <a:lnSpc>
                          <a:spcPct val="100000"/>
                        </a:lnSpc>
                        <a:spcBef>
                          <a:spcPts val="0"/>
                        </a:spcBef>
                        <a:spcAft>
                          <a:spcPts val="0"/>
                        </a:spcAft>
                        <a:buClrTx/>
                        <a:buSzTx/>
                        <a:buFont typeface="Arial" pitchFamily="34" charset="0"/>
                        <a:buChar char="•"/>
                        <a:tabLst/>
                        <a:defRPr/>
                      </a:pPr>
                      <a:r>
                        <a:rPr lang="es-CL" sz="1100" b="1" noProof="0" dirty="0" smtClean="0"/>
                        <a:t>Mejorar las capacidades profesionales del mercado</a:t>
                      </a:r>
                    </a:p>
                    <a:p>
                      <a:pPr marL="177800" marR="0" indent="-177800" algn="l" defTabSz="914400" eaLnBrk="1" fontAlgn="auto" latinLnBrk="0" hangingPunct="1">
                        <a:lnSpc>
                          <a:spcPct val="100000"/>
                        </a:lnSpc>
                        <a:spcBef>
                          <a:spcPts val="0"/>
                        </a:spcBef>
                        <a:spcAft>
                          <a:spcPts val="0"/>
                        </a:spcAft>
                        <a:buClrTx/>
                        <a:buSzTx/>
                        <a:buFont typeface="Arial" pitchFamily="34" charset="0"/>
                        <a:buChar char="•"/>
                        <a:tabLst/>
                        <a:defRPr/>
                      </a:pPr>
                      <a:r>
                        <a:rPr lang="es-CL" sz="1100" b="1" noProof="0" dirty="0" smtClean="0"/>
                        <a:t>Mejorar la</a:t>
                      </a:r>
                      <a:r>
                        <a:rPr lang="es-CL" sz="1100" b="1" baseline="0" noProof="0" dirty="0" smtClean="0"/>
                        <a:t> empleabilidad</a:t>
                      </a:r>
                      <a:endParaRPr lang="es-CL" sz="1100" b="1" noProof="0" dirty="0" smtClean="0"/>
                    </a:p>
                    <a:p>
                      <a:pPr marL="177800" marR="0" indent="-177800" algn="l" defTabSz="914400" eaLnBrk="1" fontAlgn="auto" latinLnBrk="0" hangingPunct="1">
                        <a:lnSpc>
                          <a:spcPct val="100000"/>
                        </a:lnSpc>
                        <a:spcBef>
                          <a:spcPts val="0"/>
                        </a:spcBef>
                        <a:spcAft>
                          <a:spcPts val="0"/>
                        </a:spcAft>
                        <a:buClrTx/>
                        <a:buSzTx/>
                        <a:buFont typeface="Arial" pitchFamily="34" charset="0"/>
                        <a:buNone/>
                        <a:tabLst/>
                        <a:defRPr/>
                      </a:pPr>
                      <a:endParaRPr lang="es-CL" sz="1100" b="1" noProof="0" dirty="0" smtClean="0">
                        <a:solidFill>
                          <a:schemeClr val="dk1"/>
                        </a:solidFill>
                        <a:latin typeface="+mn-lt"/>
                        <a:ea typeface="+mn-ea"/>
                        <a:cs typeface="+mn-cs"/>
                      </a:endParaRP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716584">
                <a:tc gridSpan="2">
                  <a:txBody>
                    <a:bodyPr/>
                    <a:lstStyle/>
                    <a:p>
                      <a:pPr marL="177800" indent="-177800" algn="l">
                        <a:buFont typeface="Arial" pitchFamily="34" charset="0"/>
                        <a:buChar char="•"/>
                      </a:pPr>
                      <a:r>
                        <a:rPr lang="es-CL" sz="1100" b="1" noProof="0" dirty="0" smtClean="0">
                          <a:solidFill>
                            <a:schemeClr val="dk1"/>
                          </a:solidFill>
                          <a:latin typeface="+mn-lt"/>
                          <a:ea typeface="+mn-ea"/>
                          <a:cs typeface="+mn-cs"/>
                        </a:rPr>
                        <a:t>Consolidar a Chile como un polo de desarrollo biotecnológico en la Región</a:t>
                      </a:r>
                      <a:endParaRPr lang="es-CL" sz="1100" b="1" baseline="0" noProof="0" dirty="0" smtClean="0">
                        <a:solidFill>
                          <a:schemeClr val="dk1"/>
                        </a:solidFill>
                        <a:latin typeface="+mn-lt"/>
                        <a:ea typeface="+mn-ea"/>
                        <a:cs typeface="+mn-cs"/>
                      </a:endParaRPr>
                    </a:p>
                  </a:txBody>
                  <a:tcPr marL="36000" marR="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marL="177800" marR="0" indent="-177800" algn="l" defTabSz="914400" eaLnBrk="1" fontAlgn="auto" latinLnBrk="0" hangingPunct="1">
                        <a:lnSpc>
                          <a:spcPct val="100000"/>
                        </a:lnSpc>
                        <a:spcBef>
                          <a:spcPts val="0"/>
                        </a:spcBef>
                        <a:spcAft>
                          <a:spcPts val="0"/>
                        </a:spcAft>
                        <a:buClrTx/>
                        <a:buSzTx/>
                        <a:buFont typeface="Arial" pitchFamily="34" charset="0"/>
                        <a:buChar char="•"/>
                        <a:tabLst/>
                        <a:defRPr/>
                      </a:pPr>
                      <a:endParaRPr lang="en-US" sz="1100" dirty="0" smtClean="0">
                        <a:solidFill>
                          <a:schemeClr val="dk1"/>
                        </a:solidFill>
                        <a:latin typeface="+mn-lt"/>
                        <a:ea typeface="+mn-ea"/>
                        <a:cs typeface="+mn-cs"/>
                      </a:endParaRPr>
                    </a:p>
                  </a:txBody>
                  <a:tcPr marL="36000" marR="36000" anchor="ctr">
                    <a:solidFill>
                      <a:schemeClr val="bg1">
                        <a:lumMod val="95000"/>
                      </a:schemeClr>
                    </a:solidFill>
                  </a:tcPr>
                </a:tc>
              </a:tr>
            </a:tbl>
          </a:graphicData>
        </a:graphic>
      </p:graphicFrame>
    </p:spTree>
    <p:extLst>
      <p:ext uri="{BB962C8B-B14F-4D97-AF65-F5344CB8AC3E}">
        <p14:creationId xmlns:p14="http://schemas.microsoft.com/office/powerpoint/2010/main" val="23973797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539552" y="1340768"/>
            <a:ext cx="8266112" cy="4589462"/>
          </a:xfrm>
        </p:spPr>
        <p:txBody>
          <a:bodyPr>
            <a:noAutofit/>
          </a:bodyPr>
          <a:lstStyle/>
          <a:p>
            <a:pPr algn="just">
              <a:buClr>
                <a:srgbClr val="FF9933"/>
              </a:buClr>
              <a:buFont typeface="Symbol"/>
              <a:buChar char="Þ"/>
            </a:pPr>
            <a:r>
              <a:rPr lang="es-CL" sz="2400" b="0" dirty="0" smtClean="0">
                <a:solidFill>
                  <a:schemeClr val="tx1"/>
                </a:solidFill>
              </a:rPr>
              <a:t>Permitirá hacer </a:t>
            </a:r>
            <a:r>
              <a:rPr lang="es-CL" sz="2400" b="1" dirty="0" smtClean="0">
                <a:solidFill>
                  <a:schemeClr val="tx1"/>
                </a:solidFill>
              </a:rPr>
              <a:t>transferencia tecnológica </a:t>
            </a:r>
            <a:r>
              <a:rPr lang="es-CL" sz="2400" b="0" dirty="0" smtClean="0">
                <a:solidFill>
                  <a:schemeClr val="tx1"/>
                </a:solidFill>
              </a:rPr>
              <a:t>que aumentará las capacidades y conocimiento de los profesionales de la Salud, entorno al diagnóstico y tratamiento del cáncer en Chile.</a:t>
            </a:r>
          </a:p>
          <a:p>
            <a:pPr algn="just">
              <a:buClr>
                <a:srgbClr val="FF9933"/>
              </a:buClr>
              <a:buFont typeface="Symbol"/>
              <a:buChar char="Þ"/>
            </a:pPr>
            <a:endParaRPr lang="es-CL" sz="2400" b="0" dirty="0" smtClean="0">
              <a:solidFill>
                <a:schemeClr val="tx1"/>
              </a:solidFill>
            </a:endParaRPr>
          </a:p>
          <a:p>
            <a:pPr algn="just">
              <a:buClr>
                <a:srgbClr val="FF9933"/>
              </a:buClr>
              <a:buFont typeface="Symbol"/>
              <a:buChar char="Þ"/>
            </a:pPr>
            <a:r>
              <a:rPr lang="es-ES_tradnl" sz="2400" b="0" dirty="0" smtClean="0">
                <a:solidFill>
                  <a:schemeClr val="tx1"/>
                </a:solidFill>
              </a:rPr>
              <a:t>Líneas de investigación contribuirán a mejorar la calidad y disminuir la variabilidad de los diagnósticos actualmente disponibles.</a:t>
            </a:r>
          </a:p>
          <a:p>
            <a:pPr algn="just">
              <a:buClr>
                <a:srgbClr val="FF9933"/>
              </a:buClr>
              <a:buFont typeface="Symbol"/>
              <a:buChar char="Þ"/>
            </a:pPr>
            <a:endParaRPr lang="es-ES_tradnl" sz="2400" b="0" dirty="0" smtClean="0">
              <a:solidFill>
                <a:schemeClr val="tx1"/>
              </a:solidFill>
            </a:endParaRPr>
          </a:p>
          <a:p>
            <a:pPr algn="just">
              <a:buClr>
                <a:srgbClr val="FF9933"/>
              </a:buClr>
              <a:buFont typeface="Symbol"/>
              <a:buChar char="Þ"/>
            </a:pPr>
            <a:r>
              <a:rPr lang="es-ES_tradnl" sz="2400" b="0" dirty="0" smtClean="0">
                <a:solidFill>
                  <a:schemeClr val="tx1"/>
                </a:solidFill>
              </a:rPr>
              <a:t>Favorecerá la creación de un ecosistema en investigación genómica y medicina de precisión en Chile.</a:t>
            </a:r>
          </a:p>
          <a:p>
            <a:pPr algn="just">
              <a:buClr>
                <a:srgbClr val="FF9933"/>
              </a:buClr>
              <a:buFont typeface="Symbol"/>
              <a:buChar char="Þ"/>
            </a:pPr>
            <a:endParaRPr lang="es-CL" sz="2400" b="0" dirty="0" smtClean="0">
              <a:solidFill>
                <a:schemeClr val="tx1"/>
              </a:solidFill>
            </a:endParaRPr>
          </a:p>
          <a:p>
            <a:pPr>
              <a:buClr>
                <a:srgbClr val="FF9933"/>
              </a:buClr>
            </a:pPr>
            <a:endParaRPr lang="en-US" sz="2400" b="0" dirty="0">
              <a:solidFill>
                <a:schemeClr val="tx1"/>
              </a:solidFill>
            </a:endParaRPr>
          </a:p>
        </p:txBody>
      </p:sp>
      <p:sp>
        <p:nvSpPr>
          <p:cNvPr id="4" name="Rectangle 3"/>
          <p:cNvSpPr/>
          <p:nvPr/>
        </p:nvSpPr>
        <p:spPr>
          <a:xfrm>
            <a:off x="35496" y="228600"/>
            <a:ext cx="6408712" cy="1200329"/>
          </a:xfrm>
          <a:prstGeom prst="rect">
            <a:avLst/>
          </a:prstGeom>
        </p:spPr>
        <p:txBody>
          <a:bodyPr wrap="square">
            <a:spAutoFit/>
          </a:bodyPr>
          <a:lstStyle/>
          <a:p>
            <a:r>
              <a:rPr lang="es-CL" sz="3600" dirty="0" smtClean="0">
                <a:solidFill>
                  <a:schemeClr val="bg1"/>
                </a:solidFill>
                <a:latin typeface="Century Gothic" pitchFamily="34" charset="0"/>
              </a:rPr>
              <a:t>el CEMP…</a:t>
            </a:r>
            <a:endParaRPr lang="es-CL" sz="3600" dirty="0">
              <a:solidFill>
                <a:schemeClr val="bg1"/>
              </a:solidFill>
              <a:latin typeface="Century Gothic" pitchFamily="34" charset="0"/>
            </a:endParaRPr>
          </a:p>
          <a:p>
            <a:pPr lvl="0" fontAlgn="base">
              <a:spcBef>
                <a:spcPct val="0"/>
              </a:spcBef>
              <a:spcAft>
                <a:spcPct val="0"/>
              </a:spcAft>
            </a:pPr>
            <a:endParaRPr lang="es-CL" sz="3600" dirty="0">
              <a:solidFill>
                <a:schemeClr val="bg1"/>
              </a:solidFill>
              <a:latin typeface="Century Gothic" pitchFamily="34" charset="0"/>
              <a:ea typeface="Calibri" pitchFamily="34" charset="0"/>
              <a:cs typeface="Times New Roman" pitchFamily="18" charset="0"/>
            </a:endParaRPr>
          </a:p>
        </p:txBody>
      </p:sp>
    </p:spTree>
    <p:extLst>
      <p:ext uri="{BB962C8B-B14F-4D97-AF65-F5344CB8AC3E}">
        <p14:creationId xmlns:p14="http://schemas.microsoft.com/office/powerpoint/2010/main" val="457889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051720" y="2538770"/>
            <a:ext cx="5040560" cy="1754327"/>
          </a:xfrm>
          <a:prstGeom prst="rect">
            <a:avLst/>
          </a:prstGeom>
        </p:spPr>
        <p:txBody>
          <a:bodyPr wrap="square">
            <a:spAutoFit/>
          </a:bodyPr>
          <a:lstStyle/>
          <a:p>
            <a:pPr algn="ctr">
              <a:spcAft>
                <a:spcPts val="0"/>
              </a:spcAft>
            </a:pPr>
            <a:r>
              <a:rPr lang="es-CL" dirty="0" smtClean="0">
                <a:solidFill>
                  <a:srgbClr val="0070C0"/>
                </a:solidFill>
                <a:latin typeface="Arial"/>
                <a:ea typeface="Times New Roman"/>
                <a:cs typeface="Arial"/>
              </a:rPr>
              <a:t>Ricardo </a:t>
            </a:r>
            <a:r>
              <a:rPr lang="es-CL" dirty="0">
                <a:solidFill>
                  <a:srgbClr val="0070C0"/>
                </a:solidFill>
                <a:latin typeface="Arial"/>
                <a:ea typeface="Times New Roman"/>
                <a:cs typeface="Arial"/>
              </a:rPr>
              <a:t>A</a:t>
            </a:r>
            <a:r>
              <a:rPr lang="es-CL" dirty="0" smtClean="0">
                <a:solidFill>
                  <a:srgbClr val="0070C0"/>
                </a:solidFill>
                <a:latin typeface="Arial"/>
                <a:ea typeface="Times New Roman"/>
                <a:cs typeface="Arial"/>
              </a:rPr>
              <a:t>rmisén Y.</a:t>
            </a:r>
            <a:endParaRPr lang="es-CL" dirty="0">
              <a:solidFill>
                <a:srgbClr val="0070C0"/>
              </a:solidFill>
              <a:latin typeface="Arial"/>
              <a:ea typeface="Times New Roman"/>
              <a:cs typeface="Arial"/>
            </a:endParaRPr>
          </a:p>
          <a:p>
            <a:pPr algn="ctr">
              <a:spcAft>
                <a:spcPts val="0"/>
              </a:spcAft>
            </a:pPr>
            <a:r>
              <a:rPr lang="es-CL" dirty="0" smtClean="0">
                <a:solidFill>
                  <a:srgbClr val="595959"/>
                </a:solidFill>
                <a:latin typeface="Arial"/>
                <a:ea typeface="Times New Roman"/>
                <a:cs typeface="Arial"/>
              </a:rPr>
              <a:t>Head of </a:t>
            </a:r>
            <a:r>
              <a:rPr lang="es-CL" dirty="0" err="1" smtClean="0">
                <a:solidFill>
                  <a:srgbClr val="595959"/>
                </a:solidFill>
                <a:latin typeface="Arial"/>
                <a:ea typeface="Times New Roman"/>
                <a:cs typeface="Arial"/>
              </a:rPr>
              <a:t>Research</a:t>
            </a:r>
            <a:endParaRPr lang="es-CL" dirty="0">
              <a:solidFill>
                <a:srgbClr val="595959"/>
              </a:solidFill>
              <a:latin typeface="Arial"/>
              <a:ea typeface="Times New Roman"/>
              <a:cs typeface="Arial"/>
            </a:endParaRPr>
          </a:p>
          <a:p>
            <a:pPr algn="ctr">
              <a:spcAft>
                <a:spcPts val="0"/>
              </a:spcAft>
            </a:pPr>
            <a:r>
              <a:rPr lang="es-CL" dirty="0" err="1" smtClean="0">
                <a:solidFill>
                  <a:srgbClr val="595959"/>
                </a:solidFill>
                <a:latin typeface="Arial"/>
                <a:ea typeface="Times New Roman"/>
                <a:cs typeface="Arial"/>
              </a:rPr>
              <a:t>Precision</a:t>
            </a:r>
            <a:r>
              <a:rPr lang="es-CL" dirty="0" smtClean="0">
                <a:solidFill>
                  <a:srgbClr val="595959"/>
                </a:solidFill>
                <a:latin typeface="Arial"/>
                <a:ea typeface="Times New Roman"/>
                <a:cs typeface="Arial"/>
              </a:rPr>
              <a:t> Medicine Center of </a:t>
            </a:r>
            <a:r>
              <a:rPr lang="es-CL" dirty="0" err="1" smtClean="0">
                <a:solidFill>
                  <a:srgbClr val="595959"/>
                </a:solidFill>
                <a:latin typeface="Arial"/>
                <a:ea typeface="Times New Roman"/>
                <a:cs typeface="Arial"/>
              </a:rPr>
              <a:t>Excellence</a:t>
            </a:r>
            <a:endParaRPr lang="es-CL" dirty="0">
              <a:solidFill>
                <a:srgbClr val="595959"/>
              </a:solidFill>
              <a:latin typeface="Arial"/>
              <a:ea typeface="Times New Roman"/>
              <a:cs typeface="Arial"/>
            </a:endParaRPr>
          </a:p>
          <a:p>
            <a:pPr algn="ctr">
              <a:spcAft>
                <a:spcPts val="0"/>
              </a:spcAft>
            </a:pPr>
            <a:r>
              <a:rPr lang="es-CL" dirty="0">
                <a:solidFill>
                  <a:srgbClr val="595959"/>
                </a:solidFill>
                <a:latin typeface="Arial"/>
                <a:ea typeface="Times New Roman"/>
                <a:cs typeface="Arial"/>
              </a:rPr>
              <a:t>| </a:t>
            </a:r>
            <a:r>
              <a:rPr lang="es-CL" dirty="0">
                <a:solidFill>
                  <a:srgbClr val="0070C0"/>
                </a:solidFill>
                <a:latin typeface="Arial"/>
                <a:ea typeface="Times New Roman"/>
                <a:cs typeface="Arial"/>
              </a:rPr>
              <a:t>Pfizer Chile</a:t>
            </a:r>
            <a:r>
              <a:rPr lang="es-CL" dirty="0">
                <a:solidFill>
                  <a:srgbClr val="595959"/>
                </a:solidFill>
                <a:latin typeface="Arial"/>
                <a:ea typeface="Times New Roman"/>
                <a:cs typeface="Arial"/>
              </a:rPr>
              <a:t> | </a:t>
            </a:r>
            <a:endParaRPr lang="es-CL" dirty="0">
              <a:latin typeface="Arial"/>
              <a:ea typeface="Calibri"/>
              <a:cs typeface="Arial"/>
            </a:endParaRPr>
          </a:p>
          <a:p>
            <a:pPr algn="ctr"/>
            <a:endParaRPr lang="fr-FR" dirty="0">
              <a:latin typeface="Arial"/>
              <a:cs typeface="Arial"/>
            </a:endParaRPr>
          </a:p>
          <a:p>
            <a:pPr algn="ctr"/>
            <a:r>
              <a:rPr lang="fr-FR" dirty="0" smtClean="0">
                <a:latin typeface="Arial"/>
                <a:cs typeface="Arial"/>
              </a:rPr>
              <a:t>ricardo.armisen@Pfizer.com</a:t>
            </a:r>
            <a:endParaRPr lang="fr-FR" dirty="0">
              <a:latin typeface="Arial"/>
              <a:cs typeface="Arial"/>
            </a:endParaRPr>
          </a:p>
        </p:txBody>
      </p:sp>
      <p:sp>
        <p:nvSpPr>
          <p:cNvPr id="4" name="TextBox 3"/>
          <p:cNvSpPr txBox="1"/>
          <p:nvPr/>
        </p:nvSpPr>
        <p:spPr>
          <a:xfrm>
            <a:off x="152705" y="4653138"/>
            <a:ext cx="8847740" cy="954107"/>
          </a:xfrm>
          <a:prstGeom prst="rect">
            <a:avLst/>
          </a:prstGeom>
          <a:noFill/>
        </p:spPr>
        <p:txBody>
          <a:bodyPr wrap="square" rtlCol="0">
            <a:spAutoFit/>
          </a:bodyPr>
          <a:lstStyle/>
          <a:p>
            <a:pPr algn="just"/>
            <a:r>
              <a:rPr lang="en-US" sz="1400" dirty="0"/>
              <a:t>This document provides an outline of a presentation and is incomplete without the accompanying oral commentary and discussion. Conclusions and/ or potential strategies contained herein are NOT necessarily endorsed by </a:t>
            </a:r>
            <a:r>
              <a:rPr lang="en-US" sz="1400" dirty="0" smtClean="0"/>
              <a:t>Pfizer management</a:t>
            </a:r>
            <a:r>
              <a:rPr lang="en-US" sz="1400" dirty="0"/>
              <a:t>. Any implied strategy herein would be subject to management, regulatory and legal review and approval before implementation.</a:t>
            </a:r>
          </a:p>
        </p:txBody>
      </p:sp>
    </p:spTree>
    <p:extLst>
      <p:ext uri="{BB962C8B-B14F-4D97-AF65-F5344CB8AC3E}">
        <p14:creationId xmlns:p14="http://schemas.microsoft.com/office/powerpoint/2010/main" val="146195005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Number Placeholder 3"/>
          <p:cNvSpPr>
            <a:spLocks noGrp="1"/>
          </p:cNvSpPr>
          <p:nvPr>
            <p:ph type="sldNum" sz="quarter" idx="10"/>
          </p:nvPr>
        </p:nvSpPr>
        <p:spPr bwMode="auto">
          <a:xfrm>
            <a:off x="8788400" y="6581775"/>
            <a:ext cx="355600" cy="122238"/>
          </a:xfrm>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66566507-FA6D-46B7-8130-A8B68EFBC4C2}" type="slidenum">
              <a:rPr lang="en-US" altLang="en-US" smtClean="0">
                <a:solidFill>
                  <a:schemeClr val="bg1"/>
                </a:solidFill>
                <a:latin typeface="Arial" pitchFamily="34" charset="0"/>
                <a:cs typeface="Arial" pitchFamily="34" charset="0"/>
              </a:rPr>
              <a:pPr defTabSz="912813" fontAlgn="base">
                <a:spcBef>
                  <a:spcPct val="0"/>
                </a:spcBef>
                <a:spcAft>
                  <a:spcPct val="0"/>
                </a:spcAft>
              </a:pPr>
              <a:t>36</a:t>
            </a:fld>
            <a:endParaRPr lang="en-US" altLang="en-US" dirty="0" smtClean="0">
              <a:solidFill>
                <a:schemeClr val="bg1"/>
              </a:solidFill>
              <a:latin typeface="Arial" pitchFamily="34" charset="0"/>
              <a:cs typeface="Arial" pitchFamily="34" charset="0"/>
            </a:endParaRPr>
          </a:p>
        </p:txBody>
      </p:sp>
      <p:pic>
        <p:nvPicPr>
          <p:cNvPr id="6147" name="Picture 36" descr="ReverseTitlePage_1"/>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6148" name="Rectangle 4"/>
          <p:cNvSpPr>
            <a:spLocks noChangeArrowheads="1"/>
          </p:cNvSpPr>
          <p:nvPr/>
        </p:nvSpPr>
        <p:spPr bwMode="auto">
          <a:xfrm>
            <a:off x="2586039" y="2590800"/>
            <a:ext cx="42862" cy="1219200"/>
          </a:xfrm>
          <a:prstGeom prst="rect">
            <a:avLst/>
          </a:prstGeom>
          <a:solidFill>
            <a:schemeClr val="bg1"/>
          </a:solidFill>
          <a:ln w="9525" algn="ctr">
            <a:noFill/>
            <a:round/>
            <a:headEnd/>
            <a:tailEnd/>
          </a:ln>
        </p:spPr>
        <p:txBody>
          <a:bodyPr wrap="none" anchor="ctr"/>
          <a:lstStyle/>
          <a:p>
            <a:pPr algn="ctr">
              <a:buClr>
                <a:srgbClr val="009900"/>
              </a:buClr>
              <a:buFont typeface="Arial" pitchFamily="34" charset="0"/>
              <a:buChar char="–"/>
            </a:pPr>
            <a:endParaRPr lang="pt-BR">
              <a:solidFill>
                <a:schemeClr val="bg1"/>
              </a:solidFill>
            </a:endParaRPr>
          </a:p>
        </p:txBody>
      </p:sp>
      <p:sp>
        <p:nvSpPr>
          <p:cNvPr id="6149" name="TextBox 6"/>
          <p:cNvSpPr txBox="1">
            <a:spLocks noChangeArrowheads="1"/>
          </p:cNvSpPr>
          <p:nvPr/>
        </p:nvSpPr>
        <p:spPr bwMode="auto">
          <a:xfrm>
            <a:off x="2843808" y="2631013"/>
            <a:ext cx="4824536" cy="830997"/>
          </a:xfrm>
          <a:prstGeom prst="rect">
            <a:avLst/>
          </a:prstGeom>
          <a:noFill/>
          <a:ln w="9525">
            <a:noFill/>
            <a:miter lim="800000"/>
            <a:headEnd/>
            <a:tailEnd/>
          </a:ln>
        </p:spPr>
        <p:txBody>
          <a:bodyPr wrap="square">
            <a:spAutoFit/>
          </a:bodyPr>
          <a:lstStyle/>
          <a:p>
            <a:pPr>
              <a:buClr>
                <a:srgbClr val="009900"/>
              </a:buClr>
              <a:buFont typeface="Arial" pitchFamily="34" charset="0"/>
              <a:buNone/>
            </a:pPr>
            <a:r>
              <a:rPr lang="es-CL" sz="2400" dirty="0" smtClean="0">
                <a:solidFill>
                  <a:schemeClr val="bg1"/>
                </a:solidFill>
                <a:latin typeface="Arial"/>
                <a:cs typeface="Arial"/>
              </a:rPr>
              <a:t>Centro de Excelencia</a:t>
            </a:r>
          </a:p>
          <a:p>
            <a:pPr>
              <a:buClr>
                <a:srgbClr val="009900"/>
              </a:buClr>
              <a:buFont typeface="Arial" pitchFamily="34" charset="0"/>
              <a:buNone/>
            </a:pPr>
            <a:r>
              <a:rPr lang="es-CL" sz="2400" dirty="0" smtClean="0">
                <a:solidFill>
                  <a:schemeClr val="bg1"/>
                </a:solidFill>
                <a:latin typeface="Arial"/>
                <a:cs typeface="Arial"/>
              </a:rPr>
              <a:t>Medicina de Precisión</a:t>
            </a:r>
          </a:p>
        </p:txBody>
      </p:sp>
      <p:pic>
        <p:nvPicPr>
          <p:cNvPr id="6150" name="Picture 8" descr="Pfizerwhite.png"/>
          <p:cNvPicPr>
            <a:picLocks noChangeAspect="1"/>
          </p:cNvPicPr>
          <p:nvPr/>
        </p:nvPicPr>
        <p:blipFill>
          <a:blip r:embed="rId4" cstate="print"/>
          <a:srcRect/>
          <a:stretch>
            <a:fillRect/>
          </a:stretch>
        </p:blipFill>
        <p:spPr bwMode="auto">
          <a:xfrm>
            <a:off x="685800" y="2743200"/>
            <a:ext cx="1208088" cy="750887"/>
          </a:xfrm>
          <a:prstGeom prst="rect">
            <a:avLst/>
          </a:prstGeom>
          <a:noFill/>
          <a:ln w="9525">
            <a:noFill/>
            <a:miter lim="800000"/>
            <a:headEnd/>
            <a:tailEnd/>
          </a:ln>
        </p:spPr>
      </p:pic>
      <p:pic>
        <p:nvPicPr>
          <p:cNvPr id="8" name="Picture 2" descr="http://img4.wikia.nocookie.net/__cb20130328211906/althistory/es/images/2/25/Logo_CORFO.png"/>
          <p:cNvPicPr>
            <a:picLocks noChangeAspect="1" noChangeArrowheads="1"/>
          </p:cNvPicPr>
          <p:nvPr/>
        </p:nvPicPr>
        <p:blipFill>
          <a:blip r:embed="rId5" cstate="print"/>
          <a:srcRect b="24156"/>
          <a:stretch>
            <a:fillRect/>
          </a:stretch>
        </p:blipFill>
        <p:spPr bwMode="auto">
          <a:xfrm>
            <a:off x="5704477" y="228600"/>
            <a:ext cx="2906124" cy="896144"/>
          </a:xfrm>
          <a:prstGeom prst="rect">
            <a:avLst/>
          </a:prstGeom>
          <a:noFill/>
        </p:spPr>
      </p:pic>
    </p:spTree>
    <p:extLst>
      <p:ext uri="{BB962C8B-B14F-4D97-AF65-F5344CB8AC3E}">
        <p14:creationId xmlns:p14="http://schemas.microsoft.com/office/powerpoint/2010/main" val="22330023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Number Placeholder 3"/>
          <p:cNvSpPr txBox="1">
            <a:spLocks noGrp="1"/>
          </p:cNvSpPr>
          <p:nvPr/>
        </p:nvSpPr>
        <p:spPr bwMode="gray">
          <a:xfrm>
            <a:off x="8548310" y="6581775"/>
            <a:ext cx="355298"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Char char="•"/>
              <a:defRPr sz="1600" b="1">
                <a:solidFill>
                  <a:srgbClr val="007CC2"/>
                </a:solidFill>
                <a:latin typeface="Arial" pitchFamily="34" charset="0"/>
                <a:cs typeface="Arial" pitchFamily="34" charset="0"/>
              </a:defRPr>
            </a:lvl1pPr>
            <a:lvl2pPr marL="742950" indent="-285750" eaLnBrk="0" hangingPunct="0">
              <a:buClr>
                <a:schemeClr val="bg1"/>
              </a:buClr>
              <a:buFont typeface="Wingdings" pitchFamily="2" charset="2"/>
              <a:buChar char="§"/>
              <a:defRPr sz="1600">
                <a:solidFill>
                  <a:srgbClr val="007CC2"/>
                </a:solidFill>
                <a:latin typeface="Arial" pitchFamily="34" charset="0"/>
                <a:cs typeface="Arial" pitchFamily="34" charset="0"/>
              </a:defRPr>
            </a:lvl2pPr>
            <a:lvl3pPr marL="1143000" indent="-228600" eaLnBrk="0" hangingPunct="0">
              <a:buClr>
                <a:schemeClr val="bg1"/>
              </a:buClr>
              <a:buFont typeface="Wingdings" pitchFamily="2" charset="2"/>
              <a:buChar char="w"/>
              <a:defRPr sz="1600">
                <a:solidFill>
                  <a:srgbClr val="007CC2"/>
                </a:solidFill>
                <a:latin typeface="Arial" pitchFamily="34" charset="0"/>
                <a:cs typeface="Arial" pitchFamily="34" charset="0"/>
              </a:defRPr>
            </a:lvl3pPr>
            <a:lvl4pPr marL="16002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4pPr>
            <a:lvl5pPr marL="20574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5pPr>
            <a:lvl6pPr marL="25146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6pPr>
            <a:lvl7pPr marL="29718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7pPr>
            <a:lvl8pPr marL="34290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8pPr>
            <a:lvl9pPr marL="38862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9pPr>
          </a:lstStyle>
          <a:p>
            <a:pPr algn="r">
              <a:spcBef>
                <a:spcPct val="0"/>
              </a:spcBef>
              <a:buFontTx/>
              <a:buNone/>
            </a:pPr>
            <a:fld id="{E410BAA6-1B46-454B-AB74-762001E6461E}" type="slidenum">
              <a:rPr lang="en-US" altLang="en-US" sz="800" b="0"/>
              <a:pPr algn="r">
                <a:spcBef>
                  <a:spcPct val="0"/>
                </a:spcBef>
                <a:buFontTx/>
                <a:buNone/>
              </a:pPr>
              <a:t>4</a:t>
            </a:fld>
            <a:endParaRPr lang="en-US" altLang="en-US" sz="800" b="0"/>
          </a:p>
        </p:txBody>
      </p:sp>
      <p:sp>
        <p:nvSpPr>
          <p:cNvPr id="10243" name="Title 4"/>
          <p:cNvSpPr>
            <a:spLocks noGrp="1"/>
          </p:cNvSpPr>
          <p:nvPr>
            <p:ph type="title" idx="4294967295"/>
          </p:nvPr>
        </p:nvSpPr>
        <p:spPr>
          <a:xfrm>
            <a:off x="611560" y="84138"/>
            <a:ext cx="4895478" cy="711200"/>
          </a:xfrm>
        </p:spPr>
        <p:txBody>
          <a:bodyPr>
            <a:normAutofit/>
          </a:bodyPr>
          <a:lstStyle/>
          <a:p>
            <a:pPr algn="l"/>
            <a:r>
              <a:rPr lang="en-US" altLang="en-US" sz="3200" b="0" dirty="0" smtClean="0">
                <a:solidFill>
                  <a:schemeClr val="bg1"/>
                </a:solidFill>
              </a:rPr>
              <a:t>Our Commitments</a:t>
            </a:r>
          </a:p>
        </p:txBody>
      </p:sp>
      <p:sp>
        <p:nvSpPr>
          <p:cNvPr id="10244" name="Content Placeholder 2"/>
          <p:cNvSpPr txBox="1">
            <a:spLocks/>
          </p:cNvSpPr>
          <p:nvPr/>
        </p:nvSpPr>
        <p:spPr bwMode="gray">
          <a:xfrm>
            <a:off x="335643" y="1462088"/>
            <a:ext cx="8348738" cy="524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tIns="91440" bIns="91440"/>
          <a:lstStyle>
            <a:lvl1pPr marL="635000" indent="-406400" eaLnBrk="0" hangingPunct="0">
              <a:spcBef>
                <a:spcPct val="20000"/>
              </a:spcBef>
              <a:buChar char="•"/>
              <a:defRPr sz="1600" b="1">
                <a:solidFill>
                  <a:srgbClr val="007CC2"/>
                </a:solidFill>
                <a:latin typeface="Arial" pitchFamily="34" charset="0"/>
                <a:cs typeface="Arial" pitchFamily="34" charset="0"/>
              </a:defRPr>
            </a:lvl1pPr>
            <a:lvl2pPr marL="742950" indent="-285750" eaLnBrk="0" hangingPunct="0">
              <a:buClr>
                <a:schemeClr val="bg1"/>
              </a:buClr>
              <a:buFont typeface="Wingdings" pitchFamily="2" charset="2"/>
              <a:buChar char="§"/>
              <a:defRPr sz="1600">
                <a:solidFill>
                  <a:srgbClr val="007CC2"/>
                </a:solidFill>
                <a:latin typeface="Arial" pitchFamily="34" charset="0"/>
                <a:cs typeface="Arial" pitchFamily="34" charset="0"/>
              </a:defRPr>
            </a:lvl2pPr>
            <a:lvl3pPr marL="1143000" indent="-228600" eaLnBrk="0" hangingPunct="0">
              <a:buClr>
                <a:schemeClr val="bg1"/>
              </a:buClr>
              <a:buFont typeface="Wingdings" pitchFamily="2" charset="2"/>
              <a:buChar char="w"/>
              <a:defRPr sz="1600">
                <a:solidFill>
                  <a:srgbClr val="007CC2"/>
                </a:solidFill>
                <a:latin typeface="Arial" pitchFamily="34" charset="0"/>
                <a:cs typeface="Arial" pitchFamily="34" charset="0"/>
              </a:defRPr>
            </a:lvl3pPr>
            <a:lvl4pPr marL="16002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4pPr>
            <a:lvl5pPr marL="20574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5pPr>
            <a:lvl6pPr marL="25146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6pPr>
            <a:lvl7pPr marL="29718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7pPr>
            <a:lvl8pPr marL="34290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8pPr>
            <a:lvl9pPr marL="38862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9pPr>
          </a:lstStyle>
          <a:p>
            <a:pPr>
              <a:spcBef>
                <a:spcPts val="2400"/>
              </a:spcBef>
              <a:buClr>
                <a:srgbClr val="00B050"/>
              </a:buClr>
              <a:buSzPts val="2000"/>
              <a:buFont typeface="Wingdings" pitchFamily="2" charset="2"/>
              <a:buChar char="§"/>
            </a:pPr>
            <a:r>
              <a:rPr lang="en-US" altLang="en-US" sz="2000" b="0" dirty="0">
                <a:solidFill>
                  <a:srgbClr val="000000"/>
                </a:solidFill>
              </a:rPr>
              <a:t>Rigor and excellence in </a:t>
            </a:r>
            <a:r>
              <a:rPr lang="en-US" altLang="en-US" sz="2000" u="sng" dirty="0">
                <a:solidFill>
                  <a:srgbClr val="1A578A"/>
                </a:solidFill>
              </a:rPr>
              <a:t>science and medicine</a:t>
            </a:r>
            <a:r>
              <a:rPr lang="en-US" altLang="en-US" sz="2000" b="0" dirty="0">
                <a:solidFill>
                  <a:srgbClr val="000000"/>
                </a:solidFill>
              </a:rPr>
              <a:t>.</a:t>
            </a:r>
          </a:p>
          <a:p>
            <a:pPr>
              <a:spcBef>
                <a:spcPts val="2400"/>
              </a:spcBef>
              <a:buClr>
                <a:srgbClr val="00B050"/>
              </a:buClr>
              <a:buSzPts val="2000"/>
              <a:buFont typeface="Wingdings" pitchFamily="2" charset="2"/>
              <a:buChar char="§"/>
            </a:pPr>
            <a:r>
              <a:rPr lang="en-US" altLang="en-US" sz="2000" b="0" dirty="0">
                <a:solidFill>
                  <a:srgbClr val="000000"/>
                </a:solidFill>
              </a:rPr>
              <a:t>A </a:t>
            </a:r>
            <a:r>
              <a:rPr lang="en-US" altLang="en-US" sz="2000" u="sng" dirty="0">
                <a:solidFill>
                  <a:srgbClr val="1A578A"/>
                </a:solidFill>
              </a:rPr>
              <a:t>high standard for innovation</a:t>
            </a:r>
            <a:r>
              <a:rPr lang="en-US" altLang="en-US" sz="2000" b="0" dirty="0">
                <a:solidFill>
                  <a:srgbClr val="000000"/>
                </a:solidFill>
              </a:rPr>
              <a:t>, combining customer insights with a breadth of scientific approaches to combat diseases.</a:t>
            </a:r>
          </a:p>
          <a:p>
            <a:pPr>
              <a:spcBef>
                <a:spcPts val="2400"/>
              </a:spcBef>
              <a:buClr>
                <a:srgbClr val="00B050"/>
              </a:buClr>
              <a:buSzPts val="2000"/>
              <a:buFont typeface="Wingdings" pitchFamily="2" charset="2"/>
              <a:buChar char="§"/>
            </a:pPr>
            <a:r>
              <a:rPr lang="en-US" altLang="en-US" sz="2000" b="0" dirty="0">
                <a:solidFill>
                  <a:srgbClr val="000000"/>
                </a:solidFill>
              </a:rPr>
              <a:t>A </a:t>
            </a:r>
            <a:r>
              <a:rPr lang="en-US" altLang="en-US" sz="2000" u="sng" dirty="0">
                <a:solidFill>
                  <a:srgbClr val="1A578A"/>
                </a:solidFill>
              </a:rPr>
              <a:t>vibrant culture</a:t>
            </a:r>
            <a:r>
              <a:rPr lang="en-US" altLang="en-US" sz="2000" b="0" dirty="0">
                <a:solidFill>
                  <a:srgbClr val="000000"/>
                </a:solidFill>
              </a:rPr>
              <a:t> that inspires innovation, demands collaboration,  cultivates diversity, and delivers quality.</a:t>
            </a:r>
          </a:p>
          <a:p>
            <a:pPr>
              <a:spcBef>
                <a:spcPts val="2400"/>
              </a:spcBef>
              <a:buClr>
                <a:srgbClr val="00B050"/>
              </a:buClr>
              <a:buSzPts val="2000"/>
              <a:buFont typeface="Wingdings" pitchFamily="2" charset="2"/>
              <a:buChar char="§"/>
            </a:pPr>
            <a:r>
              <a:rPr lang="en-US" altLang="en-US" sz="2000" b="0" dirty="0">
                <a:solidFill>
                  <a:srgbClr val="000000"/>
                </a:solidFill>
              </a:rPr>
              <a:t>A </a:t>
            </a:r>
            <a:r>
              <a:rPr lang="en-US" altLang="en-US" sz="2000" u="sng" dirty="0">
                <a:solidFill>
                  <a:srgbClr val="1A578A"/>
                </a:solidFill>
              </a:rPr>
              <a:t>sense of urgency</a:t>
            </a:r>
            <a:r>
              <a:rPr lang="en-US" altLang="en-US" sz="2000" b="0" dirty="0">
                <a:solidFill>
                  <a:srgbClr val="000000"/>
                </a:solidFill>
              </a:rPr>
              <a:t> that drives fast, flexible, effective execution.</a:t>
            </a:r>
          </a:p>
          <a:p>
            <a:pPr>
              <a:spcBef>
                <a:spcPts val="2400"/>
              </a:spcBef>
              <a:buClr>
                <a:srgbClr val="00B050"/>
              </a:buClr>
              <a:buSzPts val="2000"/>
              <a:buFont typeface="Wingdings" pitchFamily="2" charset="2"/>
              <a:buChar char="§"/>
            </a:pPr>
            <a:r>
              <a:rPr lang="en-US" altLang="en-US" sz="2000" b="0" dirty="0">
                <a:solidFill>
                  <a:srgbClr val="000000"/>
                </a:solidFill>
              </a:rPr>
              <a:t>Creative </a:t>
            </a:r>
            <a:r>
              <a:rPr lang="en-US" altLang="en-US" sz="2000" u="sng" dirty="0">
                <a:solidFill>
                  <a:srgbClr val="1A578A"/>
                </a:solidFill>
              </a:rPr>
              <a:t>external partnerships</a:t>
            </a:r>
            <a:r>
              <a:rPr lang="en-US" altLang="en-US" sz="2000" b="0" dirty="0">
                <a:solidFill>
                  <a:srgbClr val="000000"/>
                </a:solidFill>
              </a:rPr>
              <a:t> that access the best science and speed our progress.</a:t>
            </a:r>
            <a:endParaRPr lang="en-US" altLang="en-US" sz="2000" b="0" dirty="0">
              <a:solidFill>
                <a:srgbClr val="002060"/>
              </a:solidFill>
            </a:endParaRPr>
          </a:p>
        </p:txBody>
      </p:sp>
      <p:pic>
        <p:nvPicPr>
          <p:cNvPr id="10245" name="Picture 5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33715" y="5732463"/>
            <a:ext cx="625929"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6" name="Picture 5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57703" y="5727701"/>
            <a:ext cx="625929"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7" name="Picture 5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63548" y="5732463"/>
            <a:ext cx="598714"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8" name="Picture 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08917" y="5727701"/>
            <a:ext cx="625929"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9" name="Picture 5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45000" y="5741988"/>
            <a:ext cx="625929"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0" name="Picture 4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67476" y="5722938"/>
            <a:ext cx="625929"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1" name="Picture 4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29262" y="5722938"/>
            <a:ext cx="625929"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2" name="Picture 5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000119" y="5715001"/>
            <a:ext cx="622905" cy="66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3" name="Picture 5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831667" y="5727701"/>
            <a:ext cx="625929"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141636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4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24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24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24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24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7714" y="84138"/>
            <a:ext cx="7547429" cy="824582"/>
          </a:xfrm>
        </p:spPr>
        <p:txBody>
          <a:bodyPr/>
          <a:lstStyle/>
          <a:p>
            <a:pPr algn="l"/>
            <a:r>
              <a:rPr lang="es-CL" sz="3200" b="0" dirty="0" smtClean="0"/>
              <a:t>R&amp;D </a:t>
            </a:r>
            <a:r>
              <a:rPr lang="es-CL" sz="3200" b="0" dirty="0" err="1" smtClean="0"/>
              <a:t>Focus</a:t>
            </a:r>
            <a:endParaRPr lang="es-CL" sz="3200" b="0" dirty="0"/>
          </a:p>
        </p:txBody>
      </p:sp>
      <p:sp>
        <p:nvSpPr>
          <p:cNvPr id="4" name="Rectangle 17"/>
          <p:cNvSpPr>
            <a:spLocks noChangeArrowheads="1"/>
          </p:cNvSpPr>
          <p:nvPr/>
        </p:nvSpPr>
        <p:spPr bwMode="auto">
          <a:xfrm>
            <a:off x="717550" y="3821113"/>
            <a:ext cx="1514929" cy="197490"/>
          </a:xfrm>
          <a:prstGeom prst="rect">
            <a:avLst/>
          </a:prstGeom>
          <a:noFill/>
          <a:ln w="9525" algn="ctr">
            <a:noFill/>
            <a:miter lim="800000"/>
            <a:headEnd/>
            <a:tailEnd/>
          </a:ln>
        </p:spPr>
        <p:txBody>
          <a:bodyPr lIns="0" tIns="0" rIns="0" bIns="0">
            <a:spAutoFit/>
          </a:bodyPr>
          <a:lstStyle/>
          <a:p>
            <a:pPr eaLnBrk="0" hangingPunct="0">
              <a:lnSpc>
                <a:spcPct val="90000"/>
              </a:lnSpc>
              <a:spcBef>
                <a:spcPct val="20000"/>
              </a:spcBef>
            </a:pPr>
            <a:r>
              <a:rPr lang="en-US" sz="1400" b="1" dirty="0">
                <a:latin typeface="Arial" charset="0"/>
              </a:rPr>
              <a:t>Neuroscience</a:t>
            </a:r>
          </a:p>
        </p:txBody>
      </p:sp>
      <p:sp>
        <p:nvSpPr>
          <p:cNvPr id="5" name="Rectangle 18"/>
          <p:cNvSpPr>
            <a:spLocks noChangeArrowheads="1"/>
          </p:cNvSpPr>
          <p:nvPr/>
        </p:nvSpPr>
        <p:spPr bwMode="auto">
          <a:xfrm>
            <a:off x="5324021" y="3821113"/>
            <a:ext cx="1038679" cy="197490"/>
          </a:xfrm>
          <a:prstGeom prst="rect">
            <a:avLst/>
          </a:prstGeom>
          <a:noFill/>
          <a:ln w="9525" algn="ctr">
            <a:noFill/>
            <a:miter lim="800000"/>
            <a:headEnd/>
            <a:tailEnd/>
          </a:ln>
        </p:spPr>
        <p:txBody>
          <a:bodyPr wrap="square" lIns="0" tIns="0" rIns="0" bIns="0">
            <a:spAutoFit/>
          </a:bodyPr>
          <a:lstStyle/>
          <a:p>
            <a:pPr eaLnBrk="0" hangingPunct="0">
              <a:lnSpc>
                <a:spcPct val="90000"/>
              </a:lnSpc>
              <a:spcBef>
                <a:spcPct val="20000"/>
              </a:spcBef>
            </a:pPr>
            <a:r>
              <a:rPr lang="en-US" sz="1400" b="1" dirty="0">
                <a:solidFill>
                  <a:srgbClr val="000000"/>
                </a:solidFill>
                <a:latin typeface="Arial" charset="0"/>
              </a:rPr>
              <a:t>Oncology</a:t>
            </a:r>
          </a:p>
        </p:txBody>
      </p:sp>
      <p:sp>
        <p:nvSpPr>
          <p:cNvPr id="6" name="Rectangle 19"/>
          <p:cNvSpPr>
            <a:spLocks noChangeArrowheads="1"/>
          </p:cNvSpPr>
          <p:nvPr/>
        </p:nvSpPr>
        <p:spPr bwMode="auto">
          <a:xfrm>
            <a:off x="6902450" y="3821113"/>
            <a:ext cx="1753810" cy="391389"/>
          </a:xfrm>
          <a:prstGeom prst="rect">
            <a:avLst/>
          </a:prstGeom>
          <a:noFill/>
          <a:ln w="9525" algn="ctr">
            <a:noFill/>
            <a:miter lim="800000"/>
            <a:headEnd/>
            <a:tailEnd/>
          </a:ln>
        </p:spPr>
        <p:txBody>
          <a:bodyPr lIns="0" tIns="0" rIns="0" bIns="0">
            <a:spAutoFit/>
          </a:bodyPr>
          <a:lstStyle/>
          <a:p>
            <a:pPr eaLnBrk="0" hangingPunct="0">
              <a:lnSpc>
                <a:spcPct val="90000"/>
              </a:lnSpc>
              <a:spcBef>
                <a:spcPct val="20000"/>
              </a:spcBef>
            </a:pPr>
            <a:r>
              <a:rPr lang="en-US" sz="1400" b="1" dirty="0">
                <a:solidFill>
                  <a:srgbClr val="000000"/>
                </a:solidFill>
                <a:latin typeface="Arial" charset="0"/>
              </a:rPr>
              <a:t>Inflammation / Immunology</a:t>
            </a:r>
          </a:p>
        </p:txBody>
      </p:sp>
      <p:sp>
        <p:nvSpPr>
          <p:cNvPr id="7" name="Rectangle 21"/>
          <p:cNvSpPr>
            <a:spLocks noChangeArrowheads="1"/>
          </p:cNvSpPr>
          <p:nvPr/>
        </p:nvSpPr>
        <p:spPr bwMode="auto">
          <a:xfrm>
            <a:off x="3753154" y="3821113"/>
            <a:ext cx="1514929" cy="197490"/>
          </a:xfrm>
          <a:prstGeom prst="rect">
            <a:avLst/>
          </a:prstGeom>
          <a:noFill/>
          <a:ln w="9525" algn="ctr">
            <a:noFill/>
            <a:miter lim="800000"/>
            <a:headEnd/>
            <a:tailEnd/>
          </a:ln>
        </p:spPr>
        <p:txBody>
          <a:bodyPr lIns="0" tIns="0" rIns="0" bIns="0">
            <a:spAutoFit/>
          </a:bodyPr>
          <a:lstStyle/>
          <a:p>
            <a:pPr eaLnBrk="0" hangingPunct="0">
              <a:lnSpc>
                <a:spcPct val="90000"/>
              </a:lnSpc>
              <a:spcBef>
                <a:spcPct val="20000"/>
              </a:spcBef>
            </a:pPr>
            <a:r>
              <a:rPr lang="en-US" sz="1400" b="1" dirty="0">
                <a:solidFill>
                  <a:srgbClr val="000000"/>
                </a:solidFill>
                <a:latin typeface="Arial" charset="0"/>
              </a:rPr>
              <a:t>Vaccines</a:t>
            </a:r>
          </a:p>
        </p:txBody>
      </p:sp>
      <p:grpSp>
        <p:nvGrpSpPr>
          <p:cNvPr id="8" name="Group 25"/>
          <p:cNvGrpSpPr/>
          <p:nvPr/>
        </p:nvGrpSpPr>
        <p:grpSpPr>
          <a:xfrm>
            <a:off x="748614" y="2209800"/>
            <a:ext cx="7703236" cy="1492250"/>
            <a:chOff x="1174750" y="2514600"/>
            <a:chExt cx="7277100" cy="1409700"/>
          </a:xfrm>
        </p:grpSpPr>
        <p:pic>
          <p:nvPicPr>
            <p:cNvPr id="9" name="Picture 24" descr="Vaccines"/>
            <p:cNvPicPr>
              <a:picLocks noChangeAspect="1" noChangeArrowheads="1"/>
            </p:cNvPicPr>
            <p:nvPr/>
          </p:nvPicPr>
          <p:blipFill>
            <a:blip r:embed="rId2" cstate="print"/>
            <a:srcRect/>
            <a:stretch>
              <a:fillRect/>
            </a:stretch>
          </p:blipFill>
          <p:spPr bwMode="gray">
            <a:xfrm>
              <a:off x="3985987" y="2514600"/>
              <a:ext cx="1486202" cy="1409700"/>
            </a:xfrm>
            <a:prstGeom prst="rect">
              <a:avLst/>
            </a:prstGeom>
            <a:noFill/>
            <a:ln w="28575">
              <a:noFill/>
              <a:miter lim="800000"/>
              <a:headEnd/>
              <a:tailEnd/>
            </a:ln>
          </p:spPr>
        </p:pic>
        <p:pic>
          <p:nvPicPr>
            <p:cNvPr id="10" name="Picture 27" descr="Inflammation"/>
            <p:cNvPicPr>
              <a:picLocks noChangeAspect="1" noChangeArrowheads="1"/>
            </p:cNvPicPr>
            <p:nvPr/>
          </p:nvPicPr>
          <p:blipFill>
            <a:blip r:embed="rId3" cstate="print"/>
            <a:srcRect/>
            <a:stretch>
              <a:fillRect/>
            </a:stretch>
          </p:blipFill>
          <p:spPr bwMode="auto">
            <a:xfrm>
              <a:off x="6965648" y="2514600"/>
              <a:ext cx="1486202" cy="1409700"/>
            </a:xfrm>
            <a:prstGeom prst="rect">
              <a:avLst/>
            </a:prstGeom>
            <a:noFill/>
            <a:ln w="28575">
              <a:noFill/>
              <a:miter lim="800000"/>
              <a:headEnd/>
              <a:tailEnd/>
            </a:ln>
          </p:spPr>
        </p:pic>
        <p:pic>
          <p:nvPicPr>
            <p:cNvPr id="11" name="Picture 29" descr="Neurology"/>
            <p:cNvPicPr>
              <a:picLocks noChangeAspect="1" noChangeArrowheads="1"/>
            </p:cNvPicPr>
            <p:nvPr/>
          </p:nvPicPr>
          <p:blipFill>
            <a:blip r:embed="rId4" cstate="print"/>
            <a:srcRect/>
            <a:stretch>
              <a:fillRect/>
            </a:stretch>
          </p:blipFill>
          <p:spPr bwMode="invGray">
            <a:xfrm>
              <a:off x="1174750" y="2514600"/>
              <a:ext cx="1486203" cy="1409700"/>
            </a:xfrm>
            <a:prstGeom prst="rect">
              <a:avLst/>
            </a:prstGeom>
            <a:noFill/>
            <a:ln w="28575">
              <a:noFill/>
              <a:miter lim="800000"/>
              <a:headEnd/>
              <a:tailEnd/>
            </a:ln>
          </p:spPr>
        </p:pic>
        <p:pic>
          <p:nvPicPr>
            <p:cNvPr id="12" name="Picture 30" descr="Oncology"/>
            <p:cNvPicPr>
              <a:picLocks noChangeAspect="1" noChangeArrowheads="1"/>
            </p:cNvPicPr>
            <p:nvPr/>
          </p:nvPicPr>
          <p:blipFill>
            <a:blip r:embed="rId5" cstate="print"/>
            <a:srcRect/>
            <a:stretch>
              <a:fillRect/>
            </a:stretch>
          </p:blipFill>
          <p:spPr bwMode="invGray">
            <a:xfrm>
              <a:off x="5472642" y="2514600"/>
              <a:ext cx="1486203" cy="1409700"/>
            </a:xfrm>
            <a:prstGeom prst="rect">
              <a:avLst/>
            </a:prstGeom>
            <a:noFill/>
            <a:ln w="28575">
              <a:noFill/>
              <a:miter lim="800000"/>
              <a:headEnd/>
              <a:tailEnd/>
            </a:ln>
          </p:spPr>
        </p:pic>
        <p:pic>
          <p:nvPicPr>
            <p:cNvPr id="13" name="Picture 2" descr="http://www.nextscience.org/wp-content/uploads/2008/05/cardiovascular.jpg"/>
            <p:cNvPicPr>
              <a:picLocks noChangeAspect="1" noChangeArrowheads="1"/>
            </p:cNvPicPr>
            <p:nvPr/>
          </p:nvPicPr>
          <p:blipFill>
            <a:blip r:embed="rId6" cstate="print"/>
            <a:srcRect/>
            <a:stretch>
              <a:fillRect/>
            </a:stretch>
          </p:blipFill>
          <p:spPr bwMode="auto">
            <a:xfrm>
              <a:off x="2661407" y="2514600"/>
              <a:ext cx="1330476" cy="1389063"/>
            </a:xfrm>
            <a:prstGeom prst="rect">
              <a:avLst/>
            </a:prstGeom>
            <a:noFill/>
            <a:ln w="9525">
              <a:noFill/>
              <a:miter lim="800000"/>
              <a:headEnd/>
              <a:tailEnd/>
            </a:ln>
          </p:spPr>
        </p:pic>
      </p:grpSp>
      <p:cxnSp>
        <p:nvCxnSpPr>
          <p:cNvPr id="14" name="Straight Connector 13"/>
          <p:cNvCxnSpPr/>
          <p:nvPr/>
        </p:nvCxnSpPr>
        <p:spPr>
          <a:xfrm rot="5400000">
            <a:off x="5991225" y="3031331"/>
            <a:ext cx="1758950" cy="1588"/>
          </a:xfrm>
          <a:prstGeom prst="line">
            <a:avLst/>
          </a:prstGeom>
          <a:ln w="317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rot="5400000">
            <a:off x="4410075" y="3031331"/>
            <a:ext cx="1758950" cy="1588"/>
          </a:xfrm>
          <a:prstGeom prst="line">
            <a:avLst/>
          </a:prstGeom>
          <a:ln w="317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rot="5400000">
            <a:off x="2841625" y="3031331"/>
            <a:ext cx="1758950" cy="1588"/>
          </a:xfrm>
          <a:prstGeom prst="line">
            <a:avLst/>
          </a:prstGeom>
          <a:ln w="317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rot="5400000">
            <a:off x="1439069" y="3031331"/>
            <a:ext cx="1758950" cy="1588"/>
          </a:xfrm>
          <a:prstGeom prst="line">
            <a:avLst/>
          </a:prstGeom>
          <a:ln w="3175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8" name="Rectangle 17"/>
          <p:cNvSpPr>
            <a:spLocks noChangeArrowheads="1"/>
          </p:cNvSpPr>
          <p:nvPr/>
        </p:nvSpPr>
        <p:spPr bwMode="auto">
          <a:xfrm>
            <a:off x="2324101" y="3821112"/>
            <a:ext cx="889000" cy="204787"/>
          </a:xfrm>
          <a:prstGeom prst="rect">
            <a:avLst/>
          </a:prstGeom>
          <a:noFill/>
          <a:ln w="9525" algn="ctr">
            <a:noFill/>
            <a:miter lim="800000"/>
            <a:headEnd/>
            <a:tailEnd/>
          </a:ln>
        </p:spPr>
        <p:txBody>
          <a:bodyPr wrap="square" lIns="0" tIns="0" rIns="0" bIns="0">
            <a:spAutoFit/>
          </a:bodyPr>
          <a:lstStyle/>
          <a:p>
            <a:pPr eaLnBrk="0" hangingPunct="0">
              <a:lnSpc>
                <a:spcPct val="90000"/>
              </a:lnSpc>
              <a:spcBef>
                <a:spcPct val="20000"/>
              </a:spcBef>
            </a:pPr>
            <a:r>
              <a:rPr lang="en-US" sz="1400" b="1" dirty="0" smtClean="0">
                <a:latin typeface="Arial" charset="0"/>
              </a:rPr>
              <a:t>CVMED</a:t>
            </a:r>
            <a:endParaRPr lang="en-US" sz="1400" b="1" dirty="0">
              <a:latin typeface="Arial" charset="0"/>
            </a:endParaRPr>
          </a:p>
        </p:txBody>
      </p:sp>
      <p:sp>
        <p:nvSpPr>
          <p:cNvPr id="19" name="TextBox 18"/>
          <p:cNvSpPr txBox="1"/>
          <p:nvPr/>
        </p:nvSpPr>
        <p:spPr>
          <a:xfrm>
            <a:off x="721181" y="4365104"/>
            <a:ext cx="7730669" cy="1384995"/>
          </a:xfrm>
          <a:prstGeom prst="rect">
            <a:avLst/>
          </a:prstGeom>
          <a:noFill/>
        </p:spPr>
        <p:txBody>
          <a:bodyPr wrap="square" lIns="0" tIns="0" rIns="0" bIns="0" rtlCol="0">
            <a:spAutoFit/>
          </a:bodyPr>
          <a:lstStyle/>
          <a:p>
            <a:r>
              <a:rPr lang="en-US" b="1" dirty="0" smtClean="0"/>
              <a:t>Collaboration</a:t>
            </a:r>
            <a:r>
              <a:rPr lang="en-US" dirty="0" smtClean="0"/>
              <a:t> is fundamental to our strategy. We have wide-ranging </a:t>
            </a:r>
            <a:r>
              <a:rPr lang="en-US" b="1" dirty="0" smtClean="0"/>
              <a:t>partnerships </a:t>
            </a:r>
            <a:r>
              <a:rPr lang="en-US" dirty="0" smtClean="0"/>
              <a:t>with other </a:t>
            </a:r>
            <a:r>
              <a:rPr lang="en-US" b="1" dirty="0" smtClean="0"/>
              <a:t>innovator companies, academic institutions and non-governmental organizations.</a:t>
            </a:r>
            <a:r>
              <a:rPr lang="en-US" dirty="0" smtClean="0"/>
              <a:t> Sometimes we license our compounds to others for development. Other times we share the costs – and the risks and benefits – to develop and market products. </a:t>
            </a:r>
            <a:endParaRPr lang="en-US" dirty="0"/>
          </a:p>
        </p:txBody>
      </p:sp>
      <p:sp>
        <p:nvSpPr>
          <p:cNvPr id="20" name="TextBox 19"/>
          <p:cNvSpPr txBox="1"/>
          <p:nvPr/>
        </p:nvSpPr>
        <p:spPr>
          <a:xfrm>
            <a:off x="717550" y="1485900"/>
            <a:ext cx="7742882" cy="553998"/>
          </a:xfrm>
          <a:prstGeom prst="rect">
            <a:avLst/>
          </a:prstGeom>
          <a:noFill/>
        </p:spPr>
        <p:txBody>
          <a:bodyPr wrap="square" lIns="0" tIns="0" rIns="0" bIns="0" rtlCol="0">
            <a:spAutoFit/>
          </a:bodyPr>
          <a:lstStyle/>
          <a:p>
            <a:r>
              <a:rPr lang="en-US" dirty="0" smtClean="0"/>
              <a:t>We focus our resources in disease areas where we have the best chance of scientific and commercial success:</a:t>
            </a:r>
            <a:endParaRPr lang="en-US" dirty="0"/>
          </a:p>
        </p:txBody>
      </p:sp>
    </p:spTree>
    <p:extLst>
      <p:ext uri="{BB962C8B-B14F-4D97-AF65-F5344CB8AC3E}">
        <p14:creationId xmlns:p14="http://schemas.microsoft.com/office/powerpoint/2010/main" val="24078268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218" name="Group 2"/>
          <p:cNvGrpSpPr>
            <a:grpSpLocks/>
          </p:cNvGrpSpPr>
          <p:nvPr>
            <p:custDataLst>
              <p:tags r:id="rId1"/>
            </p:custDataLst>
          </p:nvPr>
        </p:nvGrpSpPr>
        <p:grpSpPr bwMode="auto">
          <a:xfrm>
            <a:off x="280988" y="987425"/>
            <a:ext cx="8545512" cy="5370513"/>
            <a:chOff x="349" y="1160"/>
            <a:chExt cx="5513" cy="2434"/>
          </a:xfrm>
        </p:grpSpPr>
        <p:sp>
          <p:nvSpPr>
            <p:cNvPr id="9312" name="Freeform 3"/>
            <p:cNvSpPr>
              <a:spLocks/>
            </p:cNvSpPr>
            <p:nvPr/>
          </p:nvSpPr>
          <p:spPr bwMode="auto">
            <a:xfrm>
              <a:off x="5159" y="3325"/>
              <a:ext cx="61" cy="55"/>
            </a:xfrm>
            <a:custGeom>
              <a:avLst/>
              <a:gdLst>
                <a:gd name="T0" fmla="*/ 1 w 121"/>
                <a:gd name="T1" fmla="*/ 0 h 109"/>
                <a:gd name="T2" fmla="*/ 1 w 121"/>
                <a:gd name="T3" fmla="*/ 0 h 109"/>
                <a:gd name="T4" fmla="*/ 1 w 121"/>
                <a:gd name="T5" fmla="*/ 0 h 109"/>
                <a:gd name="T6" fmla="*/ 1 w 121"/>
                <a:gd name="T7" fmla="*/ 0 h 109"/>
                <a:gd name="T8" fmla="*/ 1 w 121"/>
                <a:gd name="T9" fmla="*/ 1 h 109"/>
                <a:gd name="T10" fmla="*/ 1 w 121"/>
                <a:gd name="T11" fmla="*/ 1 h 109"/>
                <a:gd name="T12" fmla="*/ 1 w 121"/>
                <a:gd name="T13" fmla="*/ 1 h 109"/>
                <a:gd name="T14" fmla="*/ 1 w 121"/>
                <a:gd name="T15" fmla="*/ 1 h 109"/>
                <a:gd name="T16" fmla="*/ 1 w 121"/>
                <a:gd name="T17" fmla="*/ 1 h 109"/>
                <a:gd name="T18" fmla="*/ 1 w 121"/>
                <a:gd name="T19" fmla="*/ 1 h 109"/>
                <a:gd name="T20" fmla="*/ 1 w 121"/>
                <a:gd name="T21" fmla="*/ 1 h 109"/>
                <a:gd name="T22" fmla="*/ 0 w 121"/>
                <a:gd name="T23" fmla="*/ 0 h 109"/>
                <a:gd name="T24" fmla="*/ 1 w 121"/>
                <a:gd name="T25" fmla="*/ 0 h 109"/>
                <a:gd name="T26" fmla="*/ 1 w 121"/>
                <a:gd name="T27" fmla="*/ 0 h 10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1"/>
                <a:gd name="T43" fmla="*/ 0 h 109"/>
                <a:gd name="T44" fmla="*/ 121 w 121"/>
                <a:gd name="T45" fmla="*/ 109 h 10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1" h="109">
                  <a:moveTo>
                    <a:pt x="62" y="0"/>
                  </a:moveTo>
                  <a:lnTo>
                    <a:pt x="83" y="0"/>
                  </a:lnTo>
                  <a:lnTo>
                    <a:pt x="102" y="0"/>
                  </a:lnTo>
                  <a:lnTo>
                    <a:pt x="121" y="0"/>
                  </a:lnTo>
                  <a:lnTo>
                    <a:pt x="121" y="19"/>
                  </a:lnTo>
                  <a:lnTo>
                    <a:pt x="121" y="36"/>
                  </a:lnTo>
                  <a:lnTo>
                    <a:pt x="121" y="53"/>
                  </a:lnTo>
                  <a:lnTo>
                    <a:pt x="102" y="90"/>
                  </a:lnTo>
                  <a:lnTo>
                    <a:pt x="62" y="109"/>
                  </a:lnTo>
                  <a:lnTo>
                    <a:pt x="43" y="90"/>
                  </a:lnTo>
                  <a:lnTo>
                    <a:pt x="22" y="53"/>
                  </a:lnTo>
                  <a:lnTo>
                    <a:pt x="0" y="0"/>
                  </a:lnTo>
                  <a:lnTo>
                    <a:pt x="22" y="0"/>
                  </a:lnTo>
                  <a:lnTo>
                    <a:pt x="62" y="0"/>
                  </a:lnTo>
                  <a:close/>
                </a:path>
              </a:pathLst>
            </a:custGeom>
            <a:solidFill>
              <a:srgbClr val="C0C0C0"/>
            </a:solidFill>
            <a:ln w="9525">
              <a:solidFill>
                <a:srgbClr val="C0C0C0"/>
              </a:solidFill>
              <a:round/>
              <a:headEnd/>
              <a:tailEnd/>
            </a:ln>
          </p:spPr>
          <p:txBody>
            <a:bodyPr/>
            <a:lstStyle/>
            <a:p>
              <a:endParaRPr lang="en-US"/>
            </a:p>
          </p:txBody>
        </p:sp>
        <p:sp>
          <p:nvSpPr>
            <p:cNvPr id="9313" name="Freeform 4"/>
            <p:cNvSpPr>
              <a:spLocks/>
            </p:cNvSpPr>
            <p:nvPr/>
          </p:nvSpPr>
          <p:spPr bwMode="auto">
            <a:xfrm>
              <a:off x="5521" y="3432"/>
              <a:ext cx="0" cy="9"/>
            </a:xfrm>
            <a:custGeom>
              <a:avLst/>
              <a:gdLst>
                <a:gd name="T0" fmla="*/ 0 h 17"/>
                <a:gd name="T1" fmla="*/ 1 h 17"/>
                <a:gd name="T2" fmla="*/ 0 h 17"/>
                <a:gd name="T3" fmla="*/ 0 60000 65536"/>
                <a:gd name="T4" fmla="*/ 0 60000 65536"/>
                <a:gd name="T5" fmla="*/ 0 60000 65536"/>
                <a:gd name="T6" fmla="*/ 0 h 17"/>
                <a:gd name="T7" fmla="*/ 17 h 17"/>
              </a:gdLst>
              <a:ahLst/>
              <a:cxnLst>
                <a:cxn ang="T3">
                  <a:pos x="0" y="T0"/>
                </a:cxn>
                <a:cxn ang="T4">
                  <a:pos x="0" y="T1"/>
                </a:cxn>
                <a:cxn ang="T5">
                  <a:pos x="0" y="T2"/>
                </a:cxn>
              </a:cxnLst>
              <a:rect l="0" t="T6" r="0" b="T7"/>
              <a:pathLst>
                <a:path h="17">
                  <a:moveTo>
                    <a:pt x="0" y="0"/>
                  </a:moveTo>
                  <a:lnTo>
                    <a:pt x="0" y="17"/>
                  </a:lnTo>
                  <a:lnTo>
                    <a:pt x="0" y="0"/>
                  </a:lnTo>
                  <a:close/>
                </a:path>
              </a:pathLst>
            </a:custGeom>
            <a:solidFill>
              <a:srgbClr val="C0C0C0"/>
            </a:solidFill>
            <a:ln w="9525">
              <a:solidFill>
                <a:srgbClr val="C0C0C0"/>
              </a:solidFill>
              <a:round/>
              <a:headEnd/>
              <a:tailEnd/>
            </a:ln>
          </p:spPr>
          <p:txBody>
            <a:bodyPr/>
            <a:lstStyle/>
            <a:p>
              <a:endParaRPr lang="en-US"/>
            </a:p>
          </p:txBody>
        </p:sp>
        <p:sp>
          <p:nvSpPr>
            <p:cNvPr id="9314" name="Freeform 5"/>
            <p:cNvSpPr>
              <a:spLocks/>
            </p:cNvSpPr>
            <p:nvPr/>
          </p:nvSpPr>
          <p:spPr bwMode="auto">
            <a:xfrm>
              <a:off x="5501" y="3325"/>
              <a:ext cx="110" cy="107"/>
            </a:xfrm>
            <a:custGeom>
              <a:avLst/>
              <a:gdLst>
                <a:gd name="T0" fmla="*/ 0 w 221"/>
                <a:gd name="T1" fmla="*/ 0 h 215"/>
                <a:gd name="T2" fmla="*/ 0 w 221"/>
                <a:gd name="T3" fmla="*/ 0 h 215"/>
                <a:gd name="T4" fmla="*/ 0 w 221"/>
                <a:gd name="T5" fmla="*/ 0 h 215"/>
                <a:gd name="T6" fmla="*/ 0 w 221"/>
                <a:gd name="T7" fmla="*/ 0 h 215"/>
                <a:gd name="T8" fmla="*/ 0 w 221"/>
                <a:gd name="T9" fmla="*/ 0 h 215"/>
                <a:gd name="T10" fmla="*/ 0 w 221"/>
                <a:gd name="T11" fmla="*/ 0 h 215"/>
                <a:gd name="T12" fmla="*/ 0 w 221"/>
                <a:gd name="T13" fmla="*/ 0 h 215"/>
                <a:gd name="T14" fmla="*/ 0 w 221"/>
                <a:gd name="T15" fmla="*/ 0 h 215"/>
                <a:gd name="T16" fmla="*/ 0 w 221"/>
                <a:gd name="T17" fmla="*/ 0 h 215"/>
                <a:gd name="T18" fmla="*/ 0 w 221"/>
                <a:gd name="T19" fmla="*/ 0 h 215"/>
                <a:gd name="T20" fmla="*/ 0 w 221"/>
                <a:gd name="T21" fmla="*/ 0 h 215"/>
                <a:gd name="T22" fmla="*/ 0 w 221"/>
                <a:gd name="T23" fmla="*/ 0 h 215"/>
                <a:gd name="T24" fmla="*/ 0 w 221"/>
                <a:gd name="T25" fmla="*/ 0 h 215"/>
                <a:gd name="T26" fmla="*/ 0 w 221"/>
                <a:gd name="T27" fmla="*/ 0 h 215"/>
                <a:gd name="T28" fmla="*/ 0 w 221"/>
                <a:gd name="T29" fmla="*/ 0 h 215"/>
                <a:gd name="T30" fmla="*/ 0 w 221"/>
                <a:gd name="T31" fmla="*/ 0 h 215"/>
                <a:gd name="T32" fmla="*/ 0 w 221"/>
                <a:gd name="T33" fmla="*/ 0 h 215"/>
                <a:gd name="T34" fmla="*/ 0 w 221"/>
                <a:gd name="T35" fmla="*/ 0 h 215"/>
                <a:gd name="T36" fmla="*/ 0 w 221"/>
                <a:gd name="T37" fmla="*/ 0 h 215"/>
                <a:gd name="T38" fmla="*/ 0 w 221"/>
                <a:gd name="T39" fmla="*/ 0 h 215"/>
                <a:gd name="T40" fmla="*/ 0 w 221"/>
                <a:gd name="T41" fmla="*/ 0 h 215"/>
                <a:gd name="T42" fmla="*/ 0 w 221"/>
                <a:gd name="T43" fmla="*/ 0 h 215"/>
                <a:gd name="T44" fmla="*/ 0 w 221"/>
                <a:gd name="T45" fmla="*/ 0 h 215"/>
                <a:gd name="T46" fmla="*/ 0 w 221"/>
                <a:gd name="T47" fmla="*/ 0 h 215"/>
                <a:gd name="T48" fmla="*/ 0 w 221"/>
                <a:gd name="T49" fmla="*/ 0 h 215"/>
                <a:gd name="T50" fmla="*/ 0 w 221"/>
                <a:gd name="T51" fmla="*/ 0 h 215"/>
                <a:gd name="T52" fmla="*/ 0 w 221"/>
                <a:gd name="T53" fmla="*/ 0 h 215"/>
                <a:gd name="T54" fmla="*/ 0 w 221"/>
                <a:gd name="T55" fmla="*/ 0 h 215"/>
                <a:gd name="T56" fmla="*/ 0 w 221"/>
                <a:gd name="T57" fmla="*/ 0 h 215"/>
                <a:gd name="T58" fmla="*/ 0 w 221"/>
                <a:gd name="T59" fmla="*/ 0 h 215"/>
                <a:gd name="T60" fmla="*/ 0 w 221"/>
                <a:gd name="T61" fmla="*/ 0 h 215"/>
                <a:gd name="T62" fmla="*/ 0 w 221"/>
                <a:gd name="T63" fmla="*/ 0 h 215"/>
                <a:gd name="T64" fmla="*/ 0 w 221"/>
                <a:gd name="T65" fmla="*/ 0 h 215"/>
                <a:gd name="T66" fmla="*/ 0 w 221"/>
                <a:gd name="T67" fmla="*/ 0 h 21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1"/>
                <a:gd name="T103" fmla="*/ 0 h 215"/>
                <a:gd name="T104" fmla="*/ 221 w 221"/>
                <a:gd name="T105" fmla="*/ 215 h 21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1" h="215">
                  <a:moveTo>
                    <a:pt x="121" y="53"/>
                  </a:moveTo>
                  <a:lnTo>
                    <a:pt x="140" y="53"/>
                  </a:lnTo>
                  <a:lnTo>
                    <a:pt x="140" y="36"/>
                  </a:lnTo>
                  <a:lnTo>
                    <a:pt x="159" y="36"/>
                  </a:lnTo>
                  <a:lnTo>
                    <a:pt x="159" y="19"/>
                  </a:lnTo>
                  <a:lnTo>
                    <a:pt x="159" y="0"/>
                  </a:lnTo>
                  <a:lnTo>
                    <a:pt x="180" y="0"/>
                  </a:lnTo>
                  <a:lnTo>
                    <a:pt x="180" y="19"/>
                  </a:lnTo>
                  <a:lnTo>
                    <a:pt x="199" y="19"/>
                  </a:lnTo>
                  <a:lnTo>
                    <a:pt x="221" y="19"/>
                  </a:lnTo>
                  <a:lnTo>
                    <a:pt x="221" y="36"/>
                  </a:lnTo>
                  <a:lnTo>
                    <a:pt x="221" y="53"/>
                  </a:lnTo>
                  <a:lnTo>
                    <a:pt x="199" y="73"/>
                  </a:lnTo>
                  <a:lnTo>
                    <a:pt x="180" y="73"/>
                  </a:lnTo>
                  <a:lnTo>
                    <a:pt x="180" y="90"/>
                  </a:lnTo>
                  <a:lnTo>
                    <a:pt x="180" y="109"/>
                  </a:lnTo>
                  <a:lnTo>
                    <a:pt x="159" y="109"/>
                  </a:lnTo>
                  <a:lnTo>
                    <a:pt x="140" y="109"/>
                  </a:lnTo>
                  <a:lnTo>
                    <a:pt x="121" y="144"/>
                  </a:lnTo>
                  <a:lnTo>
                    <a:pt x="100" y="180"/>
                  </a:lnTo>
                  <a:lnTo>
                    <a:pt x="80" y="195"/>
                  </a:lnTo>
                  <a:lnTo>
                    <a:pt x="59" y="215"/>
                  </a:lnTo>
                  <a:lnTo>
                    <a:pt x="59" y="195"/>
                  </a:lnTo>
                  <a:lnTo>
                    <a:pt x="40" y="195"/>
                  </a:lnTo>
                  <a:lnTo>
                    <a:pt x="19" y="180"/>
                  </a:lnTo>
                  <a:lnTo>
                    <a:pt x="0" y="180"/>
                  </a:lnTo>
                  <a:lnTo>
                    <a:pt x="19" y="163"/>
                  </a:lnTo>
                  <a:lnTo>
                    <a:pt x="40" y="144"/>
                  </a:lnTo>
                  <a:lnTo>
                    <a:pt x="40" y="126"/>
                  </a:lnTo>
                  <a:lnTo>
                    <a:pt x="40" y="109"/>
                  </a:lnTo>
                  <a:lnTo>
                    <a:pt x="59" y="109"/>
                  </a:lnTo>
                  <a:lnTo>
                    <a:pt x="80" y="90"/>
                  </a:lnTo>
                  <a:lnTo>
                    <a:pt x="100" y="73"/>
                  </a:lnTo>
                  <a:lnTo>
                    <a:pt x="121" y="53"/>
                  </a:lnTo>
                  <a:close/>
                </a:path>
              </a:pathLst>
            </a:custGeom>
            <a:solidFill>
              <a:srgbClr val="C0C0C0"/>
            </a:solidFill>
            <a:ln w="9525">
              <a:solidFill>
                <a:srgbClr val="C0C0C0"/>
              </a:solidFill>
              <a:round/>
              <a:headEnd/>
              <a:tailEnd/>
            </a:ln>
          </p:spPr>
          <p:txBody>
            <a:bodyPr/>
            <a:lstStyle/>
            <a:p>
              <a:endParaRPr lang="en-US"/>
            </a:p>
          </p:txBody>
        </p:sp>
        <p:sp>
          <p:nvSpPr>
            <p:cNvPr id="9315" name="Freeform 6"/>
            <p:cNvSpPr>
              <a:spLocks/>
            </p:cNvSpPr>
            <p:nvPr/>
          </p:nvSpPr>
          <p:spPr bwMode="auto">
            <a:xfrm>
              <a:off x="5591" y="3227"/>
              <a:ext cx="91" cy="116"/>
            </a:xfrm>
            <a:custGeom>
              <a:avLst/>
              <a:gdLst>
                <a:gd name="T0" fmla="*/ 0 w 183"/>
                <a:gd name="T1" fmla="*/ 1 h 232"/>
                <a:gd name="T2" fmla="*/ 0 w 183"/>
                <a:gd name="T3" fmla="*/ 1 h 232"/>
                <a:gd name="T4" fmla="*/ 0 w 183"/>
                <a:gd name="T5" fmla="*/ 1 h 232"/>
                <a:gd name="T6" fmla="*/ 0 w 183"/>
                <a:gd name="T7" fmla="*/ 1 h 232"/>
                <a:gd name="T8" fmla="*/ 0 w 183"/>
                <a:gd name="T9" fmla="*/ 0 h 232"/>
                <a:gd name="T10" fmla="*/ 0 w 183"/>
                <a:gd name="T11" fmla="*/ 1 h 232"/>
                <a:gd name="T12" fmla="*/ 0 w 183"/>
                <a:gd name="T13" fmla="*/ 1 h 232"/>
                <a:gd name="T14" fmla="*/ 0 w 183"/>
                <a:gd name="T15" fmla="*/ 1 h 232"/>
                <a:gd name="T16" fmla="*/ 0 w 183"/>
                <a:gd name="T17" fmla="*/ 1 h 232"/>
                <a:gd name="T18" fmla="*/ 0 w 183"/>
                <a:gd name="T19" fmla="*/ 1 h 232"/>
                <a:gd name="T20" fmla="*/ 0 w 183"/>
                <a:gd name="T21" fmla="*/ 1 h 232"/>
                <a:gd name="T22" fmla="*/ 0 w 183"/>
                <a:gd name="T23" fmla="*/ 1 h 232"/>
                <a:gd name="T24" fmla="*/ 0 w 183"/>
                <a:gd name="T25" fmla="*/ 1 h 232"/>
                <a:gd name="T26" fmla="*/ 0 w 183"/>
                <a:gd name="T27" fmla="*/ 1 h 232"/>
                <a:gd name="T28" fmla="*/ 0 w 183"/>
                <a:gd name="T29" fmla="*/ 1 h 232"/>
                <a:gd name="T30" fmla="*/ 0 w 183"/>
                <a:gd name="T31" fmla="*/ 1 h 232"/>
                <a:gd name="T32" fmla="*/ 0 w 183"/>
                <a:gd name="T33" fmla="*/ 1 h 232"/>
                <a:gd name="T34" fmla="*/ 0 w 183"/>
                <a:gd name="T35" fmla="*/ 1 h 232"/>
                <a:gd name="T36" fmla="*/ 0 w 183"/>
                <a:gd name="T37" fmla="*/ 1 h 232"/>
                <a:gd name="T38" fmla="*/ 0 w 183"/>
                <a:gd name="T39" fmla="*/ 1 h 232"/>
                <a:gd name="T40" fmla="*/ 0 w 183"/>
                <a:gd name="T41" fmla="*/ 1 h 232"/>
                <a:gd name="T42" fmla="*/ 0 w 183"/>
                <a:gd name="T43" fmla="*/ 1 h 232"/>
                <a:gd name="T44" fmla="*/ 0 w 183"/>
                <a:gd name="T45" fmla="*/ 1 h 232"/>
                <a:gd name="T46" fmla="*/ 0 w 183"/>
                <a:gd name="T47" fmla="*/ 1 h 232"/>
                <a:gd name="T48" fmla="*/ 0 w 183"/>
                <a:gd name="T49" fmla="*/ 1 h 232"/>
                <a:gd name="T50" fmla="*/ 0 w 183"/>
                <a:gd name="T51" fmla="*/ 1 h 232"/>
                <a:gd name="T52" fmla="*/ 0 w 183"/>
                <a:gd name="T53" fmla="*/ 1 h 232"/>
                <a:gd name="T54" fmla="*/ 0 w 183"/>
                <a:gd name="T55" fmla="*/ 1 h 232"/>
                <a:gd name="T56" fmla="*/ 0 w 183"/>
                <a:gd name="T57" fmla="*/ 1 h 232"/>
                <a:gd name="T58" fmla="*/ 0 w 183"/>
                <a:gd name="T59" fmla="*/ 1 h 232"/>
                <a:gd name="T60" fmla="*/ 0 w 183"/>
                <a:gd name="T61" fmla="*/ 1 h 232"/>
                <a:gd name="T62" fmla="*/ 0 w 183"/>
                <a:gd name="T63" fmla="*/ 1 h 232"/>
                <a:gd name="T64" fmla="*/ 0 w 183"/>
                <a:gd name="T65" fmla="*/ 1 h 232"/>
                <a:gd name="T66" fmla="*/ 0 w 183"/>
                <a:gd name="T67" fmla="*/ 1 h 232"/>
                <a:gd name="T68" fmla="*/ 0 w 183"/>
                <a:gd name="T69" fmla="*/ 1 h 232"/>
                <a:gd name="T70" fmla="*/ 0 w 183"/>
                <a:gd name="T71" fmla="*/ 1 h 232"/>
                <a:gd name="T72" fmla="*/ 0 w 183"/>
                <a:gd name="T73" fmla="*/ 1 h 232"/>
                <a:gd name="T74" fmla="*/ 0 w 183"/>
                <a:gd name="T75" fmla="*/ 1 h 23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83"/>
                <a:gd name="T115" fmla="*/ 0 h 232"/>
                <a:gd name="T116" fmla="*/ 183 w 183"/>
                <a:gd name="T117" fmla="*/ 232 h 23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83" h="232">
                  <a:moveTo>
                    <a:pt x="41" y="71"/>
                  </a:moveTo>
                  <a:lnTo>
                    <a:pt x="41" y="52"/>
                  </a:lnTo>
                  <a:lnTo>
                    <a:pt x="19" y="36"/>
                  </a:lnTo>
                  <a:lnTo>
                    <a:pt x="0" y="19"/>
                  </a:lnTo>
                  <a:lnTo>
                    <a:pt x="0" y="0"/>
                  </a:lnTo>
                  <a:lnTo>
                    <a:pt x="0" y="19"/>
                  </a:lnTo>
                  <a:lnTo>
                    <a:pt x="19" y="19"/>
                  </a:lnTo>
                  <a:lnTo>
                    <a:pt x="41" y="19"/>
                  </a:lnTo>
                  <a:lnTo>
                    <a:pt x="41" y="36"/>
                  </a:lnTo>
                  <a:lnTo>
                    <a:pt x="41" y="52"/>
                  </a:lnTo>
                  <a:lnTo>
                    <a:pt x="41" y="71"/>
                  </a:lnTo>
                  <a:lnTo>
                    <a:pt x="60" y="71"/>
                  </a:lnTo>
                  <a:lnTo>
                    <a:pt x="79" y="71"/>
                  </a:lnTo>
                  <a:lnTo>
                    <a:pt x="100" y="88"/>
                  </a:lnTo>
                  <a:lnTo>
                    <a:pt x="100" y="105"/>
                  </a:lnTo>
                  <a:lnTo>
                    <a:pt x="121" y="105"/>
                  </a:lnTo>
                  <a:lnTo>
                    <a:pt x="142" y="105"/>
                  </a:lnTo>
                  <a:lnTo>
                    <a:pt x="162" y="88"/>
                  </a:lnTo>
                  <a:lnTo>
                    <a:pt x="183" y="88"/>
                  </a:lnTo>
                  <a:lnTo>
                    <a:pt x="183" y="105"/>
                  </a:lnTo>
                  <a:lnTo>
                    <a:pt x="162" y="125"/>
                  </a:lnTo>
                  <a:lnTo>
                    <a:pt x="162" y="142"/>
                  </a:lnTo>
                  <a:lnTo>
                    <a:pt x="142" y="142"/>
                  </a:lnTo>
                  <a:lnTo>
                    <a:pt x="121" y="142"/>
                  </a:lnTo>
                  <a:lnTo>
                    <a:pt x="121" y="161"/>
                  </a:lnTo>
                  <a:lnTo>
                    <a:pt x="121" y="178"/>
                  </a:lnTo>
                  <a:lnTo>
                    <a:pt x="100" y="196"/>
                  </a:lnTo>
                  <a:lnTo>
                    <a:pt x="100" y="215"/>
                  </a:lnTo>
                  <a:lnTo>
                    <a:pt x="60" y="232"/>
                  </a:lnTo>
                  <a:lnTo>
                    <a:pt x="41" y="215"/>
                  </a:lnTo>
                  <a:lnTo>
                    <a:pt x="60" y="196"/>
                  </a:lnTo>
                  <a:lnTo>
                    <a:pt x="41" y="178"/>
                  </a:lnTo>
                  <a:lnTo>
                    <a:pt x="41" y="161"/>
                  </a:lnTo>
                  <a:lnTo>
                    <a:pt x="41" y="142"/>
                  </a:lnTo>
                  <a:lnTo>
                    <a:pt x="41" y="125"/>
                  </a:lnTo>
                  <a:lnTo>
                    <a:pt x="41" y="105"/>
                  </a:lnTo>
                  <a:lnTo>
                    <a:pt x="41" y="88"/>
                  </a:lnTo>
                  <a:lnTo>
                    <a:pt x="41" y="71"/>
                  </a:lnTo>
                  <a:close/>
                </a:path>
              </a:pathLst>
            </a:custGeom>
            <a:solidFill>
              <a:srgbClr val="C0C0C0"/>
            </a:solidFill>
            <a:ln w="9525">
              <a:solidFill>
                <a:srgbClr val="C0C0C0"/>
              </a:solidFill>
              <a:round/>
              <a:headEnd/>
              <a:tailEnd/>
            </a:ln>
          </p:spPr>
          <p:txBody>
            <a:bodyPr/>
            <a:lstStyle/>
            <a:p>
              <a:endParaRPr lang="en-US"/>
            </a:p>
          </p:txBody>
        </p:sp>
        <p:sp>
          <p:nvSpPr>
            <p:cNvPr id="9316" name="Freeform 7"/>
            <p:cNvSpPr>
              <a:spLocks/>
            </p:cNvSpPr>
            <p:nvPr/>
          </p:nvSpPr>
          <p:spPr bwMode="auto">
            <a:xfrm>
              <a:off x="5652" y="2967"/>
              <a:ext cx="30" cy="18"/>
            </a:xfrm>
            <a:custGeom>
              <a:avLst/>
              <a:gdLst>
                <a:gd name="T0" fmla="*/ 0 w 62"/>
                <a:gd name="T1" fmla="*/ 0 h 36"/>
                <a:gd name="T2" fmla="*/ 0 w 62"/>
                <a:gd name="T3" fmla="*/ 0 h 36"/>
                <a:gd name="T4" fmla="*/ 0 w 62"/>
                <a:gd name="T5" fmla="*/ 1 h 36"/>
                <a:gd name="T6" fmla="*/ 0 w 62"/>
                <a:gd name="T7" fmla="*/ 1 h 36"/>
                <a:gd name="T8" fmla="*/ 0 w 62"/>
                <a:gd name="T9" fmla="*/ 1 h 36"/>
                <a:gd name="T10" fmla="*/ 0 w 62"/>
                <a:gd name="T11" fmla="*/ 1 h 36"/>
                <a:gd name="T12" fmla="*/ 0 w 62"/>
                <a:gd name="T13" fmla="*/ 0 h 36"/>
                <a:gd name="T14" fmla="*/ 0 w 62"/>
                <a:gd name="T15" fmla="*/ 0 h 36"/>
                <a:gd name="T16" fmla="*/ 0 w 62"/>
                <a:gd name="T17" fmla="*/ 0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2"/>
                <a:gd name="T28" fmla="*/ 0 h 36"/>
                <a:gd name="T29" fmla="*/ 62 w 62"/>
                <a:gd name="T30" fmla="*/ 36 h 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2" h="36">
                  <a:moveTo>
                    <a:pt x="41" y="0"/>
                  </a:moveTo>
                  <a:lnTo>
                    <a:pt x="62" y="0"/>
                  </a:lnTo>
                  <a:lnTo>
                    <a:pt x="62" y="19"/>
                  </a:lnTo>
                  <a:lnTo>
                    <a:pt x="41" y="36"/>
                  </a:lnTo>
                  <a:lnTo>
                    <a:pt x="21" y="36"/>
                  </a:lnTo>
                  <a:lnTo>
                    <a:pt x="0" y="19"/>
                  </a:lnTo>
                  <a:lnTo>
                    <a:pt x="0" y="0"/>
                  </a:lnTo>
                  <a:lnTo>
                    <a:pt x="21" y="0"/>
                  </a:lnTo>
                  <a:lnTo>
                    <a:pt x="41" y="0"/>
                  </a:lnTo>
                  <a:close/>
                </a:path>
              </a:pathLst>
            </a:custGeom>
            <a:solidFill>
              <a:srgbClr val="C0C0C0"/>
            </a:solidFill>
            <a:ln w="9525">
              <a:solidFill>
                <a:srgbClr val="C0C0C0"/>
              </a:solidFill>
              <a:round/>
              <a:headEnd/>
              <a:tailEnd/>
            </a:ln>
          </p:spPr>
          <p:txBody>
            <a:bodyPr/>
            <a:lstStyle/>
            <a:p>
              <a:endParaRPr lang="en-US"/>
            </a:p>
          </p:txBody>
        </p:sp>
        <p:sp>
          <p:nvSpPr>
            <p:cNvPr id="9317" name="Freeform 8"/>
            <p:cNvSpPr>
              <a:spLocks/>
            </p:cNvSpPr>
            <p:nvPr/>
          </p:nvSpPr>
          <p:spPr bwMode="auto">
            <a:xfrm>
              <a:off x="4677" y="2879"/>
              <a:ext cx="623" cy="419"/>
            </a:xfrm>
            <a:custGeom>
              <a:avLst/>
              <a:gdLst>
                <a:gd name="T0" fmla="*/ 1 w 1246"/>
                <a:gd name="T1" fmla="*/ 0 h 839"/>
                <a:gd name="T2" fmla="*/ 1 w 1246"/>
                <a:gd name="T3" fmla="*/ 0 h 839"/>
                <a:gd name="T4" fmla="*/ 1 w 1246"/>
                <a:gd name="T5" fmla="*/ 0 h 839"/>
                <a:gd name="T6" fmla="*/ 1 w 1246"/>
                <a:gd name="T7" fmla="*/ 0 h 839"/>
                <a:gd name="T8" fmla="*/ 1 w 1246"/>
                <a:gd name="T9" fmla="*/ 0 h 839"/>
                <a:gd name="T10" fmla="*/ 1 w 1246"/>
                <a:gd name="T11" fmla="*/ 0 h 839"/>
                <a:gd name="T12" fmla="*/ 1 w 1246"/>
                <a:gd name="T13" fmla="*/ 0 h 839"/>
                <a:gd name="T14" fmla="*/ 1 w 1246"/>
                <a:gd name="T15" fmla="*/ 0 h 839"/>
                <a:gd name="T16" fmla="*/ 1 w 1246"/>
                <a:gd name="T17" fmla="*/ 0 h 839"/>
                <a:gd name="T18" fmla="*/ 1 w 1246"/>
                <a:gd name="T19" fmla="*/ 0 h 839"/>
                <a:gd name="T20" fmla="*/ 1 w 1246"/>
                <a:gd name="T21" fmla="*/ 0 h 839"/>
                <a:gd name="T22" fmla="*/ 1 w 1246"/>
                <a:gd name="T23" fmla="*/ 0 h 839"/>
                <a:gd name="T24" fmla="*/ 1 w 1246"/>
                <a:gd name="T25" fmla="*/ 0 h 839"/>
                <a:gd name="T26" fmla="*/ 1 w 1246"/>
                <a:gd name="T27" fmla="*/ 0 h 839"/>
                <a:gd name="T28" fmla="*/ 1 w 1246"/>
                <a:gd name="T29" fmla="*/ 0 h 839"/>
                <a:gd name="T30" fmla="*/ 1 w 1246"/>
                <a:gd name="T31" fmla="*/ 0 h 839"/>
                <a:gd name="T32" fmla="*/ 1 w 1246"/>
                <a:gd name="T33" fmla="*/ 0 h 839"/>
                <a:gd name="T34" fmla="*/ 1 w 1246"/>
                <a:gd name="T35" fmla="*/ 0 h 839"/>
                <a:gd name="T36" fmla="*/ 1 w 1246"/>
                <a:gd name="T37" fmla="*/ 0 h 839"/>
                <a:gd name="T38" fmla="*/ 1 w 1246"/>
                <a:gd name="T39" fmla="*/ 0 h 839"/>
                <a:gd name="T40" fmla="*/ 1 w 1246"/>
                <a:gd name="T41" fmla="*/ 0 h 839"/>
                <a:gd name="T42" fmla="*/ 1 w 1246"/>
                <a:gd name="T43" fmla="*/ 0 h 839"/>
                <a:gd name="T44" fmla="*/ 1 w 1246"/>
                <a:gd name="T45" fmla="*/ 0 h 839"/>
                <a:gd name="T46" fmla="*/ 1 w 1246"/>
                <a:gd name="T47" fmla="*/ 0 h 839"/>
                <a:gd name="T48" fmla="*/ 0 w 1246"/>
                <a:gd name="T49" fmla="*/ 0 h 839"/>
                <a:gd name="T50" fmla="*/ 1 w 1246"/>
                <a:gd name="T51" fmla="*/ 0 h 839"/>
                <a:gd name="T52" fmla="*/ 0 w 1246"/>
                <a:gd name="T53" fmla="*/ 0 h 839"/>
                <a:gd name="T54" fmla="*/ 0 w 1246"/>
                <a:gd name="T55" fmla="*/ 0 h 839"/>
                <a:gd name="T56" fmla="*/ 1 w 1246"/>
                <a:gd name="T57" fmla="*/ 0 h 839"/>
                <a:gd name="T58" fmla="*/ 1 w 1246"/>
                <a:gd name="T59" fmla="*/ 0 h 839"/>
                <a:gd name="T60" fmla="*/ 1 w 1246"/>
                <a:gd name="T61" fmla="*/ 0 h 839"/>
                <a:gd name="T62" fmla="*/ 1 w 1246"/>
                <a:gd name="T63" fmla="*/ 0 h 839"/>
                <a:gd name="T64" fmla="*/ 1 w 1246"/>
                <a:gd name="T65" fmla="*/ 0 h 839"/>
                <a:gd name="T66" fmla="*/ 1 w 1246"/>
                <a:gd name="T67" fmla="*/ 0 h 839"/>
                <a:gd name="T68" fmla="*/ 1 w 1246"/>
                <a:gd name="T69" fmla="*/ 0 h 839"/>
                <a:gd name="T70" fmla="*/ 1 w 1246"/>
                <a:gd name="T71" fmla="*/ 0 h 839"/>
                <a:gd name="T72" fmla="*/ 1 w 1246"/>
                <a:gd name="T73" fmla="*/ 0 h 839"/>
                <a:gd name="T74" fmla="*/ 1 w 1246"/>
                <a:gd name="T75" fmla="*/ 0 h 839"/>
                <a:gd name="T76" fmla="*/ 1 w 1246"/>
                <a:gd name="T77" fmla="*/ 0 h 839"/>
                <a:gd name="T78" fmla="*/ 1 w 1246"/>
                <a:gd name="T79" fmla="*/ 0 h 839"/>
                <a:gd name="T80" fmla="*/ 1 w 1246"/>
                <a:gd name="T81" fmla="*/ 0 h 839"/>
                <a:gd name="T82" fmla="*/ 1 w 1246"/>
                <a:gd name="T83" fmla="*/ 0 h 839"/>
                <a:gd name="T84" fmla="*/ 1 w 1246"/>
                <a:gd name="T85" fmla="*/ 0 h 839"/>
                <a:gd name="T86" fmla="*/ 1 w 1246"/>
                <a:gd name="T87" fmla="*/ 0 h 839"/>
                <a:gd name="T88" fmla="*/ 1 w 1246"/>
                <a:gd name="T89" fmla="*/ 0 h 839"/>
                <a:gd name="T90" fmla="*/ 1 w 1246"/>
                <a:gd name="T91" fmla="*/ 0 h 839"/>
                <a:gd name="T92" fmla="*/ 1 w 1246"/>
                <a:gd name="T93" fmla="*/ 0 h 839"/>
                <a:gd name="T94" fmla="*/ 1 w 1246"/>
                <a:gd name="T95" fmla="*/ 0 h 839"/>
                <a:gd name="T96" fmla="*/ 1 w 1246"/>
                <a:gd name="T97" fmla="*/ 0 h 839"/>
                <a:gd name="T98" fmla="*/ 1 w 1246"/>
                <a:gd name="T99" fmla="*/ 0 h 839"/>
                <a:gd name="T100" fmla="*/ 1 w 1246"/>
                <a:gd name="T101" fmla="*/ 0 h 839"/>
                <a:gd name="T102" fmla="*/ 1 w 1246"/>
                <a:gd name="T103" fmla="*/ 0 h 839"/>
                <a:gd name="T104" fmla="*/ 1 w 1246"/>
                <a:gd name="T105" fmla="*/ 0 h 839"/>
                <a:gd name="T106" fmla="*/ 1 w 1246"/>
                <a:gd name="T107" fmla="*/ 0 h 839"/>
                <a:gd name="T108" fmla="*/ 1 w 1246"/>
                <a:gd name="T109" fmla="*/ 0 h 839"/>
                <a:gd name="T110" fmla="*/ 1 w 1246"/>
                <a:gd name="T111" fmla="*/ 0 h 83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46"/>
                <a:gd name="T169" fmla="*/ 0 h 839"/>
                <a:gd name="T170" fmla="*/ 1246 w 1246"/>
                <a:gd name="T171" fmla="*/ 839 h 83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46" h="839">
                  <a:moveTo>
                    <a:pt x="1224" y="409"/>
                  </a:moveTo>
                  <a:lnTo>
                    <a:pt x="1224" y="428"/>
                  </a:lnTo>
                  <a:lnTo>
                    <a:pt x="1246" y="482"/>
                  </a:lnTo>
                  <a:lnTo>
                    <a:pt x="1246" y="516"/>
                  </a:lnTo>
                  <a:lnTo>
                    <a:pt x="1246" y="536"/>
                  </a:lnTo>
                  <a:lnTo>
                    <a:pt x="1224" y="553"/>
                  </a:lnTo>
                  <a:lnTo>
                    <a:pt x="1224" y="572"/>
                  </a:lnTo>
                  <a:lnTo>
                    <a:pt x="1224" y="589"/>
                  </a:lnTo>
                  <a:lnTo>
                    <a:pt x="1224" y="607"/>
                  </a:lnTo>
                  <a:lnTo>
                    <a:pt x="1205" y="643"/>
                  </a:lnTo>
                  <a:lnTo>
                    <a:pt x="1184" y="660"/>
                  </a:lnTo>
                  <a:lnTo>
                    <a:pt x="1165" y="680"/>
                  </a:lnTo>
                  <a:lnTo>
                    <a:pt x="1146" y="716"/>
                  </a:lnTo>
                  <a:lnTo>
                    <a:pt x="1146" y="733"/>
                  </a:lnTo>
                  <a:lnTo>
                    <a:pt x="1146" y="768"/>
                  </a:lnTo>
                  <a:lnTo>
                    <a:pt x="1105" y="802"/>
                  </a:lnTo>
                  <a:lnTo>
                    <a:pt x="1065" y="822"/>
                  </a:lnTo>
                  <a:lnTo>
                    <a:pt x="1025" y="839"/>
                  </a:lnTo>
                  <a:lnTo>
                    <a:pt x="985" y="822"/>
                  </a:lnTo>
                  <a:lnTo>
                    <a:pt x="963" y="822"/>
                  </a:lnTo>
                  <a:lnTo>
                    <a:pt x="942" y="822"/>
                  </a:lnTo>
                  <a:lnTo>
                    <a:pt x="942" y="839"/>
                  </a:lnTo>
                  <a:lnTo>
                    <a:pt x="883" y="839"/>
                  </a:lnTo>
                  <a:lnTo>
                    <a:pt x="842" y="802"/>
                  </a:lnTo>
                  <a:lnTo>
                    <a:pt x="823" y="768"/>
                  </a:lnTo>
                  <a:lnTo>
                    <a:pt x="823" y="749"/>
                  </a:lnTo>
                  <a:lnTo>
                    <a:pt x="802" y="733"/>
                  </a:lnTo>
                  <a:lnTo>
                    <a:pt x="802" y="716"/>
                  </a:lnTo>
                  <a:lnTo>
                    <a:pt x="802" y="733"/>
                  </a:lnTo>
                  <a:lnTo>
                    <a:pt x="783" y="733"/>
                  </a:lnTo>
                  <a:lnTo>
                    <a:pt x="764" y="733"/>
                  </a:lnTo>
                  <a:lnTo>
                    <a:pt x="764" y="716"/>
                  </a:lnTo>
                  <a:lnTo>
                    <a:pt x="764" y="697"/>
                  </a:lnTo>
                  <a:lnTo>
                    <a:pt x="764" y="716"/>
                  </a:lnTo>
                  <a:lnTo>
                    <a:pt x="743" y="716"/>
                  </a:lnTo>
                  <a:lnTo>
                    <a:pt x="723" y="716"/>
                  </a:lnTo>
                  <a:lnTo>
                    <a:pt x="743" y="697"/>
                  </a:lnTo>
                  <a:lnTo>
                    <a:pt x="743" y="660"/>
                  </a:lnTo>
                  <a:lnTo>
                    <a:pt x="743" y="643"/>
                  </a:lnTo>
                  <a:lnTo>
                    <a:pt x="743" y="660"/>
                  </a:lnTo>
                  <a:lnTo>
                    <a:pt x="702" y="697"/>
                  </a:lnTo>
                  <a:lnTo>
                    <a:pt x="683" y="716"/>
                  </a:lnTo>
                  <a:lnTo>
                    <a:pt x="683" y="697"/>
                  </a:lnTo>
                  <a:lnTo>
                    <a:pt x="664" y="680"/>
                  </a:lnTo>
                  <a:lnTo>
                    <a:pt x="643" y="660"/>
                  </a:lnTo>
                  <a:lnTo>
                    <a:pt x="624" y="643"/>
                  </a:lnTo>
                  <a:lnTo>
                    <a:pt x="603" y="626"/>
                  </a:lnTo>
                  <a:lnTo>
                    <a:pt x="562" y="607"/>
                  </a:lnTo>
                  <a:lnTo>
                    <a:pt x="524" y="607"/>
                  </a:lnTo>
                  <a:lnTo>
                    <a:pt x="482" y="607"/>
                  </a:lnTo>
                  <a:lnTo>
                    <a:pt x="460" y="626"/>
                  </a:lnTo>
                  <a:lnTo>
                    <a:pt x="441" y="626"/>
                  </a:lnTo>
                  <a:lnTo>
                    <a:pt x="382" y="643"/>
                  </a:lnTo>
                  <a:lnTo>
                    <a:pt x="341" y="660"/>
                  </a:lnTo>
                  <a:lnTo>
                    <a:pt x="320" y="680"/>
                  </a:lnTo>
                  <a:lnTo>
                    <a:pt x="282" y="680"/>
                  </a:lnTo>
                  <a:lnTo>
                    <a:pt x="242" y="680"/>
                  </a:lnTo>
                  <a:lnTo>
                    <a:pt x="221" y="680"/>
                  </a:lnTo>
                  <a:lnTo>
                    <a:pt x="182" y="697"/>
                  </a:lnTo>
                  <a:lnTo>
                    <a:pt x="142" y="716"/>
                  </a:lnTo>
                  <a:lnTo>
                    <a:pt x="121" y="716"/>
                  </a:lnTo>
                  <a:lnTo>
                    <a:pt x="80" y="716"/>
                  </a:lnTo>
                  <a:lnTo>
                    <a:pt x="61" y="697"/>
                  </a:lnTo>
                  <a:lnTo>
                    <a:pt x="42" y="680"/>
                  </a:lnTo>
                  <a:lnTo>
                    <a:pt x="42" y="660"/>
                  </a:lnTo>
                  <a:lnTo>
                    <a:pt x="61" y="660"/>
                  </a:lnTo>
                  <a:lnTo>
                    <a:pt x="80" y="643"/>
                  </a:lnTo>
                  <a:lnTo>
                    <a:pt x="61" y="607"/>
                  </a:lnTo>
                  <a:lnTo>
                    <a:pt x="61" y="589"/>
                  </a:lnTo>
                  <a:lnTo>
                    <a:pt x="42" y="589"/>
                  </a:lnTo>
                  <a:lnTo>
                    <a:pt x="21" y="536"/>
                  </a:lnTo>
                  <a:lnTo>
                    <a:pt x="21" y="516"/>
                  </a:lnTo>
                  <a:lnTo>
                    <a:pt x="21" y="482"/>
                  </a:lnTo>
                  <a:lnTo>
                    <a:pt x="0" y="463"/>
                  </a:lnTo>
                  <a:lnTo>
                    <a:pt x="0" y="445"/>
                  </a:lnTo>
                  <a:lnTo>
                    <a:pt x="0" y="428"/>
                  </a:lnTo>
                  <a:lnTo>
                    <a:pt x="0" y="445"/>
                  </a:lnTo>
                  <a:lnTo>
                    <a:pt x="21" y="445"/>
                  </a:lnTo>
                  <a:lnTo>
                    <a:pt x="21" y="428"/>
                  </a:lnTo>
                  <a:lnTo>
                    <a:pt x="21" y="409"/>
                  </a:lnTo>
                  <a:lnTo>
                    <a:pt x="0" y="409"/>
                  </a:lnTo>
                  <a:lnTo>
                    <a:pt x="0" y="392"/>
                  </a:lnTo>
                  <a:lnTo>
                    <a:pt x="0" y="357"/>
                  </a:lnTo>
                  <a:lnTo>
                    <a:pt x="0" y="321"/>
                  </a:lnTo>
                  <a:lnTo>
                    <a:pt x="21" y="321"/>
                  </a:lnTo>
                  <a:lnTo>
                    <a:pt x="61" y="303"/>
                  </a:lnTo>
                  <a:lnTo>
                    <a:pt x="80" y="303"/>
                  </a:lnTo>
                  <a:lnTo>
                    <a:pt x="80" y="286"/>
                  </a:lnTo>
                  <a:lnTo>
                    <a:pt x="121" y="286"/>
                  </a:lnTo>
                  <a:lnTo>
                    <a:pt x="142" y="267"/>
                  </a:lnTo>
                  <a:lnTo>
                    <a:pt x="201" y="267"/>
                  </a:lnTo>
                  <a:lnTo>
                    <a:pt x="242" y="232"/>
                  </a:lnTo>
                  <a:lnTo>
                    <a:pt x="282" y="213"/>
                  </a:lnTo>
                  <a:lnTo>
                    <a:pt x="282" y="196"/>
                  </a:lnTo>
                  <a:lnTo>
                    <a:pt x="282" y="177"/>
                  </a:lnTo>
                  <a:lnTo>
                    <a:pt x="301" y="177"/>
                  </a:lnTo>
                  <a:lnTo>
                    <a:pt x="301" y="159"/>
                  </a:lnTo>
                  <a:lnTo>
                    <a:pt x="320" y="159"/>
                  </a:lnTo>
                  <a:lnTo>
                    <a:pt x="341" y="159"/>
                  </a:lnTo>
                  <a:lnTo>
                    <a:pt x="341" y="142"/>
                  </a:lnTo>
                  <a:lnTo>
                    <a:pt x="341" y="123"/>
                  </a:lnTo>
                  <a:lnTo>
                    <a:pt x="361" y="106"/>
                  </a:lnTo>
                  <a:lnTo>
                    <a:pt x="382" y="106"/>
                  </a:lnTo>
                  <a:lnTo>
                    <a:pt x="401" y="88"/>
                  </a:lnTo>
                  <a:lnTo>
                    <a:pt x="422" y="88"/>
                  </a:lnTo>
                  <a:lnTo>
                    <a:pt x="441" y="106"/>
                  </a:lnTo>
                  <a:lnTo>
                    <a:pt x="441" y="123"/>
                  </a:lnTo>
                  <a:lnTo>
                    <a:pt x="460" y="123"/>
                  </a:lnTo>
                  <a:lnTo>
                    <a:pt x="482" y="123"/>
                  </a:lnTo>
                  <a:lnTo>
                    <a:pt x="482" y="106"/>
                  </a:lnTo>
                  <a:lnTo>
                    <a:pt x="482" y="88"/>
                  </a:lnTo>
                  <a:lnTo>
                    <a:pt x="503" y="69"/>
                  </a:lnTo>
                  <a:lnTo>
                    <a:pt x="524" y="52"/>
                  </a:lnTo>
                  <a:lnTo>
                    <a:pt x="543" y="52"/>
                  </a:lnTo>
                  <a:lnTo>
                    <a:pt x="562" y="52"/>
                  </a:lnTo>
                  <a:lnTo>
                    <a:pt x="583" y="33"/>
                  </a:lnTo>
                  <a:lnTo>
                    <a:pt x="603" y="33"/>
                  </a:lnTo>
                  <a:lnTo>
                    <a:pt x="583" y="33"/>
                  </a:lnTo>
                  <a:lnTo>
                    <a:pt x="583" y="17"/>
                  </a:lnTo>
                  <a:lnTo>
                    <a:pt x="562" y="0"/>
                  </a:lnTo>
                  <a:lnTo>
                    <a:pt x="603" y="17"/>
                  </a:lnTo>
                  <a:lnTo>
                    <a:pt x="624" y="33"/>
                  </a:lnTo>
                  <a:lnTo>
                    <a:pt x="683" y="33"/>
                  </a:lnTo>
                  <a:lnTo>
                    <a:pt x="702" y="33"/>
                  </a:lnTo>
                  <a:lnTo>
                    <a:pt x="723" y="52"/>
                  </a:lnTo>
                  <a:lnTo>
                    <a:pt x="723" y="69"/>
                  </a:lnTo>
                  <a:lnTo>
                    <a:pt x="702" y="69"/>
                  </a:lnTo>
                  <a:lnTo>
                    <a:pt x="683" y="69"/>
                  </a:lnTo>
                  <a:lnTo>
                    <a:pt x="683" y="106"/>
                  </a:lnTo>
                  <a:lnTo>
                    <a:pt x="683" y="123"/>
                  </a:lnTo>
                  <a:lnTo>
                    <a:pt x="702" y="123"/>
                  </a:lnTo>
                  <a:lnTo>
                    <a:pt x="723" y="142"/>
                  </a:lnTo>
                  <a:lnTo>
                    <a:pt x="743" y="159"/>
                  </a:lnTo>
                  <a:lnTo>
                    <a:pt x="764" y="159"/>
                  </a:lnTo>
                  <a:lnTo>
                    <a:pt x="783" y="177"/>
                  </a:lnTo>
                  <a:lnTo>
                    <a:pt x="802" y="177"/>
                  </a:lnTo>
                  <a:lnTo>
                    <a:pt x="823" y="196"/>
                  </a:lnTo>
                  <a:lnTo>
                    <a:pt x="864" y="177"/>
                  </a:lnTo>
                  <a:lnTo>
                    <a:pt x="883" y="142"/>
                  </a:lnTo>
                  <a:lnTo>
                    <a:pt x="883" y="123"/>
                  </a:lnTo>
                  <a:lnTo>
                    <a:pt x="883" y="88"/>
                  </a:lnTo>
                  <a:lnTo>
                    <a:pt x="883" y="52"/>
                  </a:lnTo>
                  <a:lnTo>
                    <a:pt x="883" y="33"/>
                  </a:lnTo>
                  <a:lnTo>
                    <a:pt x="883" y="17"/>
                  </a:lnTo>
                  <a:lnTo>
                    <a:pt x="883" y="0"/>
                  </a:lnTo>
                  <a:lnTo>
                    <a:pt x="904" y="0"/>
                  </a:lnTo>
                  <a:lnTo>
                    <a:pt x="923" y="17"/>
                  </a:lnTo>
                  <a:lnTo>
                    <a:pt x="923" y="52"/>
                  </a:lnTo>
                  <a:lnTo>
                    <a:pt x="942" y="69"/>
                  </a:lnTo>
                  <a:lnTo>
                    <a:pt x="942" y="88"/>
                  </a:lnTo>
                  <a:lnTo>
                    <a:pt x="942" y="106"/>
                  </a:lnTo>
                  <a:lnTo>
                    <a:pt x="963" y="106"/>
                  </a:lnTo>
                  <a:lnTo>
                    <a:pt x="985" y="106"/>
                  </a:lnTo>
                  <a:lnTo>
                    <a:pt x="985" y="123"/>
                  </a:lnTo>
                  <a:lnTo>
                    <a:pt x="1006" y="142"/>
                  </a:lnTo>
                  <a:lnTo>
                    <a:pt x="1006" y="159"/>
                  </a:lnTo>
                  <a:lnTo>
                    <a:pt x="1025" y="177"/>
                  </a:lnTo>
                  <a:lnTo>
                    <a:pt x="1025" y="196"/>
                  </a:lnTo>
                  <a:lnTo>
                    <a:pt x="1025" y="232"/>
                  </a:lnTo>
                  <a:lnTo>
                    <a:pt x="1046" y="232"/>
                  </a:lnTo>
                  <a:lnTo>
                    <a:pt x="1084" y="267"/>
                  </a:lnTo>
                  <a:lnTo>
                    <a:pt x="1105" y="286"/>
                  </a:lnTo>
                  <a:lnTo>
                    <a:pt x="1105" y="303"/>
                  </a:lnTo>
                  <a:lnTo>
                    <a:pt x="1125" y="303"/>
                  </a:lnTo>
                  <a:lnTo>
                    <a:pt x="1125" y="321"/>
                  </a:lnTo>
                  <a:lnTo>
                    <a:pt x="1146" y="340"/>
                  </a:lnTo>
                  <a:lnTo>
                    <a:pt x="1165" y="357"/>
                  </a:lnTo>
                  <a:lnTo>
                    <a:pt x="1205" y="392"/>
                  </a:lnTo>
                  <a:lnTo>
                    <a:pt x="1224" y="409"/>
                  </a:lnTo>
                  <a:close/>
                </a:path>
              </a:pathLst>
            </a:custGeom>
            <a:solidFill>
              <a:srgbClr val="C0C0C0"/>
            </a:solidFill>
            <a:ln w="9525">
              <a:solidFill>
                <a:srgbClr val="C0C0C0"/>
              </a:solidFill>
              <a:round/>
              <a:headEnd/>
              <a:tailEnd/>
            </a:ln>
          </p:spPr>
          <p:txBody>
            <a:bodyPr/>
            <a:lstStyle/>
            <a:p>
              <a:endParaRPr lang="en-US"/>
            </a:p>
          </p:txBody>
        </p:sp>
        <p:sp>
          <p:nvSpPr>
            <p:cNvPr id="9318" name="Freeform 9"/>
            <p:cNvSpPr>
              <a:spLocks/>
            </p:cNvSpPr>
            <p:nvPr/>
          </p:nvSpPr>
          <p:spPr bwMode="auto">
            <a:xfrm>
              <a:off x="5220" y="2788"/>
              <a:ext cx="70" cy="27"/>
            </a:xfrm>
            <a:custGeom>
              <a:avLst/>
              <a:gdLst>
                <a:gd name="T0" fmla="*/ 1 w 140"/>
                <a:gd name="T1" fmla="*/ 1 h 54"/>
                <a:gd name="T2" fmla="*/ 1 w 140"/>
                <a:gd name="T3" fmla="*/ 1 h 54"/>
                <a:gd name="T4" fmla="*/ 0 w 140"/>
                <a:gd name="T5" fmla="*/ 1 h 54"/>
                <a:gd name="T6" fmla="*/ 1 w 140"/>
                <a:gd name="T7" fmla="*/ 1 h 54"/>
                <a:gd name="T8" fmla="*/ 1 w 140"/>
                <a:gd name="T9" fmla="*/ 1 h 54"/>
                <a:gd name="T10" fmla="*/ 1 w 140"/>
                <a:gd name="T11" fmla="*/ 1 h 54"/>
                <a:gd name="T12" fmla="*/ 1 w 140"/>
                <a:gd name="T13" fmla="*/ 1 h 54"/>
                <a:gd name="T14" fmla="*/ 1 w 140"/>
                <a:gd name="T15" fmla="*/ 1 h 54"/>
                <a:gd name="T16" fmla="*/ 1 w 140"/>
                <a:gd name="T17" fmla="*/ 1 h 54"/>
                <a:gd name="T18" fmla="*/ 1 w 140"/>
                <a:gd name="T19" fmla="*/ 0 h 54"/>
                <a:gd name="T20" fmla="*/ 1 w 140"/>
                <a:gd name="T21" fmla="*/ 0 h 54"/>
                <a:gd name="T22" fmla="*/ 1 w 140"/>
                <a:gd name="T23" fmla="*/ 0 h 54"/>
                <a:gd name="T24" fmla="*/ 1 w 140"/>
                <a:gd name="T25" fmla="*/ 1 h 54"/>
                <a:gd name="T26" fmla="*/ 1 w 140"/>
                <a:gd name="T27" fmla="*/ 1 h 54"/>
                <a:gd name="T28" fmla="*/ 1 w 140"/>
                <a:gd name="T29" fmla="*/ 1 h 54"/>
                <a:gd name="T30" fmla="*/ 1 w 140"/>
                <a:gd name="T31" fmla="*/ 1 h 54"/>
                <a:gd name="T32" fmla="*/ 1 w 140"/>
                <a:gd name="T33" fmla="*/ 1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0"/>
                <a:gd name="T52" fmla="*/ 0 h 54"/>
                <a:gd name="T53" fmla="*/ 140 w 140"/>
                <a:gd name="T54" fmla="*/ 54 h 5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0" h="54">
                  <a:moveTo>
                    <a:pt x="41" y="54"/>
                  </a:moveTo>
                  <a:lnTo>
                    <a:pt x="21" y="54"/>
                  </a:lnTo>
                  <a:lnTo>
                    <a:pt x="0" y="36"/>
                  </a:lnTo>
                  <a:lnTo>
                    <a:pt x="21" y="36"/>
                  </a:lnTo>
                  <a:lnTo>
                    <a:pt x="41" y="36"/>
                  </a:lnTo>
                  <a:lnTo>
                    <a:pt x="62" y="36"/>
                  </a:lnTo>
                  <a:lnTo>
                    <a:pt x="62" y="17"/>
                  </a:lnTo>
                  <a:lnTo>
                    <a:pt x="81" y="17"/>
                  </a:lnTo>
                  <a:lnTo>
                    <a:pt x="100" y="17"/>
                  </a:lnTo>
                  <a:lnTo>
                    <a:pt x="100" y="0"/>
                  </a:lnTo>
                  <a:lnTo>
                    <a:pt x="121" y="0"/>
                  </a:lnTo>
                  <a:lnTo>
                    <a:pt x="140" y="0"/>
                  </a:lnTo>
                  <a:lnTo>
                    <a:pt x="121" y="17"/>
                  </a:lnTo>
                  <a:lnTo>
                    <a:pt x="100" y="36"/>
                  </a:lnTo>
                  <a:lnTo>
                    <a:pt x="81" y="54"/>
                  </a:lnTo>
                  <a:lnTo>
                    <a:pt x="62" y="54"/>
                  </a:lnTo>
                  <a:lnTo>
                    <a:pt x="41" y="54"/>
                  </a:lnTo>
                  <a:close/>
                </a:path>
              </a:pathLst>
            </a:custGeom>
            <a:solidFill>
              <a:srgbClr val="C0C0C0"/>
            </a:solidFill>
            <a:ln w="9525">
              <a:solidFill>
                <a:srgbClr val="C0C0C0"/>
              </a:solidFill>
              <a:round/>
              <a:headEnd/>
              <a:tailEnd/>
            </a:ln>
          </p:spPr>
          <p:txBody>
            <a:bodyPr/>
            <a:lstStyle/>
            <a:p>
              <a:endParaRPr lang="en-US"/>
            </a:p>
          </p:txBody>
        </p:sp>
        <p:sp>
          <p:nvSpPr>
            <p:cNvPr id="9319" name="Freeform 10"/>
            <p:cNvSpPr>
              <a:spLocks/>
            </p:cNvSpPr>
            <p:nvPr/>
          </p:nvSpPr>
          <p:spPr bwMode="auto">
            <a:xfrm>
              <a:off x="4949" y="2735"/>
              <a:ext cx="311" cy="144"/>
            </a:xfrm>
            <a:custGeom>
              <a:avLst/>
              <a:gdLst>
                <a:gd name="T0" fmla="*/ 1 w 622"/>
                <a:gd name="T1" fmla="*/ 1 h 288"/>
                <a:gd name="T2" fmla="*/ 1 w 622"/>
                <a:gd name="T3" fmla="*/ 1 h 288"/>
                <a:gd name="T4" fmla="*/ 1 w 622"/>
                <a:gd name="T5" fmla="*/ 1 h 288"/>
                <a:gd name="T6" fmla="*/ 1 w 622"/>
                <a:gd name="T7" fmla="*/ 1 h 288"/>
                <a:gd name="T8" fmla="*/ 1 w 622"/>
                <a:gd name="T9" fmla="*/ 1 h 288"/>
                <a:gd name="T10" fmla="*/ 1 w 622"/>
                <a:gd name="T11" fmla="*/ 1 h 288"/>
                <a:gd name="T12" fmla="*/ 1 w 622"/>
                <a:gd name="T13" fmla="*/ 1 h 288"/>
                <a:gd name="T14" fmla="*/ 1 w 622"/>
                <a:gd name="T15" fmla="*/ 1 h 288"/>
                <a:gd name="T16" fmla="*/ 1 w 622"/>
                <a:gd name="T17" fmla="*/ 1 h 288"/>
                <a:gd name="T18" fmla="*/ 1 w 622"/>
                <a:gd name="T19" fmla="*/ 1 h 288"/>
                <a:gd name="T20" fmla="*/ 1 w 622"/>
                <a:gd name="T21" fmla="*/ 1 h 288"/>
                <a:gd name="T22" fmla="*/ 1 w 622"/>
                <a:gd name="T23" fmla="*/ 1 h 288"/>
                <a:gd name="T24" fmla="*/ 1 w 622"/>
                <a:gd name="T25" fmla="*/ 1 h 288"/>
                <a:gd name="T26" fmla="*/ 1 w 622"/>
                <a:gd name="T27" fmla="*/ 1 h 288"/>
                <a:gd name="T28" fmla="*/ 1 w 622"/>
                <a:gd name="T29" fmla="*/ 1 h 288"/>
                <a:gd name="T30" fmla="*/ 1 w 622"/>
                <a:gd name="T31" fmla="*/ 1 h 288"/>
                <a:gd name="T32" fmla="*/ 1 w 622"/>
                <a:gd name="T33" fmla="*/ 1 h 288"/>
                <a:gd name="T34" fmla="*/ 1 w 622"/>
                <a:gd name="T35" fmla="*/ 1 h 288"/>
                <a:gd name="T36" fmla="*/ 1 w 622"/>
                <a:gd name="T37" fmla="*/ 1 h 288"/>
                <a:gd name="T38" fmla="*/ 1 w 622"/>
                <a:gd name="T39" fmla="*/ 1 h 288"/>
                <a:gd name="T40" fmla="*/ 1 w 622"/>
                <a:gd name="T41" fmla="*/ 1 h 288"/>
                <a:gd name="T42" fmla="*/ 1 w 622"/>
                <a:gd name="T43" fmla="*/ 1 h 288"/>
                <a:gd name="T44" fmla="*/ 1 w 622"/>
                <a:gd name="T45" fmla="*/ 1 h 288"/>
                <a:gd name="T46" fmla="*/ 1 w 622"/>
                <a:gd name="T47" fmla="*/ 1 h 288"/>
                <a:gd name="T48" fmla="*/ 1 w 622"/>
                <a:gd name="T49" fmla="*/ 1 h 288"/>
                <a:gd name="T50" fmla="*/ 1 w 622"/>
                <a:gd name="T51" fmla="*/ 1 h 288"/>
                <a:gd name="T52" fmla="*/ 1 w 622"/>
                <a:gd name="T53" fmla="*/ 1 h 288"/>
                <a:gd name="T54" fmla="*/ 1 w 622"/>
                <a:gd name="T55" fmla="*/ 1 h 288"/>
                <a:gd name="T56" fmla="*/ 1 w 622"/>
                <a:gd name="T57" fmla="*/ 1 h 288"/>
                <a:gd name="T58" fmla="*/ 1 w 622"/>
                <a:gd name="T59" fmla="*/ 1 h 288"/>
                <a:gd name="T60" fmla="*/ 1 w 622"/>
                <a:gd name="T61" fmla="*/ 1 h 288"/>
                <a:gd name="T62" fmla="*/ 1 w 622"/>
                <a:gd name="T63" fmla="*/ 1 h 288"/>
                <a:gd name="T64" fmla="*/ 1 w 622"/>
                <a:gd name="T65" fmla="*/ 1 h 288"/>
                <a:gd name="T66" fmla="*/ 1 w 622"/>
                <a:gd name="T67" fmla="*/ 1 h 288"/>
                <a:gd name="T68" fmla="*/ 1 w 622"/>
                <a:gd name="T69" fmla="*/ 1 h 288"/>
                <a:gd name="T70" fmla="*/ 1 w 622"/>
                <a:gd name="T71" fmla="*/ 1 h 288"/>
                <a:gd name="T72" fmla="*/ 1 w 622"/>
                <a:gd name="T73" fmla="*/ 1 h 288"/>
                <a:gd name="T74" fmla="*/ 1 w 622"/>
                <a:gd name="T75" fmla="*/ 1 h 288"/>
                <a:gd name="T76" fmla="*/ 1 w 622"/>
                <a:gd name="T77" fmla="*/ 1 h 288"/>
                <a:gd name="T78" fmla="*/ 0 w 622"/>
                <a:gd name="T79" fmla="*/ 1 h 288"/>
                <a:gd name="T80" fmla="*/ 1 w 622"/>
                <a:gd name="T81" fmla="*/ 0 h 288"/>
                <a:gd name="T82" fmla="*/ 1 w 622"/>
                <a:gd name="T83" fmla="*/ 0 h 288"/>
                <a:gd name="T84" fmla="*/ 1 w 622"/>
                <a:gd name="T85" fmla="*/ 1 h 288"/>
                <a:gd name="T86" fmla="*/ 1 w 622"/>
                <a:gd name="T87" fmla="*/ 1 h 288"/>
                <a:gd name="T88" fmla="*/ 1 w 622"/>
                <a:gd name="T89" fmla="*/ 1 h 288"/>
                <a:gd name="T90" fmla="*/ 1 w 622"/>
                <a:gd name="T91" fmla="*/ 1 h 288"/>
                <a:gd name="T92" fmla="*/ 1 w 622"/>
                <a:gd name="T93" fmla="*/ 1 h 288"/>
                <a:gd name="T94" fmla="*/ 1 w 622"/>
                <a:gd name="T95" fmla="*/ 1 h 288"/>
                <a:gd name="T96" fmla="*/ 1 w 622"/>
                <a:gd name="T97" fmla="*/ 1 h 288"/>
                <a:gd name="T98" fmla="*/ 1 w 622"/>
                <a:gd name="T99" fmla="*/ 1 h 288"/>
                <a:gd name="T100" fmla="*/ 1 w 622"/>
                <a:gd name="T101" fmla="*/ 1 h 28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2"/>
                <a:gd name="T154" fmla="*/ 0 h 288"/>
                <a:gd name="T155" fmla="*/ 622 w 622"/>
                <a:gd name="T156" fmla="*/ 288 h 28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2" h="288">
                  <a:moveTo>
                    <a:pt x="299" y="54"/>
                  </a:moveTo>
                  <a:lnTo>
                    <a:pt x="340" y="54"/>
                  </a:lnTo>
                  <a:lnTo>
                    <a:pt x="340" y="71"/>
                  </a:lnTo>
                  <a:lnTo>
                    <a:pt x="380" y="71"/>
                  </a:lnTo>
                  <a:lnTo>
                    <a:pt x="399" y="71"/>
                  </a:lnTo>
                  <a:lnTo>
                    <a:pt x="399" y="91"/>
                  </a:lnTo>
                  <a:lnTo>
                    <a:pt x="420" y="91"/>
                  </a:lnTo>
                  <a:lnTo>
                    <a:pt x="420" y="108"/>
                  </a:lnTo>
                  <a:lnTo>
                    <a:pt x="463" y="108"/>
                  </a:lnTo>
                  <a:lnTo>
                    <a:pt x="482" y="125"/>
                  </a:lnTo>
                  <a:lnTo>
                    <a:pt x="482" y="144"/>
                  </a:lnTo>
                  <a:lnTo>
                    <a:pt x="503" y="144"/>
                  </a:lnTo>
                  <a:lnTo>
                    <a:pt x="522" y="162"/>
                  </a:lnTo>
                  <a:lnTo>
                    <a:pt x="541" y="162"/>
                  </a:lnTo>
                  <a:lnTo>
                    <a:pt x="522" y="179"/>
                  </a:lnTo>
                  <a:lnTo>
                    <a:pt x="503" y="179"/>
                  </a:lnTo>
                  <a:lnTo>
                    <a:pt x="522" y="179"/>
                  </a:lnTo>
                  <a:lnTo>
                    <a:pt x="522" y="198"/>
                  </a:lnTo>
                  <a:lnTo>
                    <a:pt x="541" y="198"/>
                  </a:lnTo>
                  <a:lnTo>
                    <a:pt x="541" y="215"/>
                  </a:lnTo>
                  <a:lnTo>
                    <a:pt x="541" y="234"/>
                  </a:lnTo>
                  <a:lnTo>
                    <a:pt x="562" y="234"/>
                  </a:lnTo>
                  <a:lnTo>
                    <a:pt x="582" y="234"/>
                  </a:lnTo>
                  <a:lnTo>
                    <a:pt x="582" y="252"/>
                  </a:lnTo>
                  <a:lnTo>
                    <a:pt x="603" y="252"/>
                  </a:lnTo>
                  <a:lnTo>
                    <a:pt x="603" y="269"/>
                  </a:lnTo>
                  <a:lnTo>
                    <a:pt x="622" y="269"/>
                  </a:lnTo>
                  <a:lnTo>
                    <a:pt x="603" y="269"/>
                  </a:lnTo>
                  <a:lnTo>
                    <a:pt x="603" y="288"/>
                  </a:lnTo>
                  <a:lnTo>
                    <a:pt x="582" y="288"/>
                  </a:lnTo>
                  <a:lnTo>
                    <a:pt x="582" y="269"/>
                  </a:lnTo>
                  <a:lnTo>
                    <a:pt x="562" y="269"/>
                  </a:lnTo>
                  <a:lnTo>
                    <a:pt x="541" y="269"/>
                  </a:lnTo>
                  <a:lnTo>
                    <a:pt x="522" y="252"/>
                  </a:lnTo>
                  <a:lnTo>
                    <a:pt x="503" y="234"/>
                  </a:lnTo>
                  <a:lnTo>
                    <a:pt x="482" y="234"/>
                  </a:lnTo>
                  <a:lnTo>
                    <a:pt x="463" y="198"/>
                  </a:lnTo>
                  <a:lnTo>
                    <a:pt x="420" y="198"/>
                  </a:lnTo>
                  <a:lnTo>
                    <a:pt x="399" y="198"/>
                  </a:lnTo>
                  <a:lnTo>
                    <a:pt x="399" y="215"/>
                  </a:lnTo>
                  <a:lnTo>
                    <a:pt x="380" y="215"/>
                  </a:lnTo>
                  <a:lnTo>
                    <a:pt x="380" y="234"/>
                  </a:lnTo>
                  <a:lnTo>
                    <a:pt x="361" y="234"/>
                  </a:lnTo>
                  <a:lnTo>
                    <a:pt x="340" y="234"/>
                  </a:lnTo>
                  <a:lnTo>
                    <a:pt x="321" y="234"/>
                  </a:lnTo>
                  <a:lnTo>
                    <a:pt x="280" y="215"/>
                  </a:lnTo>
                  <a:lnTo>
                    <a:pt x="259" y="215"/>
                  </a:lnTo>
                  <a:lnTo>
                    <a:pt x="240" y="215"/>
                  </a:lnTo>
                  <a:lnTo>
                    <a:pt x="221" y="215"/>
                  </a:lnTo>
                  <a:lnTo>
                    <a:pt x="200" y="215"/>
                  </a:lnTo>
                  <a:lnTo>
                    <a:pt x="221" y="198"/>
                  </a:lnTo>
                  <a:lnTo>
                    <a:pt x="240" y="179"/>
                  </a:lnTo>
                  <a:lnTo>
                    <a:pt x="221" y="179"/>
                  </a:lnTo>
                  <a:lnTo>
                    <a:pt x="221" y="162"/>
                  </a:lnTo>
                  <a:lnTo>
                    <a:pt x="221" y="144"/>
                  </a:lnTo>
                  <a:lnTo>
                    <a:pt x="200" y="125"/>
                  </a:lnTo>
                  <a:lnTo>
                    <a:pt x="180" y="108"/>
                  </a:lnTo>
                  <a:lnTo>
                    <a:pt x="159" y="108"/>
                  </a:lnTo>
                  <a:lnTo>
                    <a:pt x="140" y="108"/>
                  </a:lnTo>
                  <a:lnTo>
                    <a:pt x="121" y="108"/>
                  </a:lnTo>
                  <a:lnTo>
                    <a:pt x="100" y="108"/>
                  </a:lnTo>
                  <a:lnTo>
                    <a:pt x="100" y="91"/>
                  </a:lnTo>
                  <a:lnTo>
                    <a:pt x="81" y="91"/>
                  </a:lnTo>
                  <a:lnTo>
                    <a:pt x="81" y="71"/>
                  </a:lnTo>
                  <a:lnTo>
                    <a:pt x="81" y="91"/>
                  </a:lnTo>
                  <a:lnTo>
                    <a:pt x="81" y="108"/>
                  </a:lnTo>
                  <a:lnTo>
                    <a:pt x="60" y="108"/>
                  </a:lnTo>
                  <a:lnTo>
                    <a:pt x="60" y="91"/>
                  </a:lnTo>
                  <a:lnTo>
                    <a:pt x="60" y="71"/>
                  </a:lnTo>
                  <a:lnTo>
                    <a:pt x="40" y="71"/>
                  </a:lnTo>
                  <a:lnTo>
                    <a:pt x="40" y="54"/>
                  </a:lnTo>
                  <a:lnTo>
                    <a:pt x="19" y="54"/>
                  </a:lnTo>
                  <a:lnTo>
                    <a:pt x="60" y="54"/>
                  </a:lnTo>
                  <a:lnTo>
                    <a:pt x="81" y="54"/>
                  </a:lnTo>
                  <a:lnTo>
                    <a:pt x="60" y="54"/>
                  </a:lnTo>
                  <a:lnTo>
                    <a:pt x="40" y="54"/>
                  </a:lnTo>
                  <a:lnTo>
                    <a:pt x="19" y="54"/>
                  </a:lnTo>
                  <a:lnTo>
                    <a:pt x="19" y="35"/>
                  </a:lnTo>
                  <a:lnTo>
                    <a:pt x="0" y="35"/>
                  </a:lnTo>
                  <a:lnTo>
                    <a:pt x="0" y="18"/>
                  </a:lnTo>
                  <a:lnTo>
                    <a:pt x="0" y="0"/>
                  </a:lnTo>
                  <a:lnTo>
                    <a:pt x="19" y="0"/>
                  </a:lnTo>
                  <a:lnTo>
                    <a:pt x="40" y="0"/>
                  </a:lnTo>
                  <a:lnTo>
                    <a:pt x="81" y="0"/>
                  </a:lnTo>
                  <a:lnTo>
                    <a:pt x="100" y="0"/>
                  </a:lnTo>
                  <a:lnTo>
                    <a:pt x="100" y="18"/>
                  </a:lnTo>
                  <a:lnTo>
                    <a:pt x="100" y="35"/>
                  </a:lnTo>
                  <a:lnTo>
                    <a:pt x="100" y="54"/>
                  </a:lnTo>
                  <a:lnTo>
                    <a:pt x="121" y="54"/>
                  </a:lnTo>
                  <a:lnTo>
                    <a:pt x="140" y="71"/>
                  </a:lnTo>
                  <a:lnTo>
                    <a:pt x="140" y="54"/>
                  </a:lnTo>
                  <a:lnTo>
                    <a:pt x="159" y="54"/>
                  </a:lnTo>
                  <a:lnTo>
                    <a:pt x="180" y="54"/>
                  </a:lnTo>
                  <a:lnTo>
                    <a:pt x="200" y="35"/>
                  </a:lnTo>
                  <a:lnTo>
                    <a:pt x="221" y="18"/>
                  </a:lnTo>
                  <a:lnTo>
                    <a:pt x="221" y="35"/>
                  </a:lnTo>
                  <a:lnTo>
                    <a:pt x="240" y="35"/>
                  </a:lnTo>
                  <a:lnTo>
                    <a:pt x="259" y="54"/>
                  </a:lnTo>
                  <a:lnTo>
                    <a:pt x="280" y="54"/>
                  </a:lnTo>
                  <a:lnTo>
                    <a:pt x="299" y="54"/>
                  </a:lnTo>
                  <a:lnTo>
                    <a:pt x="321" y="54"/>
                  </a:lnTo>
                  <a:lnTo>
                    <a:pt x="299" y="54"/>
                  </a:lnTo>
                  <a:close/>
                </a:path>
              </a:pathLst>
            </a:custGeom>
            <a:solidFill>
              <a:srgbClr val="C0C0C0"/>
            </a:solidFill>
            <a:ln w="9525">
              <a:solidFill>
                <a:srgbClr val="C0C0C0"/>
              </a:solidFill>
              <a:round/>
              <a:headEnd/>
              <a:tailEnd/>
            </a:ln>
          </p:spPr>
          <p:txBody>
            <a:bodyPr/>
            <a:lstStyle/>
            <a:p>
              <a:endParaRPr lang="en-US"/>
            </a:p>
          </p:txBody>
        </p:sp>
        <p:sp>
          <p:nvSpPr>
            <p:cNvPr id="9320" name="Freeform 11"/>
            <p:cNvSpPr>
              <a:spLocks/>
            </p:cNvSpPr>
            <p:nvPr/>
          </p:nvSpPr>
          <p:spPr bwMode="auto">
            <a:xfrm>
              <a:off x="5260" y="2762"/>
              <a:ext cx="40" cy="26"/>
            </a:xfrm>
            <a:custGeom>
              <a:avLst/>
              <a:gdLst>
                <a:gd name="T0" fmla="*/ 0 w 81"/>
                <a:gd name="T1" fmla="*/ 0 h 54"/>
                <a:gd name="T2" fmla="*/ 0 w 81"/>
                <a:gd name="T3" fmla="*/ 0 h 54"/>
                <a:gd name="T4" fmla="*/ 0 w 81"/>
                <a:gd name="T5" fmla="*/ 0 h 54"/>
                <a:gd name="T6" fmla="*/ 0 w 81"/>
                <a:gd name="T7" fmla="*/ 0 h 54"/>
                <a:gd name="T8" fmla="*/ 0 w 81"/>
                <a:gd name="T9" fmla="*/ 0 h 54"/>
                <a:gd name="T10" fmla="*/ 0 w 81"/>
                <a:gd name="T11" fmla="*/ 0 h 54"/>
                <a:gd name="T12" fmla="*/ 0 w 81"/>
                <a:gd name="T13" fmla="*/ 0 h 54"/>
                <a:gd name="T14" fmla="*/ 0 w 81"/>
                <a:gd name="T15" fmla="*/ 0 h 54"/>
                <a:gd name="T16" fmla="*/ 0 w 81"/>
                <a:gd name="T17" fmla="*/ 0 h 54"/>
                <a:gd name="T18" fmla="*/ 0 w 81"/>
                <a:gd name="T19" fmla="*/ 0 h 54"/>
                <a:gd name="T20" fmla="*/ 0 w 81"/>
                <a:gd name="T21" fmla="*/ 0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54"/>
                <a:gd name="T35" fmla="*/ 81 w 81"/>
                <a:gd name="T36" fmla="*/ 54 h 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54">
                  <a:moveTo>
                    <a:pt x="59" y="54"/>
                  </a:moveTo>
                  <a:lnTo>
                    <a:pt x="59" y="37"/>
                  </a:lnTo>
                  <a:lnTo>
                    <a:pt x="40" y="17"/>
                  </a:lnTo>
                  <a:lnTo>
                    <a:pt x="40" y="0"/>
                  </a:lnTo>
                  <a:lnTo>
                    <a:pt x="19" y="0"/>
                  </a:lnTo>
                  <a:lnTo>
                    <a:pt x="0" y="0"/>
                  </a:lnTo>
                  <a:lnTo>
                    <a:pt x="40" y="0"/>
                  </a:lnTo>
                  <a:lnTo>
                    <a:pt x="40" y="17"/>
                  </a:lnTo>
                  <a:lnTo>
                    <a:pt x="59" y="37"/>
                  </a:lnTo>
                  <a:lnTo>
                    <a:pt x="81" y="54"/>
                  </a:lnTo>
                  <a:lnTo>
                    <a:pt x="59" y="54"/>
                  </a:lnTo>
                  <a:close/>
                </a:path>
              </a:pathLst>
            </a:custGeom>
            <a:solidFill>
              <a:srgbClr val="C0C0C0"/>
            </a:solidFill>
            <a:ln w="9525">
              <a:solidFill>
                <a:srgbClr val="C0C0C0"/>
              </a:solidFill>
              <a:round/>
              <a:headEnd/>
              <a:tailEnd/>
            </a:ln>
          </p:spPr>
          <p:txBody>
            <a:bodyPr/>
            <a:lstStyle/>
            <a:p>
              <a:endParaRPr lang="en-US"/>
            </a:p>
          </p:txBody>
        </p:sp>
        <p:sp>
          <p:nvSpPr>
            <p:cNvPr id="9321" name="Freeform 12"/>
            <p:cNvSpPr>
              <a:spLocks/>
            </p:cNvSpPr>
            <p:nvPr/>
          </p:nvSpPr>
          <p:spPr bwMode="auto">
            <a:xfrm>
              <a:off x="5320" y="2797"/>
              <a:ext cx="20" cy="27"/>
            </a:xfrm>
            <a:custGeom>
              <a:avLst/>
              <a:gdLst>
                <a:gd name="T0" fmla="*/ 1 w 38"/>
                <a:gd name="T1" fmla="*/ 1 h 54"/>
                <a:gd name="T2" fmla="*/ 0 w 38"/>
                <a:gd name="T3" fmla="*/ 1 h 54"/>
                <a:gd name="T4" fmla="*/ 0 w 38"/>
                <a:gd name="T5" fmla="*/ 1 h 54"/>
                <a:gd name="T6" fmla="*/ 0 w 38"/>
                <a:gd name="T7" fmla="*/ 0 h 54"/>
                <a:gd name="T8" fmla="*/ 0 w 38"/>
                <a:gd name="T9" fmla="*/ 1 h 54"/>
                <a:gd name="T10" fmla="*/ 1 w 38"/>
                <a:gd name="T11" fmla="*/ 1 h 54"/>
                <a:gd name="T12" fmla="*/ 1 w 38"/>
                <a:gd name="T13" fmla="*/ 1 h 54"/>
                <a:gd name="T14" fmla="*/ 1 w 38"/>
                <a:gd name="T15" fmla="*/ 1 h 54"/>
                <a:gd name="T16" fmla="*/ 1 w 38"/>
                <a:gd name="T17" fmla="*/ 1 h 54"/>
                <a:gd name="T18" fmla="*/ 1 w 38"/>
                <a:gd name="T19" fmla="*/ 1 h 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8"/>
                <a:gd name="T31" fmla="*/ 0 h 54"/>
                <a:gd name="T32" fmla="*/ 38 w 38"/>
                <a:gd name="T33" fmla="*/ 54 h 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8" h="54">
                  <a:moveTo>
                    <a:pt x="19" y="37"/>
                  </a:moveTo>
                  <a:lnTo>
                    <a:pt x="0" y="37"/>
                  </a:lnTo>
                  <a:lnTo>
                    <a:pt x="0" y="19"/>
                  </a:lnTo>
                  <a:lnTo>
                    <a:pt x="0" y="0"/>
                  </a:lnTo>
                  <a:lnTo>
                    <a:pt x="0" y="19"/>
                  </a:lnTo>
                  <a:lnTo>
                    <a:pt x="19" y="37"/>
                  </a:lnTo>
                  <a:lnTo>
                    <a:pt x="38" y="37"/>
                  </a:lnTo>
                  <a:lnTo>
                    <a:pt x="38" y="54"/>
                  </a:lnTo>
                  <a:lnTo>
                    <a:pt x="19" y="54"/>
                  </a:lnTo>
                  <a:lnTo>
                    <a:pt x="19" y="37"/>
                  </a:lnTo>
                  <a:close/>
                </a:path>
              </a:pathLst>
            </a:custGeom>
            <a:solidFill>
              <a:srgbClr val="C0C0C0"/>
            </a:solidFill>
            <a:ln w="9525">
              <a:solidFill>
                <a:srgbClr val="C0C0C0"/>
              </a:solidFill>
              <a:round/>
              <a:headEnd/>
              <a:tailEnd/>
            </a:ln>
          </p:spPr>
          <p:txBody>
            <a:bodyPr/>
            <a:lstStyle/>
            <a:p>
              <a:endParaRPr lang="en-US"/>
            </a:p>
          </p:txBody>
        </p:sp>
        <p:sp>
          <p:nvSpPr>
            <p:cNvPr id="9322" name="Freeform 13"/>
            <p:cNvSpPr>
              <a:spLocks/>
            </p:cNvSpPr>
            <p:nvPr/>
          </p:nvSpPr>
          <p:spPr bwMode="auto">
            <a:xfrm>
              <a:off x="5421" y="2869"/>
              <a:ext cx="20" cy="10"/>
            </a:xfrm>
            <a:custGeom>
              <a:avLst/>
              <a:gdLst>
                <a:gd name="T0" fmla="*/ 0 w 41"/>
                <a:gd name="T1" fmla="*/ 1 h 19"/>
                <a:gd name="T2" fmla="*/ 0 w 41"/>
                <a:gd name="T3" fmla="*/ 1 h 19"/>
                <a:gd name="T4" fmla="*/ 0 w 41"/>
                <a:gd name="T5" fmla="*/ 0 h 19"/>
                <a:gd name="T6" fmla="*/ 0 w 41"/>
                <a:gd name="T7" fmla="*/ 0 h 19"/>
                <a:gd name="T8" fmla="*/ 0 w 41"/>
                <a:gd name="T9" fmla="*/ 1 h 19"/>
                <a:gd name="T10" fmla="*/ 0 w 41"/>
                <a:gd name="T11" fmla="*/ 1 h 19"/>
                <a:gd name="T12" fmla="*/ 0 60000 65536"/>
                <a:gd name="T13" fmla="*/ 0 60000 65536"/>
                <a:gd name="T14" fmla="*/ 0 60000 65536"/>
                <a:gd name="T15" fmla="*/ 0 60000 65536"/>
                <a:gd name="T16" fmla="*/ 0 60000 65536"/>
                <a:gd name="T17" fmla="*/ 0 60000 65536"/>
                <a:gd name="T18" fmla="*/ 0 w 41"/>
                <a:gd name="T19" fmla="*/ 0 h 19"/>
                <a:gd name="T20" fmla="*/ 41 w 41"/>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41" h="19">
                  <a:moveTo>
                    <a:pt x="41" y="19"/>
                  </a:moveTo>
                  <a:lnTo>
                    <a:pt x="20" y="19"/>
                  </a:lnTo>
                  <a:lnTo>
                    <a:pt x="0" y="0"/>
                  </a:lnTo>
                  <a:lnTo>
                    <a:pt x="20" y="0"/>
                  </a:lnTo>
                  <a:lnTo>
                    <a:pt x="20" y="19"/>
                  </a:lnTo>
                  <a:lnTo>
                    <a:pt x="41" y="19"/>
                  </a:lnTo>
                </a:path>
              </a:pathLst>
            </a:custGeom>
            <a:solidFill>
              <a:srgbClr val="C0C0C0"/>
            </a:solidFill>
            <a:ln w="9525">
              <a:solidFill>
                <a:srgbClr val="C0C0C0"/>
              </a:solidFill>
              <a:round/>
              <a:headEnd/>
              <a:tailEnd/>
            </a:ln>
          </p:spPr>
          <p:txBody>
            <a:bodyPr/>
            <a:lstStyle/>
            <a:p>
              <a:endParaRPr lang="en-US"/>
            </a:p>
          </p:txBody>
        </p:sp>
        <p:sp>
          <p:nvSpPr>
            <p:cNvPr id="9323" name="Freeform 14"/>
            <p:cNvSpPr>
              <a:spLocks/>
            </p:cNvSpPr>
            <p:nvPr/>
          </p:nvSpPr>
          <p:spPr bwMode="auto">
            <a:xfrm>
              <a:off x="5400" y="2860"/>
              <a:ext cx="21" cy="9"/>
            </a:xfrm>
            <a:custGeom>
              <a:avLst/>
              <a:gdLst>
                <a:gd name="T0" fmla="*/ 1 w 42"/>
                <a:gd name="T1" fmla="*/ 1 h 17"/>
                <a:gd name="T2" fmla="*/ 1 w 42"/>
                <a:gd name="T3" fmla="*/ 1 h 17"/>
                <a:gd name="T4" fmla="*/ 1 w 42"/>
                <a:gd name="T5" fmla="*/ 0 h 17"/>
                <a:gd name="T6" fmla="*/ 0 w 42"/>
                <a:gd name="T7" fmla="*/ 0 h 17"/>
                <a:gd name="T8" fmla="*/ 1 w 42"/>
                <a:gd name="T9" fmla="*/ 0 h 17"/>
                <a:gd name="T10" fmla="*/ 1 w 42"/>
                <a:gd name="T11" fmla="*/ 0 h 17"/>
                <a:gd name="T12" fmla="*/ 1 w 42"/>
                <a:gd name="T13" fmla="*/ 1 h 17"/>
                <a:gd name="T14" fmla="*/ 0 60000 65536"/>
                <a:gd name="T15" fmla="*/ 0 60000 65536"/>
                <a:gd name="T16" fmla="*/ 0 60000 65536"/>
                <a:gd name="T17" fmla="*/ 0 60000 65536"/>
                <a:gd name="T18" fmla="*/ 0 60000 65536"/>
                <a:gd name="T19" fmla="*/ 0 60000 65536"/>
                <a:gd name="T20" fmla="*/ 0 60000 65536"/>
                <a:gd name="T21" fmla="*/ 0 w 42"/>
                <a:gd name="T22" fmla="*/ 0 h 17"/>
                <a:gd name="T23" fmla="*/ 42 w 42"/>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17">
                  <a:moveTo>
                    <a:pt x="42" y="17"/>
                  </a:moveTo>
                  <a:lnTo>
                    <a:pt x="21" y="17"/>
                  </a:lnTo>
                  <a:lnTo>
                    <a:pt x="21" y="0"/>
                  </a:lnTo>
                  <a:lnTo>
                    <a:pt x="0" y="0"/>
                  </a:lnTo>
                  <a:lnTo>
                    <a:pt x="21" y="0"/>
                  </a:lnTo>
                  <a:lnTo>
                    <a:pt x="42" y="0"/>
                  </a:lnTo>
                  <a:lnTo>
                    <a:pt x="42" y="17"/>
                  </a:lnTo>
                  <a:close/>
                </a:path>
              </a:pathLst>
            </a:custGeom>
            <a:solidFill>
              <a:srgbClr val="C0C0C0"/>
            </a:solidFill>
            <a:ln w="9525">
              <a:solidFill>
                <a:srgbClr val="C0C0C0"/>
              </a:solidFill>
              <a:round/>
              <a:headEnd/>
              <a:tailEnd/>
            </a:ln>
          </p:spPr>
          <p:txBody>
            <a:bodyPr/>
            <a:lstStyle/>
            <a:p>
              <a:endParaRPr lang="en-US"/>
            </a:p>
          </p:txBody>
        </p:sp>
        <p:sp>
          <p:nvSpPr>
            <p:cNvPr id="9324" name="Freeform 15"/>
            <p:cNvSpPr>
              <a:spLocks/>
            </p:cNvSpPr>
            <p:nvPr/>
          </p:nvSpPr>
          <p:spPr bwMode="auto">
            <a:xfrm>
              <a:off x="5411" y="2842"/>
              <a:ext cx="10" cy="10"/>
            </a:xfrm>
            <a:custGeom>
              <a:avLst/>
              <a:gdLst>
                <a:gd name="T0" fmla="*/ 0 w 21"/>
                <a:gd name="T1" fmla="*/ 1 h 19"/>
                <a:gd name="T2" fmla="*/ 0 w 21"/>
                <a:gd name="T3" fmla="*/ 1 h 19"/>
                <a:gd name="T4" fmla="*/ 0 w 21"/>
                <a:gd name="T5" fmla="*/ 0 h 19"/>
                <a:gd name="T6" fmla="*/ 0 w 21"/>
                <a:gd name="T7" fmla="*/ 1 h 19"/>
                <a:gd name="T8" fmla="*/ 0 60000 65536"/>
                <a:gd name="T9" fmla="*/ 0 60000 65536"/>
                <a:gd name="T10" fmla="*/ 0 60000 65536"/>
                <a:gd name="T11" fmla="*/ 0 60000 65536"/>
                <a:gd name="T12" fmla="*/ 0 w 21"/>
                <a:gd name="T13" fmla="*/ 0 h 19"/>
                <a:gd name="T14" fmla="*/ 21 w 21"/>
                <a:gd name="T15" fmla="*/ 19 h 19"/>
              </a:gdLst>
              <a:ahLst/>
              <a:cxnLst>
                <a:cxn ang="T8">
                  <a:pos x="T0" y="T1"/>
                </a:cxn>
                <a:cxn ang="T9">
                  <a:pos x="T2" y="T3"/>
                </a:cxn>
                <a:cxn ang="T10">
                  <a:pos x="T4" y="T5"/>
                </a:cxn>
                <a:cxn ang="T11">
                  <a:pos x="T6" y="T7"/>
                </a:cxn>
              </a:cxnLst>
              <a:rect l="T12" t="T13" r="T14" b="T15"/>
              <a:pathLst>
                <a:path w="21" h="19">
                  <a:moveTo>
                    <a:pt x="21" y="19"/>
                  </a:moveTo>
                  <a:lnTo>
                    <a:pt x="0" y="19"/>
                  </a:lnTo>
                  <a:lnTo>
                    <a:pt x="0" y="0"/>
                  </a:lnTo>
                  <a:lnTo>
                    <a:pt x="21" y="19"/>
                  </a:lnTo>
                  <a:close/>
                </a:path>
              </a:pathLst>
            </a:custGeom>
            <a:solidFill>
              <a:srgbClr val="C0C0C0"/>
            </a:solidFill>
            <a:ln w="9525">
              <a:solidFill>
                <a:srgbClr val="C0C0C0"/>
              </a:solidFill>
              <a:round/>
              <a:headEnd/>
              <a:tailEnd/>
            </a:ln>
          </p:spPr>
          <p:txBody>
            <a:bodyPr/>
            <a:lstStyle/>
            <a:p>
              <a:endParaRPr lang="en-US"/>
            </a:p>
          </p:txBody>
        </p:sp>
        <p:sp>
          <p:nvSpPr>
            <p:cNvPr id="9325" name="Freeform 16"/>
            <p:cNvSpPr>
              <a:spLocks/>
            </p:cNvSpPr>
            <p:nvPr/>
          </p:nvSpPr>
          <p:spPr bwMode="auto">
            <a:xfrm>
              <a:off x="5370" y="2824"/>
              <a:ext cx="20" cy="18"/>
            </a:xfrm>
            <a:custGeom>
              <a:avLst/>
              <a:gdLst>
                <a:gd name="T0" fmla="*/ 1 w 38"/>
                <a:gd name="T1" fmla="*/ 0 h 36"/>
                <a:gd name="T2" fmla="*/ 1 w 38"/>
                <a:gd name="T3" fmla="*/ 1 h 36"/>
                <a:gd name="T4" fmla="*/ 1 w 38"/>
                <a:gd name="T5" fmla="*/ 1 h 36"/>
                <a:gd name="T6" fmla="*/ 1 w 38"/>
                <a:gd name="T7" fmla="*/ 1 h 36"/>
                <a:gd name="T8" fmla="*/ 0 w 38"/>
                <a:gd name="T9" fmla="*/ 1 h 36"/>
                <a:gd name="T10" fmla="*/ 1 w 38"/>
                <a:gd name="T11" fmla="*/ 1 h 36"/>
                <a:gd name="T12" fmla="*/ 1 w 38"/>
                <a:gd name="T13" fmla="*/ 0 h 36"/>
                <a:gd name="T14" fmla="*/ 0 60000 65536"/>
                <a:gd name="T15" fmla="*/ 0 60000 65536"/>
                <a:gd name="T16" fmla="*/ 0 60000 65536"/>
                <a:gd name="T17" fmla="*/ 0 60000 65536"/>
                <a:gd name="T18" fmla="*/ 0 60000 65536"/>
                <a:gd name="T19" fmla="*/ 0 60000 65536"/>
                <a:gd name="T20" fmla="*/ 0 60000 65536"/>
                <a:gd name="T21" fmla="*/ 0 w 38"/>
                <a:gd name="T22" fmla="*/ 0 h 36"/>
                <a:gd name="T23" fmla="*/ 38 w 38"/>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36">
                  <a:moveTo>
                    <a:pt x="19" y="0"/>
                  </a:moveTo>
                  <a:lnTo>
                    <a:pt x="38" y="19"/>
                  </a:lnTo>
                  <a:lnTo>
                    <a:pt x="38" y="36"/>
                  </a:lnTo>
                  <a:lnTo>
                    <a:pt x="19" y="19"/>
                  </a:lnTo>
                  <a:lnTo>
                    <a:pt x="0" y="19"/>
                  </a:lnTo>
                  <a:lnTo>
                    <a:pt x="19" y="19"/>
                  </a:lnTo>
                  <a:lnTo>
                    <a:pt x="19" y="0"/>
                  </a:lnTo>
                  <a:close/>
                </a:path>
              </a:pathLst>
            </a:custGeom>
            <a:solidFill>
              <a:srgbClr val="C0C0C0"/>
            </a:solidFill>
            <a:ln w="9525">
              <a:solidFill>
                <a:srgbClr val="C0C0C0"/>
              </a:solidFill>
              <a:round/>
              <a:headEnd/>
              <a:tailEnd/>
            </a:ln>
          </p:spPr>
          <p:txBody>
            <a:bodyPr/>
            <a:lstStyle/>
            <a:p>
              <a:endParaRPr lang="en-US"/>
            </a:p>
          </p:txBody>
        </p:sp>
        <p:sp>
          <p:nvSpPr>
            <p:cNvPr id="9326" name="Freeform 17"/>
            <p:cNvSpPr>
              <a:spLocks/>
            </p:cNvSpPr>
            <p:nvPr/>
          </p:nvSpPr>
          <p:spPr bwMode="auto">
            <a:xfrm>
              <a:off x="5350" y="2824"/>
              <a:ext cx="10" cy="0"/>
            </a:xfrm>
            <a:custGeom>
              <a:avLst/>
              <a:gdLst>
                <a:gd name="T0" fmla="*/ 0 w 20"/>
                <a:gd name="T1" fmla="*/ 1 w 20"/>
                <a:gd name="T2" fmla="*/ 0 w 20"/>
                <a:gd name="T3" fmla="*/ 0 60000 65536"/>
                <a:gd name="T4" fmla="*/ 0 60000 65536"/>
                <a:gd name="T5" fmla="*/ 0 60000 65536"/>
                <a:gd name="T6" fmla="*/ 0 w 20"/>
                <a:gd name="T7" fmla="*/ 20 w 20"/>
              </a:gdLst>
              <a:ahLst/>
              <a:cxnLst>
                <a:cxn ang="T3">
                  <a:pos x="T0" y="0"/>
                </a:cxn>
                <a:cxn ang="T4">
                  <a:pos x="T1" y="0"/>
                </a:cxn>
                <a:cxn ang="T5">
                  <a:pos x="T2" y="0"/>
                </a:cxn>
              </a:cxnLst>
              <a:rect l="T6" t="0" r="T7" b="0"/>
              <a:pathLst>
                <a:path w="20">
                  <a:moveTo>
                    <a:pt x="0" y="0"/>
                  </a:moveTo>
                  <a:lnTo>
                    <a:pt x="20" y="0"/>
                  </a:lnTo>
                  <a:lnTo>
                    <a:pt x="0" y="0"/>
                  </a:lnTo>
                  <a:close/>
                </a:path>
              </a:pathLst>
            </a:custGeom>
            <a:solidFill>
              <a:srgbClr val="C0C0C0"/>
            </a:solidFill>
            <a:ln w="9525">
              <a:solidFill>
                <a:srgbClr val="C0C0C0"/>
              </a:solidFill>
              <a:round/>
              <a:headEnd/>
              <a:tailEnd/>
            </a:ln>
          </p:spPr>
          <p:txBody>
            <a:bodyPr/>
            <a:lstStyle/>
            <a:p>
              <a:endParaRPr lang="en-US"/>
            </a:p>
          </p:txBody>
        </p:sp>
        <p:sp>
          <p:nvSpPr>
            <p:cNvPr id="9327" name="Freeform 18"/>
            <p:cNvSpPr>
              <a:spLocks/>
            </p:cNvSpPr>
            <p:nvPr/>
          </p:nvSpPr>
          <p:spPr bwMode="auto">
            <a:xfrm>
              <a:off x="4164" y="2592"/>
              <a:ext cx="31" cy="53"/>
            </a:xfrm>
            <a:custGeom>
              <a:avLst/>
              <a:gdLst>
                <a:gd name="T0" fmla="*/ 1 w 61"/>
                <a:gd name="T1" fmla="*/ 0 h 108"/>
                <a:gd name="T2" fmla="*/ 1 w 61"/>
                <a:gd name="T3" fmla="*/ 0 h 108"/>
                <a:gd name="T4" fmla="*/ 1 w 61"/>
                <a:gd name="T5" fmla="*/ 0 h 108"/>
                <a:gd name="T6" fmla="*/ 0 w 61"/>
                <a:gd name="T7" fmla="*/ 0 h 108"/>
                <a:gd name="T8" fmla="*/ 0 w 61"/>
                <a:gd name="T9" fmla="*/ 0 h 108"/>
                <a:gd name="T10" fmla="*/ 0 w 61"/>
                <a:gd name="T11" fmla="*/ 0 h 108"/>
                <a:gd name="T12" fmla="*/ 0 w 61"/>
                <a:gd name="T13" fmla="*/ 0 h 108"/>
                <a:gd name="T14" fmla="*/ 0 w 61"/>
                <a:gd name="T15" fmla="*/ 0 h 108"/>
                <a:gd name="T16" fmla="*/ 1 w 61"/>
                <a:gd name="T17" fmla="*/ 0 h 108"/>
                <a:gd name="T18" fmla="*/ 1 w 61"/>
                <a:gd name="T19" fmla="*/ 0 h 108"/>
                <a:gd name="T20" fmla="*/ 1 w 61"/>
                <a:gd name="T21" fmla="*/ 0 h 10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1"/>
                <a:gd name="T34" fmla="*/ 0 h 108"/>
                <a:gd name="T35" fmla="*/ 61 w 61"/>
                <a:gd name="T36" fmla="*/ 108 h 10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1" h="108">
                  <a:moveTo>
                    <a:pt x="61" y="71"/>
                  </a:moveTo>
                  <a:lnTo>
                    <a:pt x="40" y="91"/>
                  </a:lnTo>
                  <a:lnTo>
                    <a:pt x="40" y="108"/>
                  </a:lnTo>
                  <a:lnTo>
                    <a:pt x="0" y="108"/>
                  </a:lnTo>
                  <a:lnTo>
                    <a:pt x="0" y="91"/>
                  </a:lnTo>
                  <a:lnTo>
                    <a:pt x="0" y="54"/>
                  </a:lnTo>
                  <a:lnTo>
                    <a:pt x="0" y="35"/>
                  </a:lnTo>
                  <a:lnTo>
                    <a:pt x="0" y="0"/>
                  </a:lnTo>
                  <a:lnTo>
                    <a:pt x="21" y="18"/>
                  </a:lnTo>
                  <a:lnTo>
                    <a:pt x="40" y="35"/>
                  </a:lnTo>
                  <a:lnTo>
                    <a:pt x="61" y="71"/>
                  </a:lnTo>
                  <a:close/>
                </a:path>
              </a:pathLst>
            </a:custGeom>
            <a:solidFill>
              <a:srgbClr val="C0C0C0"/>
            </a:solidFill>
            <a:ln w="9525">
              <a:solidFill>
                <a:srgbClr val="C0C0C0"/>
              </a:solidFill>
              <a:round/>
              <a:headEnd/>
              <a:tailEnd/>
            </a:ln>
          </p:spPr>
          <p:txBody>
            <a:bodyPr/>
            <a:lstStyle/>
            <a:p>
              <a:endParaRPr lang="en-US"/>
            </a:p>
          </p:txBody>
        </p:sp>
        <p:sp>
          <p:nvSpPr>
            <p:cNvPr id="9328" name="Freeform 19"/>
            <p:cNvSpPr>
              <a:spLocks/>
            </p:cNvSpPr>
            <p:nvPr/>
          </p:nvSpPr>
          <p:spPr bwMode="auto">
            <a:xfrm>
              <a:off x="4386" y="2645"/>
              <a:ext cx="171" cy="162"/>
            </a:xfrm>
            <a:custGeom>
              <a:avLst/>
              <a:gdLst>
                <a:gd name="T0" fmla="*/ 0 w 344"/>
                <a:gd name="T1" fmla="*/ 1 h 322"/>
                <a:gd name="T2" fmla="*/ 0 w 344"/>
                <a:gd name="T3" fmla="*/ 1 h 322"/>
                <a:gd name="T4" fmla="*/ 0 w 344"/>
                <a:gd name="T5" fmla="*/ 1 h 322"/>
                <a:gd name="T6" fmla="*/ 0 w 344"/>
                <a:gd name="T7" fmla="*/ 1 h 322"/>
                <a:gd name="T8" fmla="*/ 0 w 344"/>
                <a:gd name="T9" fmla="*/ 1 h 322"/>
                <a:gd name="T10" fmla="*/ 0 w 344"/>
                <a:gd name="T11" fmla="*/ 1 h 322"/>
                <a:gd name="T12" fmla="*/ 0 w 344"/>
                <a:gd name="T13" fmla="*/ 1 h 322"/>
                <a:gd name="T14" fmla="*/ 0 w 344"/>
                <a:gd name="T15" fmla="*/ 1 h 322"/>
                <a:gd name="T16" fmla="*/ 0 w 344"/>
                <a:gd name="T17" fmla="*/ 1 h 322"/>
                <a:gd name="T18" fmla="*/ 0 w 344"/>
                <a:gd name="T19" fmla="*/ 1 h 322"/>
                <a:gd name="T20" fmla="*/ 0 w 344"/>
                <a:gd name="T21" fmla="*/ 1 h 322"/>
                <a:gd name="T22" fmla="*/ 0 w 344"/>
                <a:gd name="T23" fmla="*/ 1 h 322"/>
                <a:gd name="T24" fmla="*/ 0 w 344"/>
                <a:gd name="T25" fmla="*/ 1 h 322"/>
                <a:gd name="T26" fmla="*/ 0 w 344"/>
                <a:gd name="T27" fmla="*/ 1 h 322"/>
                <a:gd name="T28" fmla="*/ 0 w 344"/>
                <a:gd name="T29" fmla="*/ 1 h 322"/>
                <a:gd name="T30" fmla="*/ 0 w 344"/>
                <a:gd name="T31" fmla="*/ 0 h 322"/>
                <a:gd name="T32" fmla="*/ 0 w 344"/>
                <a:gd name="T33" fmla="*/ 0 h 322"/>
                <a:gd name="T34" fmla="*/ 0 w 344"/>
                <a:gd name="T35" fmla="*/ 0 h 322"/>
                <a:gd name="T36" fmla="*/ 0 w 344"/>
                <a:gd name="T37" fmla="*/ 1 h 322"/>
                <a:gd name="T38" fmla="*/ 0 w 344"/>
                <a:gd name="T39" fmla="*/ 1 h 322"/>
                <a:gd name="T40" fmla="*/ 0 w 344"/>
                <a:gd name="T41" fmla="*/ 1 h 322"/>
                <a:gd name="T42" fmla="*/ 0 w 344"/>
                <a:gd name="T43" fmla="*/ 1 h 322"/>
                <a:gd name="T44" fmla="*/ 0 w 344"/>
                <a:gd name="T45" fmla="*/ 1 h 322"/>
                <a:gd name="T46" fmla="*/ 0 w 344"/>
                <a:gd name="T47" fmla="*/ 1 h 322"/>
                <a:gd name="T48" fmla="*/ 0 w 344"/>
                <a:gd name="T49" fmla="*/ 1 h 322"/>
                <a:gd name="T50" fmla="*/ 0 w 344"/>
                <a:gd name="T51" fmla="*/ 1 h 322"/>
                <a:gd name="T52" fmla="*/ 0 w 344"/>
                <a:gd name="T53" fmla="*/ 1 h 322"/>
                <a:gd name="T54" fmla="*/ 0 w 344"/>
                <a:gd name="T55" fmla="*/ 1 h 322"/>
                <a:gd name="T56" fmla="*/ 0 w 344"/>
                <a:gd name="T57" fmla="*/ 1 h 322"/>
                <a:gd name="T58" fmla="*/ 0 w 344"/>
                <a:gd name="T59" fmla="*/ 1 h 322"/>
                <a:gd name="T60" fmla="*/ 0 w 344"/>
                <a:gd name="T61" fmla="*/ 1 h 322"/>
                <a:gd name="T62" fmla="*/ 0 w 344"/>
                <a:gd name="T63" fmla="*/ 1 h 322"/>
                <a:gd name="T64" fmla="*/ 0 w 344"/>
                <a:gd name="T65" fmla="*/ 1 h 322"/>
                <a:gd name="T66" fmla="*/ 0 w 344"/>
                <a:gd name="T67" fmla="*/ 1 h 322"/>
                <a:gd name="T68" fmla="*/ 0 w 344"/>
                <a:gd name="T69" fmla="*/ 1 h 322"/>
                <a:gd name="T70" fmla="*/ 0 w 344"/>
                <a:gd name="T71" fmla="*/ 1 h 322"/>
                <a:gd name="T72" fmla="*/ 0 w 344"/>
                <a:gd name="T73" fmla="*/ 1 h 322"/>
                <a:gd name="T74" fmla="*/ 0 w 344"/>
                <a:gd name="T75" fmla="*/ 1 h 322"/>
                <a:gd name="T76" fmla="*/ 0 w 344"/>
                <a:gd name="T77" fmla="*/ 1 h 322"/>
                <a:gd name="T78" fmla="*/ 0 w 344"/>
                <a:gd name="T79" fmla="*/ 1 h 322"/>
                <a:gd name="T80" fmla="*/ 0 w 344"/>
                <a:gd name="T81" fmla="*/ 1 h 322"/>
                <a:gd name="T82" fmla="*/ 0 w 344"/>
                <a:gd name="T83" fmla="*/ 1 h 322"/>
                <a:gd name="T84" fmla="*/ 0 w 344"/>
                <a:gd name="T85" fmla="*/ 1 h 322"/>
                <a:gd name="T86" fmla="*/ 0 w 344"/>
                <a:gd name="T87" fmla="*/ 1 h 322"/>
                <a:gd name="T88" fmla="*/ 0 w 344"/>
                <a:gd name="T89" fmla="*/ 1 h 322"/>
                <a:gd name="T90" fmla="*/ 0 w 344"/>
                <a:gd name="T91" fmla="*/ 1 h 322"/>
                <a:gd name="T92" fmla="*/ 0 w 344"/>
                <a:gd name="T93" fmla="*/ 1 h 322"/>
                <a:gd name="T94" fmla="*/ 0 w 344"/>
                <a:gd name="T95" fmla="*/ 1 h 322"/>
                <a:gd name="T96" fmla="*/ 0 w 344"/>
                <a:gd name="T97" fmla="*/ 1 h 322"/>
                <a:gd name="T98" fmla="*/ 0 w 344"/>
                <a:gd name="T99" fmla="*/ 1 h 322"/>
                <a:gd name="T100" fmla="*/ 0 w 344"/>
                <a:gd name="T101" fmla="*/ 1 h 322"/>
                <a:gd name="T102" fmla="*/ 0 w 344"/>
                <a:gd name="T103" fmla="*/ 1 h 322"/>
                <a:gd name="T104" fmla="*/ 0 w 344"/>
                <a:gd name="T105" fmla="*/ 1 h 322"/>
                <a:gd name="T106" fmla="*/ 0 w 344"/>
                <a:gd name="T107" fmla="*/ 1 h 322"/>
                <a:gd name="T108" fmla="*/ 0 w 344"/>
                <a:gd name="T109" fmla="*/ 1 h 322"/>
                <a:gd name="T110" fmla="*/ 0 w 344"/>
                <a:gd name="T111" fmla="*/ 1 h 322"/>
                <a:gd name="T112" fmla="*/ 0 w 344"/>
                <a:gd name="T113" fmla="*/ 1 h 32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44"/>
                <a:gd name="T172" fmla="*/ 0 h 322"/>
                <a:gd name="T173" fmla="*/ 344 w 344"/>
                <a:gd name="T174" fmla="*/ 322 h 32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44" h="322">
                  <a:moveTo>
                    <a:pt x="161" y="178"/>
                  </a:moveTo>
                  <a:lnTo>
                    <a:pt x="161" y="159"/>
                  </a:lnTo>
                  <a:lnTo>
                    <a:pt x="142" y="159"/>
                  </a:lnTo>
                  <a:lnTo>
                    <a:pt x="142" y="126"/>
                  </a:lnTo>
                  <a:lnTo>
                    <a:pt x="121" y="126"/>
                  </a:lnTo>
                  <a:lnTo>
                    <a:pt x="121" y="107"/>
                  </a:lnTo>
                  <a:lnTo>
                    <a:pt x="100" y="107"/>
                  </a:lnTo>
                  <a:lnTo>
                    <a:pt x="79" y="90"/>
                  </a:lnTo>
                  <a:lnTo>
                    <a:pt x="60" y="90"/>
                  </a:lnTo>
                  <a:lnTo>
                    <a:pt x="60" y="71"/>
                  </a:lnTo>
                  <a:lnTo>
                    <a:pt x="60" y="54"/>
                  </a:lnTo>
                  <a:lnTo>
                    <a:pt x="40" y="54"/>
                  </a:lnTo>
                  <a:lnTo>
                    <a:pt x="19" y="54"/>
                  </a:lnTo>
                  <a:lnTo>
                    <a:pt x="19" y="36"/>
                  </a:lnTo>
                  <a:lnTo>
                    <a:pt x="0" y="17"/>
                  </a:lnTo>
                  <a:lnTo>
                    <a:pt x="0" y="0"/>
                  </a:lnTo>
                  <a:lnTo>
                    <a:pt x="19" y="0"/>
                  </a:lnTo>
                  <a:lnTo>
                    <a:pt x="40" y="0"/>
                  </a:lnTo>
                  <a:lnTo>
                    <a:pt x="40" y="17"/>
                  </a:lnTo>
                  <a:lnTo>
                    <a:pt x="60" y="17"/>
                  </a:lnTo>
                  <a:lnTo>
                    <a:pt x="100" y="17"/>
                  </a:lnTo>
                  <a:lnTo>
                    <a:pt x="100" y="36"/>
                  </a:lnTo>
                  <a:lnTo>
                    <a:pt x="121" y="54"/>
                  </a:lnTo>
                  <a:lnTo>
                    <a:pt x="142" y="54"/>
                  </a:lnTo>
                  <a:lnTo>
                    <a:pt x="142" y="71"/>
                  </a:lnTo>
                  <a:lnTo>
                    <a:pt x="161" y="90"/>
                  </a:lnTo>
                  <a:lnTo>
                    <a:pt x="183" y="107"/>
                  </a:lnTo>
                  <a:lnTo>
                    <a:pt x="202" y="107"/>
                  </a:lnTo>
                  <a:lnTo>
                    <a:pt x="223" y="126"/>
                  </a:lnTo>
                  <a:lnTo>
                    <a:pt x="242" y="126"/>
                  </a:lnTo>
                  <a:lnTo>
                    <a:pt x="263" y="142"/>
                  </a:lnTo>
                  <a:lnTo>
                    <a:pt x="263" y="159"/>
                  </a:lnTo>
                  <a:lnTo>
                    <a:pt x="282" y="159"/>
                  </a:lnTo>
                  <a:lnTo>
                    <a:pt x="263" y="178"/>
                  </a:lnTo>
                  <a:lnTo>
                    <a:pt x="282" y="178"/>
                  </a:lnTo>
                  <a:lnTo>
                    <a:pt x="303" y="178"/>
                  </a:lnTo>
                  <a:lnTo>
                    <a:pt x="303" y="196"/>
                  </a:lnTo>
                  <a:lnTo>
                    <a:pt x="303" y="213"/>
                  </a:lnTo>
                  <a:lnTo>
                    <a:pt x="323" y="232"/>
                  </a:lnTo>
                  <a:lnTo>
                    <a:pt x="344" y="232"/>
                  </a:lnTo>
                  <a:lnTo>
                    <a:pt x="344" y="249"/>
                  </a:lnTo>
                  <a:lnTo>
                    <a:pt x="344" y="269"/>
                  </a:lnTo>
                  <a:lnTo>
                    <a:pt x="344" y="286"/>
                  </a:lnTo>
                  <a:lnTo>
                    <a:pt x="344" y="303"/>
                  </a:lnTo>
                  <a:lnTo>
                    <a:pt x="344" y="322"/>
                  </a:lnTo>
                  <a:lnTo>
                    <a:pt x="323" y="322"/>
                  </a:lnTo>
                  <a:lnTo>
                    <a:pt x="303" y="322"/>
                  </a:lnTo>
                  <a:lnTo>
                    <a:pt x="282" y="303"/>
                  </a:lnTo>
                  <a:lnTo>
                    <a:pt x="282" y="286"/>
                  </a:lnTo>
                  <a:lnTo>
                    <a:pt x="263" y="286"/>
                  </a:lnTo>
                  <a:lnTo>
                    <a:pt x="242" y="269"/>
                  </a:lnTo>
                  <a:lnTo>
                    <a:pt x="223" y="249"/>
                  </a:lnTo>
                  <a:lnTo>
                    <a:pt x="202" y="232"/>
                  </a:lnTo>
                  <a:lnTo>
                    <a:pt x="202" y="213"/>
                  </a:lnTo>
                  <a:lnTo>
                    <a:pt x="183" y="196"/>
                  </a:lnTo>
                  <a:lnTo>
                    <a:pt x="183" y="178"/>
                  </a:lnTo>
                  <a:lnTo>
                    <a:pt x="161" y="178"/>
                  </a:lnTo>
                  <a:close/>
                </a:path>
              </a:pathLst>
            </a:custGeom>
            <a:solidFill>
              <a:srgbClr val="C0C0C0"/>
            </a:solidFill>
            <a:ln w="9525">
              <a:solidFill>
                <a:srgbClr val="C0C0C0"/>
              </a:solidFill>
              <a:round/>
              <a:headEnd/>
              <a:tailEnd/>
            </a:ln>
          </p:spPr>
          <p:txBody>
            <a:bodyPr/>
            <a:lstStyle/>
            <a:p>
              <a:endParaRPr lang="en-US"/>
            </a:p>
          </p:txBody>
        </p:sp>
        <p:sp>
          <p:nvSpPr>
            <p:cNvPr id="9329" name="Freeform 20"/>
            <p:cNvSpPr>
              <a:spLocks/>
            </p:cNvSpPr>
            <p:nvPr/>
          </p:nvSpPr>
          <p:spPr bwMode="auto">
            <a:xfrm>
              <a:off x="4607" y="2627"/>
              <a:ext cx="151" cy="161"/>
            </a:xfrm>
            <a:custGeom>
              <a:avLst/>
              <a:gdLst>
                <a:gd name="T0" fmla="*/ 1 w 301"/>
                <a:gd name="T1" fmla="*/ 0 h 323"/>
                <a:gd name="T2" fmla="*/ 1 w 301"/>
                <a:gd name="T3" fmla="*/ 0 h 323"/>
                <a:gd name="T4" fmla="*/ 1 w 301"/>
                <a:gd name="T5" fmla="*/ 0 h 323"/>
                <a:gd name="T6" fmla="*/ 1 w 301"/>
                <a:gd name="T7" fmla="*/ 0 h 323"/>
                <a:gd name="T8" fmla="*/ 1 w 301"/>
                <a:gd name="T9" fmla="*/ 0 h 323"/>
                <a:gd name="T10" fmla="*/ 1 w 301"/>
                <a:gd name="T11" fmla="*/ 0 h 323"/>
                <a:gd name="T12" fmla="*/ 1 w 301"/>
                <a:gd name="T13" fmla="*/ 0 h 323"/>
                <a:gd name="T14" fmla="*/ 0 w 301"/>
                <a:gd name="T15" fmla="*/ 0 h 323"/>
                <a:gd name="T16" fmla="*/ 0 w 301"/>
                <a:gd name="T17" fmla="*/ 0 h 323"/>
                <a:gd name="T18" fmla="*/ 0 w 301"/>
                <a:gd name="T19" fmla="*/ 0 h 323"/>
                <a:gd name="T20" fmla="*/ 0 w 301"/>
                <a:gd name="T21" fmla="*/ 0 h 323"/>
                <a:gd name="T22" fmla="*/ 1 w 301"/>
                <a:gd name="T23" fmla="*/ 0 h 323"/>
                <a:gd name="T24" fmla="*/ 1 w 301"/>
                <a:gd name="T25" fmla="*/ 0 h 323"/>
                <a:gd name="T26" fmla="*/ 1 w 301"/>
                <a:gd name="T27" fmla="*/ 0 h 323"/>
                <a:gd name="T28" fmla="*/ 1 w 301"/>
                <a:gd name="T29" fmla="*/ 0 h 323"/>
                <a:gd name="T30" fmla="*/ 1 w 301"/>
                <a:gd name="T31" fmla="*/ 0 h 323"/>
                <a:gd name="T32" fmla="*/ 1 w 301"/>
                <a:gd name="T33" fmla="*/ 0 h 323"/>
                <a:gd name="T34" fmla="*/ 1 w 301"/>
                <a:gd name="T35" fmla="*/ 0 h 323"/>
                <a:gd name="T36" fmla="*/ 1 w 301"/>
                <a:gd name="T37" fmla="*/ 0 h 323"/>
                <a:gd name="T38" fmla="*/ 1 w 301"/>
                <a:gd name="T39" fmla="*/ 0 h 323"/>
                <a:gd name="T40" fmla="*/ 1 w 301"/>
                <a:gd name="T41" fmla="*/ 0 h 323"/>
                <a:gd name="T42" fmla="*/ 1 w 301"/>
                <a:gd name="T43" fmla="*/ 0 h 323"/>
                <a:gd name="T44" fmla="*/ 1 w 301"/>
                <a:gd name="T45" fmla="*/ 0 h 323"/>
                <a:gd name="T46" fmla="*/ 1 w 301"/>
                <a:gd name="T47" fmla="*/ 0 h 323"/>
                <a:gd name="T48" fmla="*/ 1 w 301"/>
                <a:gd name="T49" fmla="*/ 0 h 323"/>
                <a:gd name="T50" fmla="*/ 1 w 301"/>
                <a:gd name="T51" fmla="*/ 0 h 323"/>
                <a:gd name="T52" fmla="*/ 1 w 301"/>
                <a:gd name="T53" fmla="*/ 0 h 323"/>
                <a:gd name="T54" fmla="*/ 1 w 301"/>
                <a:gd name="T55" fmla="*/ 0 h 323"/>
                <a:gd name="T56" fmla="*/ 1 w 301"/>
                <a:gd name="T57" fmla="*/ 0 h 323"/>
                <a:gd name="T58" fmla="*/ 1 w 301"/>
                <a:gd name="T59" fmla="*/ 0 h 323"/>
                <a:gd name="T60" fmla="*/ 1 w 301"/>
                <a:gd name="T61" fmla="*/ 0 h 323"/>
                <a:gd name="T62" fmla="*/ 1 w 301"/>
                <a:gd name="T63" fmla="*/ 0 h 323"/>
                <a:gd name="T64" fmla="*/ 1 w 301"/>
                <a:gd name="T65" fmla="*/ 0 h 323"/>
                <a:gd name="T66" fmla="*/ 1 w 301"/>
                <a:gd name="T67" fmla="*/ 0 h 323"/>
                <a:gd name="T68" fmla="*/ 1 w 301"/>
                <a:gd name="T69" fmla="*/ 0 h 323"/>
                <a:gd name="T70" fmla="*/ 1 w 301"/>
                <a:gd name="T71" fmla="*/ 0 h 323"/>
                <a:gd name="T72" fmla="*/ 1 w 301"/>
                <a:gd name="T73" fmla="*/ 0 h 323"/>
                <a:gd name="T74" fmla="*/ 1 w 301"/>
                <a:gd name="T75" fmla="*/ 0 h 323"/>
                <a:gd name="T76" fmla="*/ 1 w 301"/>
                <a:gd name="T77" fmla="*/ 0 h 323"/>
                <a:gd name="T78" fmla="*/ 1 w 301"/>
                <a:gd name="T79" fmla="*/ 0 h 323"/>
                <a:gd name="T80" fmla="*/ 1 w 301"/>
                <a:gd name="T81" fmla="*/ 0 h 323"/>
                <a:gd name="T82" fmla="*/ 1 w 301"/>
                <a:gd name="T83" fmla="*/ 0 h 323"/>
                <a:gd name="T84" fmla="*/ 1 w 301"/>
                <a:gd name="T85" fmla="*/ 0 h 323"/>
                <a:gd name="T86" fmla="*/ 1 w 301"/>
                <a:gd name="T87" fmla="*/ 0 h 323"/>
                <a:gd name="T88" fmla="*/ 1 w 301"/>
                <a:gd name="T89" fmla="*/ 0 h 323"/>
                <a:gd name="T90" fmla="*/ 1 w 301"/>
                <a:gd name="T91" fmla="*/ 0 h 323"/>
                <a:gd name="T92" fmla="*/ 1 w 301"/>
                <a:gd name="T93" fmla="*/ 0 h 323"/>
                <a:gd name="T94" fmla="*/ 1 w 301"/>
                <a:gd name="T95" fmla="*/ 0 h 323"/>
                <a:gd name="T96" fmla="*/ 1 w 301"/>
                <a:gd name="T97" fmla="*/ 0 h 323"/>
                <a:gd name="T98" fmla="*/ 1 w 301"/>
                <a:gd name="T99" fmla="*/ 0 h 323"/>
                <a:gd name="T100" fmla="*/ 1 w 301"/>
                <a:gd name="T101" fmla="*/ 0 h 323"/>
                <a:gd name="T102" fmla="*/ 1 w 301"/>
                <a:gd name="T103" fmla="*/ 0 h 323"/>
                <a:gd name="T104" fmla="*/ 1 w 301"/>
                <a:gd name="T105" fmla="*/ 0 h 323"/>
                <a:gd name="T106" fmla="*/ 1 w 301"/>
                <a:gd name="T107" fmla="*/ 0 h 323"/>
                <a:gd name="T108" fmla="*/ 1 w 301"/>
                <a:gd name="T109" fmla="*/ 0 h 323"/>
                <a:gd name="T110" fmla="*/ 1 w 301"/>
                <a:gd name="T111" fmla="*/ 0 h 323"/>
                <a:gd name="T112" fmla="*/ 1 w 301"/>
                <a:gd name="T113" fmla="*/ 0 h 323"/>
                <a:gd name="T114" fmla="*/ 1 w 301"/>
                <a:gd name="T115" fmla="*/ 0 h 32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1"/>
                <a:gd name="T175" fmla="*/ 0 h 323"/>
                <a:gd name="T176" fmla="*/ 301 w 301"/>
                <a:gd name="T177" fmla="*/ 323 h 32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1" h="323">
                  <a:moveTo>
                    <a:pt x="78" y="286"/>
                  </a:moveTo>
                  <a:lnTo>
                    <a:pt x="78" y="269"/>
                  </a:lnTo>
                  <a:lnTo>
                    <a:pt x="59" y="269"/>
                  </a:lnTo>
                  <a:lnTo>
                    <a:pt x="40" y="269"/>
                  </a:lnTo>
                  <a:lnTo>
                    <a:pt x="19" y="250"/>
                  </a:lnTo>
                  <a:lnTo>
                    <a:pt x="19" y="233"/>
                  </a:lnTo>
                  <a:lnTo>
                    <a:pt x="19" y="215"/>
                  </a:lnTo>
                  <a:lnTo>
                    <a:pt x="0" y="215"/>
                  </a:lnTo>
                  <a:lnTo>
                    <a:pt x="0" y="196"/>
                  </a:lnTo>
                  <a:lnTo>
                    <a:pt x="0" y="179"/>
                  </a:lnTo>
                  <a:lnTo>
                    <a:pt x="0" y="163"/>
                  </a:lnTo>
                  <a:lnTo>
                    <a:pt x="19" y="163"/>
                  </a:lnTo>
                  <a:lnTo>
                    <a:pt x="59" y="163"/>
                  </a:lnTo>
                  <a:lnTo>
                    <a:pt x="78" y="144"/>
                  </a:lnTo>
                  <a:lnTo>
                    <a:pt x="78" y="127"/>
                  </a:lnTo>
                  <a:lnTo>
                    <a:pt x="78" y="108"/>
                  </a:lnTo>
                  <a:lnTo>
                    <a:pt x="99" y="108"/>
                  </a:lnTo>
                  <a:lnTo>
                    <a:pt x="119" y="108"/>
                  </a:lnTo>
                  <a:lnTo>
                    <a:pt x="119" y="91"/>
                  </a:lnTo>
                  <a:lnTo>
                    <a:pt x="140" y="91"/>
                  </a:lnTo>
                  <a:lnTo>
                    <a:pt x="161" y="91"/>
                  </a:lnTo>
                  <a:lnTo>
                    <a:pt x="161" y="73"/>
                  </a:lnTo>
                  <a:lnTo>
                    <a:pt x="182" y="54"/>
                  </a:lnTo>
                  <a:lnTo>
                    <a:pt x="201" y="54"/>
                  </a:lnTo>
                  <a:lnTo>
                    <a:pt x="220" y="37"/>
                  </a:lnTo>
                  <a:lnTo>
                    <a:pt x="220" y="20"/>
                  </a:lnTo>
                  <a:lnTo>
                    <a:pt x="241" y="0"/>
                  </a:lnTo>
                  <a:lnTo>
                    <a:pt x="261" y="0"/>
                  </a:lnTo>
                  <a:lnTo>
                    <a:pt x="261" y="20"/>
                  </a:lnTo>
                  <a:lnTo>
                    <a:pt x="261" y="37"/>
                  </a:lnTo>
                  <a:lnTo>
                    <a:pt x="282" y="37"/>
                  </a:lnTo>
                  <a:lnTo>
                    <a:pt x="301" y="37"/>
                  </a:lnTo>
                  <a:lnTo>
                    <a:pt x="301" y="54"/>
                  </a:lnTo>
                  <a:lnTo>
                    <a:pt x="282" y="73"/>
                  </a:lnTo>
                  <a:lnTo>
                    <a:pt x="282" y="91"/>
                  </a:lnTo>
                  <a:lnTo>
                    <a:pt x="261" y="91"/>
                  </a:lnTo>
                  <a:lnTo>
                    <a:pt x="261" y="127"/>
                  </a:lnTo>
                  <a:lnTo>
                    <a:pt x="282" y="144"/>
                  </a:lnTo>
                  <a:lnTo>
                    <a:pt x="301" y="163"/>
                  </a:lnTo>
                  <a:lnTo>
                    <a:pt x="301" y="179"/>
                  </a:lnTo>
                  <a:lnTo>
                    <a:pt x="282" y="179"/>
                  </a:lnTo>
                  <a:lnTo>
                    <a:pt x="261" y="179"/>
                  </a:lnTo>
                  <a:lnTo>
                    <a:pt x="261" y="196"/>
                  </a:lnTo>
                  <a:lnTo>
                    <a:pt x="261" y="215"/>
                  </a:lnTo>
                  <a:lnTo>
                    <a:pt x="241" y="233"/>
                  </a:lnTo>
                  <a:lnTo>
                    <a:pt x="220" y="250"/>
                  </a:lnTo>
                  <a:lnTo>
                    <a:pt x="220" y="269"/>
                  </a:lnTo>
                  <a:lnTo>
                    <a:pt x="220" y="286"/>
                  </a:lnTo>
                  <a:lnTo>
                    <a:pt x="220" y="306"/>
                  </a:lnTo>
                  <a:lnTo>
                    <a:pt x="201" y="323"/>
                  </a:lnTo>
                  <a:lnTo>
                    <a:pt x="182" y="323"/>
                  </a:lnTo>
                  <a:lnTo>
                    <a:pt x="161" y="306"/>
                  </a:lnTo>
                  <a:lnTo>
                    <a:pt x="161" y="286"/>
                  </a:lnTo>
                  <a:lnTo>
                    <a:pt x="140" y="286"/>
                  </a:lnTo>
                  <a:lnTo>
                    <a:pt x="119" y="286"/>
                  </a:lnTo>
                  <a:lnTo>
                    <a:pt x="99" y="286"/>
                  </a:lnTo>
                  <a:lnTo>
                    <a:pt x="78" y="306"/>
                  </a:lnTo>
                  <a:lnTo>
                    <a:pt x="78" y="286"/>
                  </a:lnTo>
                  <a:close/>
                </a:path>
              </a:pathLst>
            </a:custGeom>
            <a:solidFill>
              <a:srgbClr val="C0C0C0"/>
            </a:solidFill>
            <a:ln w="9525">
              <a:solidFill>
                <a:srgbClr val="C0C0C0"/>
              </a:solidFill>
              <a:round/>
              <a:headEnd/>
              <a:tailEnd/>
            </a:ln>
          </p:spPr>
          <p:txBody>
            <a:bodyPr/>
            <a:lstStyle/>
            <a:p>
              <a:endParaRPr lang="en-US"/>
            </a:p>
          </p:txBody>
        </p:sp>
        <p:sp>
          <p:nvSpPr>
            <p:cNvPr id="9330" name="Freeform 21"/>
            <p:cNvSpPr>
              <a:spLocks/>
            </p:cNvSpPr>
            <p:nvPr/>
          </p:nvSpPr>
          <p:spPr bwMode="auto">
            <a:xfrm>
              <a:off x="4557" y="2807"/>
              <a:ext cx="151" cy="45"/>
            </a:xfrm>
            <a:custGeom>
              <a:avLst/>
              <a:gdLst>
                <a:gd name="T0" fmla="*/ 1 w 301"/>
                <a:gd name="T1" fmla="*/ 1 h 90"/>
                <a:gd name="T2" fmla="*/ 1 w 301"/>
                <a:gd name="T3" fmla="*/ 1 h 90"/>
                <a:gd name="T4" fmla="*/ 1 w 301"/>
                <a:gd name="T5" fmla="*/ 1 h 90"/>
                <a:gd name="T6" fmla="*/ 1 w 301"/>
                <a:gd name="T7" fmla="*/ 1 h 90"/>
                <a:gd name="T8" fmla="*/ 1 w 301"/>
                <a:gd name="T9" fmla="*/ 1 h 90"/>
                <a:gd name="T10" fmla="*/ 1 w 301"/>
                <a:gd name="T11" fmla="*/ 1 h 90"/>
                <a:gd name="T12" fmla="*/ 1 w 301"/>
                <a:gd name="T13" fmla="*/ 1 h 90"/>
                <a:gd name="T14" fmla="*/ 1 w 301"/>
                <a:gd name="T15" fmla="*/ 1 h 90"/>
                <a:gd name="T16" fmla="*/ 1 w 301"/>
                <a:gd name="T17" fmla="*/ 1 h 90"/>
                <a:gd name="T18" fmla="*/ 1 w 301"/>
                <a:gd name="T19" fmla="*/ 1 h 90"/>
                <a:gd name="T20" fmla="*/ 1 w 301"/>
                <a:gd name="T21" fmla="*/ 1 h 90"/>
                <a:gd name="T22" fmla="*/ 1 w 301"/>
                <a:gd name="T23" fmla="*/ 1 h 90"/>
                <a:gd name="T24" fmla="*/ 1 w 301"/>
                <a:gd name="T25" fmla="*/ 1 h 90"/>
                <a:gd name="T26" fmla="*/ 0 w 301"/>
                <a:gd name="T27" fmla="*/ 1 h 90"/>
                <a:gd name="T28" fmla="*/ 0 w 301"/>
                <a:gd name="T29" fmla="*/ 1 h 90"/>
                <a:gd name="T30" fmla="*/ 1 w 301"/>
                <a:gd name="T31" fmla="*/ 0 h 90"/>
                <a:gd name="T32" fmla="*/ 1 w 301"/>
                <a:gd name="T33" fmla="*/ 1 h 90"/>
                <a:gd name="T34" fmla="*/ 1 w 301"/>
                <a:gd name="T35" fmla="*/ 1 h 90"/>
                <a:gd name="T36" fmla="*/ 1 w 301"/>
                <a:gd name="T37" fmla="*/ 0 h 90"/>
                <a:gd name="T38" fmla="*/ 1 w 301"/>
                <a:gd name="T39" fmla="*/ 1 h 90"/>
                <a:gd name="T40" fmla="*/ 1 w 301"/>
                <a:gd name="T41" fmla="*/ 1 h 90"/>
                <a:gd name="T42" fmla="*/ 1 w 301"/>
                <a:gd name="T43" fmla="*/ 1 h 90"/>
                <a:gd name="T44" fmla="*/ 1 w 301"/>
                <a:gd name="T45" fmla="*/ 1 h 90"/>
                <a:gd name="T46" fmla="*/ 1 w 301"/>
                <a:gd name="T47" fmla="*/ 1 h 90"/>
                <a:gd name="T48" fmla="*/ 1 w 301"/>
                <a:gd name="T49" fmla="*/ 1 h 90"/>
                <a:gd name="T50" fmla="*/ 1 w 301"/>
                <a:gd name="T51" fmla="*/ 1 h 90"/>
                <a:gd name="T52" fmla="*/ 1 w 301"/>
                <a:gd name="T53" fmla="*/ 1 h 90"/>
                <a:gd name="T54" fmla="*/ 1 w 301"/>
                <a:gd name="T55" fmla="*/ 1 h 90"/>
                <a:gd name="T56" fmla="*/ 1 w 301"/>
                <a:gd name="T57" fmla="*/ 1 h 90"/>
                <a:gd name="T58" fmla="*/ 1 w 301"/>
                <a:gd name="T59" fmla="*/ 1 h 90"/>
                <a:gd name="T60" fmla="*/ 1 w 301"/>
                <a:gd name="T61" fmla="*/ 1 h 90"/>
                <a:gd name="T62" fmla="*/ 1 w 301"/>
                <a:gd name="T63" fmla="*/ 1 h 90"/>
                <a:gd name="T64" fmla="*/ 1 w 301"/>
                <a:gd name="T65" fmla="*/ 1 h 90"/>
                <a:gd name="T66" fmla="*/ 1 w 301"/>
                <a:gd name="T67" fmla="*/ 1 h 90"/>
                <a:gd name="T68" fmla="*/ 1 w 301"/>
                <a:gd name="T69" fmla="*/ 1 h 90"/>
                <a:gd name="T70" fmla="*/ 1 w 301"/>
                <a:gd name="T71" fmla="*/ 1 h 90"/>
                <a:gd name="T72" fmla="*/ 1 w 301"/>
                <a:gd name="T73" fmla="*/ 1 h 90"/>
                <a:gd name="T74" fmla="*/ 1 w 301"/>
                <a:gd name="T75" fmla="*/ 1 h 90"/>
                <a:gd name="T76" fmla="*/ 1 w 301"/>
                <a:gd name="T77" fmla="*/ 1 h 9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01"/>
                <a:gd name="T118" fmla="*/ 0 h 90"/>
                <a:gd name="T119" fmla="*/ 301 w 301"/>
                <a:gd name="T120" fmla="*/ 90 h 9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01" h="90">
                  <a:moveTo>
                    <a:pt x="301" y="90"/>
                  </a:moveTo>
                  <a:lnTo>
                    <a:pt x="282" y="90"/>
                  </a:lnTo>
                  <a:lnTo>
                    <a:pt x="261" y="90"/>
                  </a:lnTo>
                  <a:lnTo>
                    <a:pt x="240" y="90"/>
                  </a:lnTo>
                  <a:lnTo>
                    <a:pt x="178" y="71"/>
                  </a:lnTo>
                  <a:lnTo>
                    <a:pt x="159" y="71"/>
                  </a:lnTo>
                  <a:lnTo>
                    <a:pt x="140" y="71"/>
                  </a:lnTo>
                  <a:lnTo>
                    <a:pt x="119" y="71"/>
                  </a:lnTo>
                  <a:lnTo>
                    <a:pt x="119" y="54"/>
                  </a:lnTo>
                  <a:lnTo>
                    <a:pt x="79" y="54"/>
                  </a:lnTo>
                  <a:lnTo>
                    <a:pt x="59" y="54"/>
                  </a:lnTo>
                  <a:lnTo>
                    <a:pt x="40" y="54"/>
                  </a:lnTo>
                  <a:lnTo>
                    <a:pt x="19" y="35"/>
                  </a:lnTo>
                  <a:lnTo>
                    <a:pt x="0" y="35"/>
                  </a:lnTo>
                  <a:lnTo>
                    <a:pt x="0" y="18"/>
                  </a:lnTo>
                  <a:lnTo>
                    <a:pt x="19" y="0"/>
                  </a:lnTo>
                  <a:lnTo>
                    <a:pt x="19" y="18"/>
                  </a:lnTo>
                  <a:lnTo>
                    <a:pt x="40" y="18"/>
                  </a:lnTo>
                  <a:lnTo>
                    <a:pt x="40" y="0"/>
                  </a:lnTo>
                  <a:lnTo>
                    <a:pt x="59" y="18"/>
                  </a:lnTo>
                  <a:lnTo>
                    <a:pt x="100" y="35"/>
                  </a:lnTo>
                  <a:lnTo>
                    <a:pt x="119" y="35"/>
                  </a:lnTo>
                  <a:lnTo>
                    <a:pt x="140" y="35"/>
                  </a:lnTo>
                  <a:lnTo>
                    <a:pt x="159" y="18"/>
                  </a:lnTo>
                  <a:lnTo>
                    <a:pt x="178" y="35"/>
                  </a:lnTo>
                  <a:lnTo>
                    <a:pt x="199" y="35"/>
                  </a:lnTo>
                  <a:lnTo>
                    <a:pt x="219" y="35"/>
                  </a:lnTo>
                  <a:lnTo>
                    <a:pt x="240" y="35"/>
                  </a:lnTo>
                  <a:lnTo>
                    <a:pt x="261" y="35"/>
                  </a:lnTo>
                  <a:lnTo>
                    <a:pt x="240" y="35"/>
                  </a:lnTo>
                  <a:lnTo>
                    <a:pt x="219" y="35"/>
                  </a:lnTo>
                  <a:lnTo>
                    <a:pt x="199" y="35"/>
                  </a:lnTo>
                  <a:lnTo>
                    <a:pt x="219" y="54"/>
                  </a:lnTo>
                  <a:lnTo>
                    <a:pt x="240" y="54"/>
                  </a:lnTo>
                  <a:lnTo>
                    <a:pt x="261" y="54"/>
                  </a:lnTo>
                  <a:lnTo>
                    <a:pt x="261" y="71"/>
                  </a:lnTo>
                  <a:lnTo>
                    <a:pt x="282" y="71"/>
                  </a:lnTo>
                  <a:lnTo>
                    <a:pt x="301" y="71"/>
                  </a:lnTo>
                  <a:lnTo>
                    <a:pt x="301" y="90"/>
                  </a:lnTo>
                  <a:close/>
                </a:path>
              </a:pathLst>
            </a:custGeom>
            <a:solidFill>
              <a:srgbClr val="C0C0C0"/>
            </a:solidFill>
            <a:ln w="9525">
              <a:solidFill>
                <a:srgbClr val="C0C0C0"/>
              </a:solidFill>
              <a:round/>
              <a:headEnd/>
              <a:tailEnd/>
            </a:ln>
          </p:spPr>
          <p:txBody>
            <a:bodyPr/>
            <a:lstStyle/>
            <a:p>
              <a:endParaRPr lang="en-US"/>
            </a:p>
          </p:txBody>
        </p:sp>
        <p:sp>
          <p:nvSpPr>
            <p:cNvPr id="9331" name="Freeform 22"/>
            <p:cNvSpPr>
              <a:spLocks/>
            </p:cNvSpPr>
            <p:nvPr/>
          </p:nvSpPr>
          <p:spPr bwMode="auto">
            <a:xfrm>
              <a:off x="4778" y="2842"/>
              <a:ext cx="40" cy="10"/>
            </a:xfrm>
            <a:custGeom>
              <a:avLst/>
              <a:gdLst>
                <a:gd name="T0" fmla="*/ 0 w 81"/>
                <a:gd name="T1" fmla="*/ 1 h 19"/>
                <a:gd name="T2" fmla="*/ 0 w 81"/>
                <a:gd name="T3" fmla="*/ 1 h 19"/>
                <a:gd name="T4" fmla="*/ 0 w 81"/>
                <a:gd name="T5" fmla="*/ 1 h 19"/>
                <a:gd name="T6" fmla="*/ 0 w 81"/>
                <a:gd name="T7" fmla="*/ 1 h 19"/>
                <a:gd name="T8" fmla="*/ 0 w 81"/>
                <a:gd name="T9" fmla="*/ 0 h 19"/>
                <a:gd name="T10" fmla="*/ 0 w 81"/>
                <a:gd name="T11" fmla="*/ 0 h 19"/>
                <a:gd name="T12" fmla="*/ 0 w 81"/>
                <a:gd name="T13" fmla="*/ 1 h 19"/>
                <a:gd name="T14" fmla="*/ 0 w 81"/>
                <a:gd name="T15" fmla="*/ 1 h 19"/>
                <a:gd name="T16" fmla="*/ 0 w 81"/>
                <a:gd name="T17" fmla="*/ 1 h 19"/>
                <a:gd name="T18" fmla="*/ 0 w 81"/>
                <a:gd name="T19" fmla="*/ 0 h 19"/>
                <a:gd name="T20" fmla="*/ 0 w 81"/>
                <a:gd name="T21" fmla="*/ 1 h 19"/>
                <a:gd name="T22" fmla="*/ 0 w 81"/>
                <a:gd name="T23" fmla="*/ 1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1"/>
                <a:gd name="T37" fmla="*/ 0 h 19"/>
                <a:gd name="T38" fmla="*/ 81 w 81"/>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1" h="19">
                  <a:moveTo>
                    <a:pt x="60" y="19"/>
                  </a:moveTo>
                  <a:lnTo>
                    <a:pt x="41" y="19"/>
                  </a:lnTo>
                  <a:lnTo>
                    <a:pt x="20" y="19"/>
                  </a:lnTo>
                  <a:lnTo>
                    <a:pt x="0" y="19"/>
                  </a:lnTo>
                  <a:lnTo>
                    <a:pt x="0" y="0"/>
                  </a:lnTo>
                  <a:lnTo>
                    <a:pt x="20" y="0"/>
                  </a:lnTo>
                  <a:lnTo>
                    <a:pt x="41" y="19"/>
                  </a:lnTo>
                  <a:lnTo>
                    <a:pt x="60" y="19"/>
                  </a:lnTo>
                  <a:lnTo>
                    <a:pt x="81" y="19"/>
                  </a:lnTo>
                  <a:lnTo>
                    <a:pt x="81" y="0"/>
                  </a:lnTo>
                  <a:lnTo>
                    <a:pt x="81" y="19"/>
                  </a:lnTo>
                  <a:lnTo>
                    <a:pt x="60" y="19"/>
                  </a:lnTo>
                  <a:close/>
                </a:path>
              </a:pathLst>
            </a:custGeom>
            <a:solidFill>
              <a:srgbClr val="C0C0C0"/>
            </a:solidFill>
            <a:ln w="9525">
              <a:solidFill>
                <a:srgbClr val="C0C0C0"/>
              </a:solidFill>
              <a:round/>
              <a:headEnd/>
              <a:tailEnd/>
            </a:ln>
          </p:spPr>
          <p:txBody>
            <a:bodyPr/>
            <a:lstStyle/>
            <a:p>
              <a:endParaRPr lang="en-US"/>
            </a:p>
          </p:txBody>
        </p:sp>
        <p:sp>
          <p:nvSpPr>
            <p:cNvPr id="9332" name="Freeform 23"/>
            <p:cNvSpPr>
              <a:spLocks/>
            </p:cNvSpPr>
            <p:nvPr/>
          </p:nvSpPr>
          <p:spPr bwMode="auto">
            <a:xfrm>
              <a:off x="4728" y="2842"/>
              <a:ext cx="30" cy="10"/>
            </a:xfrm>
            <a:custGeom>
              <a:avLst/>
              <a:gdLst>
                <a:gd name="T0" fmla="*/ 1 w 60"/>
                <a:gd name="T1" fmla="*/ 1 h 19"/>
                <a:gd name="T2" fmla="*/ 1 w 60"/>
                <a:gd name="T3" fmla="*/ 1 h 19"/>
                <a:gd name="T4" fmla="*/ 1 w 60"/>
                <a:gd name="T5" fmla="*/ 1 h 19"/>
                <a:gd name="T6" fmla="*/ 0 w 60"/>
                <a:gd name="T7" fmla="*/ 1 h 19"/>
                <a:gd name="T8" fmla="*/ 1 w 60"/>
                <a:gd name="T9" fmla="*/ 1 h 19"/>
                <a:gd name="T10" fmla="*/ 1 w 60"/>
                <a:gd name="T11" fmla="*/ 1 h 19"/>
                <a:gd name="T12" fmla="*/ 1 w 60"/>
                <a:gd name="T13" fmla="*/ 0 h 19"/>
                <a:gd name="T14" fmla="*/ 1 w 60"/>
                <a:gd name="T15" fmla="*/ 0 h 19"/>
                <a:gd name="T16" fmla="*/ 1 w 60"/>
                <a:gd name="T17" fmla="*/ 1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19"/>
                <a:gd name="T29" fmla="*/ 60 w 60"/>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19">
                  <a:moveTo>
                    <a:pt x="60" y="19"/>
                  </a:moveTo>
                  <a:lnTo>
                    <a:pt x="41" y="19"/>
                  </a:lnTo>
                  <a:lnTo>
                    <a:pt x="20" y="19"/>
                  </a:lnTo>
                  <a:lnTo>
                    <a:pt x="0" y="19"/>
                  </a:lnTo>
                  <a:lnTo>
                    <a:pt x="20" y="19"/>
                  </a:lnTo>
                  <a:lnTo>
                    <a:pt x="41" y="19"/>
                  </a:lnTo>
                  <a:lnTo>
                    <a:pt x="41" y="0"/>
                  </a:lnTo>
                  <a:lnTo>
                    <a:pt x="60" y="0"/>
                  </a:lnTo>
                  <a:lnTo>
                    <a:pt x="60" y="19"/>
                  </a:lnTo>
                  <a:close/>
                </a:path>
              </a:pathLst>
            </a:custGeom>
            <a:solidFill>
              <a:srgbClr val="C0C0C0"/>
            </a:solidFill>
            <a:ln w="9525">
              <a:solidFill>
                <a:srgbClr val="C0C0C0"/>
              </a:solidFill>
              <a:round/>
              <a:headEnd/>
              <a:tailEnd/>
            </a:ln>
          </p:spPr>
          <p:txBody>
            <a:bodyPr/>
            <a:lstStyle/>
            <a:p>
              <a:endParaRPr lang="en-US"/>
            </a:p>
          </p:txBody>
        </p:sp>
        <p:sp>
          <p:nvSpPr>
            <p:cNvPr id="9333" name="Freeform 24"/>
            <p:cNvSpPr>
              <a:spLocks/>
            </p:cNvSpPr>
            <p:nvPr/>
          </p:nvSpPr>
          <p:spPr bwMode="auto">
            <a:xfrm>
              <a:off x="4758" y="2852"/>
              <a:ext cx="30" cy="17"/>
            </a:xfrm>
            <a:custGeom>
              <a:avLst/>
              <a:gdLst>
                <a:gd name="T0" fmla="*/ 1 w 60"/>
                <a:gd name="T1" fmla="*/ 0 h 35"/>
                <a:gd name="T2" fmla="*/ 1 w 60"/>
                <a:gd name="T3" fmla="*/ 0 h 35"/>
                <a:gd name="T4" fmla="*/ 1 w 60"/>
                <a:gd name="T5" fmla="*/ 0 h 35"/>
                <a:gd name="T6" fmla="*/ 1 w 60"/>
                <a:gd name="T7" fmla="*/ 0 h 35"/>
                <a:gd name="T8" fmla="*/ 0 w 60"/>
                <a:gd name="T9" fmla="*/ 0 h 35"/>
                <a:gd name="T10" fmla="*/ 1 w 60"/>
                <a:gd name="T11" fmla="*/ 0 h 35"/>
                <a:gd name="T12" fmla="*/ 1 w 60"/>
                <a:gd name="T13" fmla="*/ 0 h 35"/>
                <a:gd name="T14" fmla="*/ 1 w 60"/>
                <a:gd name="T15" fmla="*/ 0 h 35"/>
                <a:gd name="T16" fmla="*/ 1 w 60"/>
                <a:gd name="T17" fmla="*/ 0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35"/>
                <a:gd name="T29" fmla="*/ 60 w 60"/>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35">
                  <a:moveTo>
                    <a:pt x="60" y="35"/>
                  </a:moveTo>
                  <a:lnTo>
                    <a:pt x="40" y="35"/>
                  </a:lnTo>
                  <a:lnTo>
                    <a:pt x="21" y="35"/>
                  </a:lnTo>
                  <a:lnTo>
                    <a:pt x="21" y="18"/>
                  </a:lnTo>
                  <a:lnTo>
                    <a:pt x="0" y="18"/>
                  </a:lnTo>
                  <a:lnTo>
                    <a:pt x="21" y="0"/>
                  </a:lnTo>
                  <a:lnTo>
                    <a:pt x="40" y="0"/>
                  </a:lnTo>
                  <a:lnTo>
                    <a:pt x="60" y="18"/>
                  </a:lnTo>
                  <a:lnTo>
                    <a:pt x="60" y="35"/>
                  </a:lnTo>
                  <a:close/>
                </a:path>
              </a:pathLst>
            </a:custGeom>
            <a:solidFill>
              <a:srgbClr val="C0C0C0"/>
            </a:solidFill>
            <a:ln w="9525">
              <a:solidFill>
                <a:srgbClr val="C0C0C0"/>
              </a:solidFill>
              <a:round/>
              <a:headEnd/>
              <a:tailEnd/>
            </a:ln>
          </p:spPr>
          <p:txBody>
            <a:bodyPr/>
            <a:lstStyle/>
            <a:p>
              <a:endParaRPr lang="en-US"/>
            </a:p>
          </p:txBody>
        </p:sp>
        <p:sp>
          <p:nvSpPr>
            <p:cNvPr id="9334" name="Freeform 25"/>
            <p:cNvSpPr>
              <a:spLocks/>
            </p:cNvSpPr>
            <p:nvPr/>
          </p:nvSpPr>
          <p:spPr bwMode="auto">
            <a:xfrm>
              <a:off x="4718" y="2842"/>
              <a:ext cx="0" cy="10"/>
            </a:xfrm>
            <a:custGeom>
              <a:avLst/>
              <a:gdLst>
                <a:gd name="T0" fmla="*/ 0 h 19"/>
                <a:gd name="T1" fmla="*/ 1 h 19"/>
                <a:gd name="T2" fmla="*/ 0 h 19"/>
                <a:gd name="T3" fmla="*/ 0 60000 65536"/>
                <a:gd name="T4" fmla="*/ 0 60000 65536"/>
                <a:gd name="T5" fmla="*/ 0 60000 65536"/>
                <a:gd name="T6" fmla="*/ 0 h 19"/>
                <a:gd name="T7" fmla="*/ 19 h 19"/>
              </a:gdLst>
              <a:ahLst/>
              <a:cxnLst>
                <a:cxn ang="T3">
                  <a:pos x="0" y="T0"/>
                </a:cxn>
                <a:cxn ang="T4">
                  <a:pos x="0" y="T1"/>
                </a:cxn>
                <a:cxn ang="T5">
                  <a:pos x="0" y="T2"/>
                </a:cxn>
              </a:cxnLst>
              <a:rect l="0" t="T6" r="0" b="T7"/>
              <a:pathLst>
                <a:path h="19">
                  <a:moveTo>
                    <a:pt x="0" y="0"/>
                  </a:moveTo>
                  <a:lnTo>
                    <a:pt x="0" y="19"/>
                  </a:lnTo>
                  <a:lnTo>
                    <a:pt x="0" y="0"/>
                  </a:lnTo>
                  <a:close/>
                </a:path>
              </a:pathLst>
            </a:custGeom>
            <a:solidFill>
              <a:srgbClr val="C0C0C0"/>
            </a:solidFill>
            <a:ln w="9525">
              <a:solidFill>
                <a:srgbClr val="C0C0C0"/>
              </a:solidFill>
              <a:round/>
              <a:headEnd/>
              <a:tailEnd/>
            </a:ln>
          </p:spPr>
          <p:txBody>
            <a:bodyPr/>
            <a:lstStyle/>
            <a:p>
              <a:endParaRPr lang="en-US"/>
            </a:p>
          </p:txBody>
        </p:sp>
        <p:sp>
          <p:nvSpPr>
            <p:cNvPr id="9335" name="Freeform 26"/>
            <p:cNvSpPr>
              <a:spLocks/>
            </p:cNvSpPr>
            <p:nvPr/>
          </p:nvSpPr>
          <p:spPr bwMode="auto">
            <a:xfrm>
              <a:off x="4828" y="2852"/>
              <a:ext cx="61" cy="27"/>
            </a:xfrm>
            <a:custGeom>
              <a:avLst/>
              <a:gdLst>
                <a:gd name="T0" fmla="*/ 1 w 121"/>
                <a:gd name="T1" fmla="*/ 1 h 54"/>
                <a:gd name="T2" fmla="*/ 1 w 121"/>
                <a:gd name="T3" fmla="*/ 1 h 54"/>
                <a:gd name="T4" fmla="*/ 1 w 121"/>
                <a:gd name="T5" fmla="*/ 1 h 54"/>
                <a:gd name="T6" fmla="*/ 0 w 121"/>
                <a:gd name="T7" fmla="*/ 1 h 54"/>
                <a:gd name="T8" fmla="*/ 0 w 121"/>
                <a:gd name="T9" fmla="*/ 1 h 54"/>
                <a:gd name="T10" fmla="*/ 1 w 121"/>
                <a:gd name="T11" fmla="*/ 1 h 54"/>
                <a:gd name="T12" fmla="*/ 1 w 121"/>
                <a:gd name="T13" fmla="*/ 0 h 54"/>
                <a:gd name="T14" fmla="*/ 1 w 121"/>
                <a:gd name="T15" fmla="*/ 0 h 54"/>
                <a:gd name="T16" fmla="*/ 1 w 121"/>
                <a:gd name="T17" fmla="*/ 0 h 54"/>
                <a:gd name="T18" fmla="*/ 1 w 121"/>
                <a:gd name="T19" fmla="*/ 0 h 54"/>
                <a:gd name="T20" fmla="*/ 1 w 121"/>
                <a:gd name="T21" fmla="*/ 0 h 54"/>
                <a:gd name="T22" fmla="*/ 1 w 121"/>
                <a:gd name="T23" fmla="*/ 0 h 54"/>
                <a:gd name="T24" fmla="*/ 1 w 121"/>
                <a:gd name="T25" fmla="*/ 1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1"/>
                <a:gd name="T40" fmla="*/ 0 h 54"/>
                <a:gd name="T41" fmla="*/ 121 w 121"/>
                <a:gd name="T42" fmla="*/ 54 h 5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1" h="54">
                  <a:moveTo>
                    <a:pt x="40" y="18"/>
                  </a:moveTo>
                  <a:lnTo>
                    <a:pt x="40" y="35"/>
                  </a:lnTo>
                  <a:lnTo>
                    <a:pt x="19" y="54"/>
                  </a:lnTo>
                  <a:lnTo>
                    <a:pt x="0" y="54"/>
                  </a:lnTo>
                  <a:lnTo>
                    <a:pt x="0" y="35"/>
                  </a:lnTo>
                  <a:lnTo>
                    <a:pt x="19" y="18"/>
                  </a:lnTo>
                  <a:lnTo>
                    <a:pt x="40" y="0"/>
                  </a:lnTo>
                  <a:lnTo>
                    <a:pt x="60" y="0"/>
                  </a:lnTo>
                  <a:lnTo>
                    <a:pt x="100" y="0"/>
                  </a:lnTo>
                  <a:lnTo>
                    <a:pt x="121" y="0"/>
                  </a:lnTo>
                  <a:lnTo>
                    <a:pt x="100" y="0"/>
                  </a:lnTo>
                  <a:lnTo>
                    <a:pt x="81" y="0"/>
                  </a:lnTo>
                  <a:lnTo>
                    <a:pt x="40" y="18"/>
                  </a:lnTo>
                  <a:close/>
                </a:path>
              </a:pathLst>
            </a:custGeom>
            <a:solidFill>
              <a:srgbClr val="C0C0C0"/>
            </a:solidFill>
            <a:ln w="9525">
              <a:solidFill>
                <a:srgbClr val="C0C0C0"/>
              </a:solidFill>
              <a:round/>
              <a:headEnd/>
              <a:tailEnd/>
            </a:ln>
          </p:spPr>
          <p:txBody>
            <a:bodyPr/>
            <a:lstStyle/>
            <a:p>
              <a:endParaRPr lang="en-US"/>
            </a:p>
          </p:txBody>
        </p:sp>
        <p:sp>
          <p:nvSpPr>
            <p:cNvPr id="9336" name="Freeform 27"/>
            <p:cNvSpPr>
              <a:spLocks/>
            </p:cNvSpPr>
            <p:nvPr/>
          </p:nvSpPr>
          <p:spPr bwMode="auto">
            <a:xfrm>
              <a:off x="4989" y="2807"/>
              <a:ext cx="20" cy="17"/>
            </a:xfrm>
            <a:custGeom>
              <a:avLst/>
              <a:gdLst>
                <a:gd name="T0" fmla="*/ 1 w 40"/>
                <a:gd name="T1" fmla="*/ 0 h 35"/>
                <a:gd name="T2" fmla="*/ 1 w 40"/>
                <a:gd name="T3" fmla="*/ 0 h 35"/>
                <a:gd name="T4" fmla="*/ 1 w 40"/>
                <a:gd name="T5" fmla="*/ 0 h 35"/>
                <a:gd name="T6" fmla="*/ 1 w 40"/>
                <a:gd name="T7" fmla="*/ 0 h 35"/>
                <a:gd name="T8" fmla="*/ 0 w 40"/>
                <a:gd name="T9" fmla="*/ 0 h 35"/>
                <a:gd name="T10" fmla="*/ 1 w 40"/>
                <a:gd name="T11" fmla="*/ 0 h 35"/>
                <a:gd name="T12" fmla="*/ 1 w 40"/>
                <a:gd name="T13" fmla="*/ 0 h 35"/>
                <a:gd name="T14" fmla="*/ 1 w 40"/>
                <a:gd name="T15" fmla="*/ 0 h 35"/>
                <a:gd name="T16" fmla="*/ 1 w 40"/>
                <a:gd name="T17" fmla="*/ 0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35"/>
                <a:gd name="T29" fmla="*/ 40 w 40"/>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35">
                  <a:moveTo>
                    <a:pt x="40" y="0"/>
                  </a:moveTo>
                  <a:lnTo>
                    <a:pt x="40" y="18"/>
                  </a:lnTo>
                  <a:lnTo>
                    <a:pt x="19" y="18"/>
                  </a:lnTo>
                  <a:lnTo>
                    <a:pt x="19" y="35"/>
                  </a:lnTo>
                  <a:lnTo>
                    <a:pt x="0" y="35"/>
                  </a:lnTo>
                  <a:lnTo>
                    <a:pt x="19" y="35"/>
                  </a:lnTo>
                  <a:lnTo>
                    <a:pt x="19" y="18"/>
                  </a:lnTo>
                  <a:lnTo>
                    <a:pt x="19" y="0"/>
                  </a:lnTo>
                  <a:lnTo>
                    <a:pt x="40" y="0"/>
                  </a:lnTo>
                  <a:close/>
                </a:path>
              </a:pathLst>
            </a:custGeom>
            <a:solidFill>
              <a:srgbClr val="C0C0C0"/>
            </a:solidFill>
            <a:ln w="9525">
              <a:solidFill>
                <a:srgbClr val="C0C0C0"/>
              </a:solidFill>
              <a:round/>
              <a:headEnd/>
              <a:tailEnd/>
            </a:ln>
          </p:spPr>
          <p:txBody>
            <a:bodyPr/>
            <a:lstStyle/>
            <a:p>
              <a:endParaRPr lang="en-US"/>
            </a:p>
          </p:txBody>
        </p:sp>
        <p:sp>
          <p:nvSpPr>
            <p:cNvPr id="9337" name="Freeform 28"/>
            <p:cNvSpPr>
              <a:spLocks/>
            </p:cNvSpPr>
            <p:nvPr/>
          </p:nvSpPr>
          <p:spPr bwMode="auto">
            <a:xfrm>
              <a:off x="4868" y="2770"/>
              <a:ext cx="21" cy="10"/>
            </a:xfrm>
            <a:custGeom>
              <a:avLst/>
              <a:gdLst>
                <a:gd name="T0" fmla="*/ 1 w 40"/>
                <a:gd name="T1" fmla="*/ 0 h 20"/>
                <a:gd name="T2" fmla="*/ 1 w 40"/>
                <a:gd name="T3" fmla="*/ 1 h 20"/>
                <a:gd name="T4" fmla="*/ 1 w 40"/>
                <a:gd name="T5" fmla="*/ 1 h 20"/>
                <a:gd name="T6" fmla="*/ 0 w 40"/>
                <a:gd name="T7" fmla="*/ 0 h 20"/>
                <a:gd name="T8" fmla="*/ 1 w 40"/>
                <a:gd name="T9" fmla="*/ 0 h 20"/>
                <a:gd name="T10" fmla="*/ 1 w 40"/>
                <a:gd name="T11" fmla="*/ 0 h 20"/>
                <a:gd name="T12" fmla="*/ 0 60000 65536"/>
                <a:gd name="T13" fmla="*/ 0 60000 65536"/>
                <a:gd name="T14" fmla="*/ 0 60000 65536"/>
                <a:gd name="T15" fmla="*/ 0 60000 65536"/>
                <a:gd name="T16" fmla="*/ 0 60000 65536"/>
                <a:gd name="T17" fmla="*/ 0 60000 65536"/>
                <a:gd name="T18" fmla="*/ 0 w 40"/>
                <a:gd name="T19" fmla="*/ 0 h 20"/>
                <a:gd name="T20" fmla="*/ 40 w 40"/>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40" h="20">
                  <a:moveTo>
                    <a:pt x="40" y="0"/>
                  </a:moveTo>
                  <a:lnTo>
                    <a:pt x="40" y="20"/>
                  </a:lnTo>
                  <a:lnTo>
                    <a:pt x="19" y="20"/>
                  </a:lnTo>
                  <a:lnTo>
                    <a:pt x="0" y="0"/>
                  </a:lnTo>
                  <a:lnTo>
                    <a:pt x="19" y="0"/>
                  </a:lnTo>
                  <a:lnTo>
                    <a:pt x="40" y="0"/>
                  </a:lnTo>
                </a:path>
              </a:pathLst>
            </a:custGeom>
            <a:solidFill>
              <a:srgbClr val="C0C0C0"/>
            </a:solidFill>
            <a:ln w="9525">
              <a:solidFill>
                <a:srgbClr val="C0C0C0"/>
              </a:solidFill>
              <a:round/>
              <a:headEnd/>
              <a:tailEnd/>
            </a:ln>
          </p:spPr>
          <p:txBody>
            <a:bodyPr/>
            <a:lstStyle/>
            <a:p>
              <a:endParaRPr lang="en-US"/>
            </a:p>
          </p:txBody>
        </p:sp>
        <p:sp>
          <p:nvSpPr>
            <p:cNvPr id="9338" name="Freeform 29"/>
            <p:cNvSpPr>
              <a:spLocks/>
            </p:cNvSpPr>
            <p:nvPr/>
          </p:nvSpPr>
          <p:spPr bwMode="auto">
            <a:xfrm>
              <a:off x="4898" y="2762"/>
              <a:ext cx="51" cy="18"/>
            </a:xfrm>
            <a:custGeom>
              <a:avLst/>
              <a:gdLst>
                <a:gd name="T0" fmla="*/ 1 w 102"/>
                <a:gd name="T1" fmla="*/ 0 h 37"/>
                <a:gd name="T2" fmla="*/ 1 w 102"/>
                <a:gd name="T3" fmla="*/ 0 h 37"/>
                <a:gd name="T4" fmla="*/ 1 w 102"/>
                <a:gd name="T5" fmla="*/ 0 h 37"/>
                <a:gd name="T6" fmla="*/ 1 w 102"/>
                <a:gd name="T7" fmla="*/ 0 h 37"/>
                <a:gd name="T8" fmla="*/ 1 w 102"/>
                <a:gd name="T9" fmla="*/ 0 h 37"/>
                <a:gd name="T10" fmla="*/ 1 w 102"/>
                <a:gd name="T11" fmla="*/ 0 h 37"/>
                <a:gd name="T12" fmla="*/ 1 w 102"/>
                <a:gd name="T13" fmla="*/ 0 h 37"/>
                <a:gd name="T14" fmla="*/ 0 w 102"/>
                <a:gd name="T15" fmla="*/ 0 h 37"/>
                <a:gd name="T16" fmla="*/ 1 w 102"/>
                <a:gd name="T17" fmla="*/ 0 h 37"/>
                <a:gd name="T18" fmla="*/ 1 w 102"/>
                <a:gd name="T19" fmla="*/ 0 h 37"/>
                <a:gd name="T20" fmla="*/ 1 w 102"/>
                <a:gd name="T21" fmla="*/ 0 h 37"/>
                <a:gd name="T22" fmla="*/ 1 w 102"/>
                <a:gd name="T23" fmla="*/ 0 h 37"/>
                <a:gd name="T24" fmla="*/ 1 w 102"/>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2"/>
                <a:gd name="T40" fmla="*/ 0 h 37"/>
                <a:gd name="T41" fmla="*/ 102 w 102"/>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2" h="37">
                  <a:moveTo>
                    <a:pt x="83" y="17"/>
                  </a:moveTo>
                  <a:lnTo>
                    <a:pt x="102" y="17"/>
                  </a:lnTo>
                  <a:lnTo>
                    <a:pt x="102" y="37"/>
                  </a:lnTo>
                  <a:lnTo>
                    <a:pt x="83" y="37"/>
                  </a:lnTo>
                  <a:lnTo>
                    <a:pt x="62" y="37"/>
                  </a:lnTo>
                  <a:lnTo>
                    <a:pt x="41" y="17"/>
                  </a:lnTo>
                  <a:lnTo>
                    <a:pt x="19" y="17"/>
                  </a:lnTo>
                  <a:lnTo>
                    <a:pt x="0" y="17"/>
                  </a:lnTo>
                  <a:lnTo>
                    <a:pt x="19" y="0"/>
                  </a:lnTo>
                  <a:lnTo>
                    <a:pt x="41" y="0"/>
                  </a:lnTo>
                  <a:lnTo>
                    <a:pt x="62" y="0"/>
                  </a:lnTo>
                  <a:lnTo>
                    <a:pt x="62" y="17"/>
                  </a:lnTo>
                  <a:lnTo>
                    <a:pt x="83" y="17"/>
                  </a:lnTo>
                  <a:close/>
                </a:path>
              </a:pathLst>
            </a:custGeom>
            <a:solidFill>
              <a:srgbClr val="C0C0C0"/>
            </a:solidFill>
            <a:ln w="9525">
              <a:solidFill>
                <a:srgbClr val="C0C0C0"/>
              </a:solidFill>
              <a:round/>
              <a:headEnd/>
              <a:tailEnd/>
            </a:ln>
          </p:spPr>
          <p:txBody>
            <a:bodyPr/>
            <a:lstStyle/>
            <a:p>
              <a:endParaRPr lang="en-US"/>
            </a:p>
          </p:txBody>
        </p:sp>
        <p:sp>
          <p:nvSpPr>
            <p:cNvPr id="9339" name="Freeform 30"/>
            <p:cNvSpPr>
              <a:spLocks/>
            </p:cNvSpPr>
            <p:nvPr/>
          </p:nvSpPr>
          <p:spPr bwMode="auto">
            <a:xfrm>
              <a:off x="4929" y="2879"/>
              <a:ext cx="20" cy="16"/>
            </a:xfrm>
            <a:custGeom>
              <a:avLst/>
              <a:gdLst>
                <a:gd name="T0" fmla="*/ 1 w 40"/>
                <a:gd name="T1" fmla="*/ 0 h 33"/>
                <a:gd name="T2" fmla="*/ 1 w 40"/>
                <a:gd name="T3" fmla="*/ 0 h 33"/>
                <a:gd name="T4" fmla="*/ 1 w 40"/>
                <a:gd name="T5" fmla="*/ 0 h 33"/>
                <a:gd name="T6" fmla="*/ 1 w 40"/>
                <a:gd name="T7" fmla="*/ 0 h 33"/>
                <a:gd name="T8" fmla="*/ 1 w 40"/>
                <a:gd name="T9" fmla="*/ 0 h 33"/>
                <a:gd name="T10" fmla="*/ 0 w 40"/>
                <a:gd name="T11" fmla="*/ 0 h 33"/>
                <a:gd name="T12" fmla="*/ 1 w 40"/>
                <a:gd name="T13" fmla="*/ 0 h 33"/>
                <a:gd name="T14" fmla="*/ 1 w 40"/>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40"/>
                <a:gd name="T25" fmla="*/ 0 h 33"/>
                <a:gd name="T26" fmla="*/ 40 w 40"/>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 h="33">
                  <a:moveTo>
                    <a:pt x="40" y="0"/>
                  </a:moveTo>
                  <a:lnTo>
                    <a:pt x="40" y="17"/>
                  </a:lnTo>
                  <a:lnTo>
                    <a:pt x="40" y="33"/>
                  </a:lnTo>
                  <a:lnTo>
                    <a:pt x="40" y="17"/>
                  </a:lnTo>
                  <a:lnTo>
                    <a:pt x="21" y="17"/>
                  </a:lnTo>
                  <a:lnTo>
                    <a:pt x="0" y="17"/>
                  </a:lnTo>
                  <a:lnTo>
                    <a:pt x="21" y="17"/>
                  </a:lnTo>
                  <a:lnTo>
                    <a:pt x="40" y="0"/>
                  </a:lnTo>
                  <a:close/>
                </a:path>
              </a:pathLst>
            </a:custGeom>
            <a:solidFill>
              <a:srgbClr val="C0C0C0"/>
            </a:solidFill>
            <a:ln w="9525">
              <a:solidFill>
                <a:srgbClr val="C0C0C0"/>
              </a:solidFill>
              <a:round/>
              <a:headEnd/>
              <a:tailEnd/>
            </a:ln>
          </p:spPr>
          <p:txBody>
            <a:bodyPr/>
            <a:lstStyle/>
            <a:p>
              <a:endParaRPr lang="en-US"/>
            </a:p>
          </p:txBody>
        </p:sp>
        <p:sp>
          <p:nvSpPr>
            <p:cNvPr id="9340" name="Freeform 31"/>
            <p:cNvSpPr>
              <a:spLocks/>
            </p:cNvSpPr>
            <p:nvPr/>
          </p:nvSpPr>
          <p:spPr bwMode="auto">
            <a:xfrm>
              <a:off x="4597" y="2449"/>
              <a:ext cx="40" cy="27"/>
            </a:xfrm>
            <a:custGeom>
              <a:avLst/>
              <a:gdLst>
                <a:gd name="T0" fmla="*/ 0 w 80"/>
                <a:gd name="T1" fmla="*/ 1 h 54"/>
                <a:gd name="T2" fmla="*/ 1 w 80"/>
                <a:gd name="T3" fmla="*/ 1 h 54"/>
                <a:gd name="T4" fmla="*/ 1 w 80"/>
                <a:gd name="T5" fmla="*/ 1 h 54"/>
                <a:gd name="T6" fmla="*/ 1 w 80"/>
                <a:gd name="T7" fmla="*/ 0 h 54"/>
                <a:gd name="T8" fmla="*/ 1 w 80"/>
                <a:gd name="T9" fmla="*/ 1 h 54"/>
                <a:gd name="T10" fmla="*/ 1 w 80"/>
                <a:gd name="T11" fmla="*/ 1 h 54"/>
                <a:gd name="T12" fmla="*/ 1 w 80"/>
                <a:gd name="T13" fmla="*/ 1 h 54"/>
                <a:gd name="T14" fmla="*/ 1 w 80"/>
                <a:gd name="T15" fmla="*/ 1 h 54"/>
                <a:gd name="T16" fmla="*/ 0 w 80"/>
                <a:gd name="T17" fmla="*/ 1 h 54"/>
                <a:gd name="T18" fmla="*/ 0 w 80"/>
                <a:gd name="T19" fmla="*/ 1 h 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0"/>
                <a:gd name="T31" fmla="*/ 0 h 54"/>
                <a:gd name="T32" fmla="*/ 80 w 80"/>
                <a:gd name="T33" fmla="*/ 54 h 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0" h="54">
                  <a:moveTo>
                    <a:pt x="0" y="37"/>
                  </a:moveTo>
                  <a:lnTo>
                    <a:pt x="21" y="18"/>
                  </a:lnTo>
                  <a:lnTo>
                    <a:pt x="40" y="18"/>
                  </a:lnTo>
                  <a:lnTo>
                    <a:pt x="61" y="0"/>
                  </a:lnTo>
                  <a:lnTo>
                    <a:pt x="80" y="18"/>
                  </a:lnTo>
                  <a:lnTo>
                    <a:pt x="61" y="37"/>
                  </a:lnTo>
                  <a:lnTo>
                    <a:pt x="40" y="54"/>
                  </a:lnTo>
                  <a:lnTo>
                    <a:pt x="21" y="54"/>
                  </a:lnTo>
                  <a:lnTo>
                    <a:pt x="0" y="54"/>
                  </a:lnTo>
                  <a:lnTo>
                    <a:pt x="0" y="37"/>
                  </a:lnTo>
                  <a:close/>
                </a:path>
              </a:pathLst>
            </a:custGeom>
            <a:solidFill>
              <a:srgbClr val="C0C0C0"/>
            </a:solidFill>
            <a:ln w="9525">
              <a:solidFill>
                <a:srgbClr val="C0C0C0"/>
              </a:solidFill>
              <a:round/>
              <a:headEnd/>
              <a:tailEnd/>
            </a:ln>
          </p:spPr>
          <p:txBody>
            <a:bodyPr/>
            <a:lstStyle/>
            <a:p>
              <a:endParaRPr lang="en-US"/>
            </a:p>
          </p:txBody>
        </p:sp>
        <p:sp>
          <p:nvSpPr>
            <p:cNvPr id="9341" name="Freeform 32"/>
            <p:cNvSpPr>
              <a:spLocks/>
            </p:cNvSpPr>
            <p:nvPr/>
          </p:nvSpPr>
          <p:spPr bwMode="auto">
            <a:xfrm>
              <a:off x="4547" y="2743"/>
              <a:ext cx="31" cy="19"/>
            </a:xfrm>
            <a:custGeom>
              <a:avLst/>
              <a:gdLst>
                <a:gd name="T0" fmla="*/ 1 w 61"/>
                <a:gd name="T1" fmla="*/ 1 h 36"/>
                <a:gd name="T2" fmla="*/ 0 w 61"/>
                <a:gd name="T3" fmla="*/ 1 h 36"/>
                <a:gd name="T4" fmla="*/ 1 w 61"/>
                <a:gd name="T5" fmla="*/ 1 h 36"/>
                <a:gd name="T6" fmla="*/ 1 w 61"/>
                <a:gd name="T7" fmla="*/ 0 h 36"/>
                <a:gd name="T8" fmla="*/ 1 w 61"/>
                <a:gd name="T9" fmla="*/ 1 h 36"/>
                <a:gd name="T10" fmla="*/ 1 w 61"/>
                <a:gd name="T11" fmla="*/ 1 h 36"/>
                <a:gd name="T12" fmla="*/ 1 w 61"/>
                <a:gd name="T13" fmla="*/ 1 h 36"/>
                <a:gd name="T14" fmla="*/ 1 w 61"/>
                <a:gd name="T15" fmla="*/ 1 h 36"/>
                <a:gd name="T16" fmla="*/ 1 w 61"/>
                <a:gd name="T17" fmla="*/ 1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36"/>
                <a:gd name="T29" fmla="*/ 61 w 61"/>
                <a:gd name="T30" fmla="*/ 36 h 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36">
                  <a:moveTo>
                    <a:pt x="21" y="36"/>
                  </a:moveTo>
                  <a:lnTo>
                    <a:pt x="0" y="17"/>
                  </a:lnTo>
                  <a:lnTo>
                    <a:pt x="21" y="17"/>
                  </a:lnTo>
                  <a:lnTo>
                    <a:pt x="21" y="0"/>
                  </a:lnTo>
                  <a:lnTo>
                    <a:pt x="21" y="17"/>
                  </a:lnTo>
                  <a:lnTo>
                    <a:pt x="40" y="36"/>
                  </a:lnTo>
                  <a:lnTo>
                    <a:pt x="61" y="36"/>
                  </a:lnTo>
                  <a:lnTo>
                    <a:pt x="40" y="36"/>
                  </a:lnTo>
                  <a:lnTo>
                    <a:pt x="21" y="36"/>
                  </a:lnTo>
                  <a:close/>
                </a:path>
              </a:pathLst>
            </a:custGeom>
            <a:solidFill>
              <a:srgbClr val="C0C0C0"/>
            </a:solidFill>
            <a:ln w="9525">
              <a:solidFill>
                <a:srgbClr val="C0C0C0"/>
              </a:solidFill>
              <a:round/>
              <a:headEnd/>
              <a:tailEnd/>
            </a:ln>
          </p:spPr>
          <p:txBody>
            <a:bodyPr/>
            <a:lstStyle/>
            <a:p>
              <a:endParaRPr lang="en-US"/>
            </a:p>
          </p:txBody>
        </p:sp>
        <p:sp>
          <p:nvSpPr>
            <p:cNvPr id="9342" name="Freeform 33"/>
            <p:cNvSpPr>
              <a:spLocks/>
            </p:cNvSpPr>
            <p:nvPr/>
          </p:nvSpPr>
          <p:spPr bwMode="auto">
            <a:xfrm>
              <a:off x="4587" y="2762"/>
              <a:ext cx="10" cy="8"/>
            </a:xfrm>
            <a:custGeom>
              <a:avLst/>
              <a:gdLst>
                <a:gd name="T0" fmla="*/ 0 w 20"/>
                <a:gd name="T1" fmla="*/ 0 h 17"/>
                <a:gd name="T2" fmla="*/ 1 w 20"/>
                <a:gd name="T3" fmla="*/ 0 h 17"/>
                <a:gd name="T4" fmla="*/ 0 w 20"/>
                <a:gd name="T5" fmla="*/ 0 h 17"/>
                <a:gd name="T6" fmla="*/ 0 w 20"/>
                <a:gd name="T7" fmla="*/ 0 h 17"/>
                <a:gd name="T8" fmla="*/ 0 60000 65536"/>
                <a:gd name="T9" fmla="*/ 0 60000 65536"/>
                <a:gd name="T10" fmla="*/ 0 60000 65536"/>
                <a:gd name="T11" fmla="*/ 0 60000 65536"/>
                <a:gd name="T12" fmla="*/ 0 w 20"/>
                <a:gd name="T13" fmla="*/ 0 h 17"/>
                <a:gd name="T14" fmla="*/ 20 w 20"/>
                <a:gd name="T15" fmla="*/ 17 h 17"/>
              </a:gdLst>
              <a:ahLst/>
              <a:cxnLst>
                <a:cxn ang="T8">
                  <a:pos x="T0" y="T1"/>
                </a:cxn>
                <a:cxn ang="T9">
                  <a:pos x="T2" y="T3"/>
                </a:cxn>
                <a:cxn ang="T10">
                  <a:pos x="T4" y="T5"/>
                </a:cxn>
                <a:cxn ang="T11">
                  <a:pos x="T6" y="T7"/>
                </a:cxn>
              </a:cxnLst>
              <a:rect l="T12" t="T13" r="T14" b="T15"/>
              <a:pathLst>
                <a:path w="20" h="17">
                  <a:moveTo>
                    <a:pt x="0" y="0"/>
                  </a:moveTo>
                  <a:lnTo>
                    <a:pt x="20" y="0"/>
                  </a:lnTo>
                  <a:lnTo>
                    <a:pt x="0" y="17"/>
                  </a:lnTo>
                  <a:lnTo>
                    <a:pt x="0" y="0"/>
                  </a:lnTo>
                  <a:close/>
                </a:path>
              </a:pathLst>
            </a:custGeom>
            <a:solidFill>
              <a:srgbClr val="C0C0C0"/>
            </a:solidFill>
            <a:ln w="9525">
              <a:solidFill>
                <a:srgbClr val="C0C0C0"/>
              </a:solidFill>
              <a:round/>
              <a:headEnd/>
              <a:tailEnd/>
            </a:ln>
          </p:spPr>
          <p:txBody>
            <a:bodyPr/>
            <a:lstStyle/>
            <a:p>
              <a:endParaRPr lang="en-US"/>
            </a:p>
          </p:txBody>
        </p:sp>
        <p:sp>
          <p:nvSpPr>
            <p:cNvPr id="9343" name="Freeform 34"/>
            <p:cNvSpPr>
              <a:spLocks/>
            </p:cNvSpPr>
            <p:nvPr/>
          </p:nvSpPr>
          <p:spPr bwMode="auto">
            <a:xfrm>
              <a:off x="4446" y="2743"/>
              <a:ext cx="11" cy="19"/>
            </a:xfrm>
            <a:custGeom>
              <a:avLst/>
              <a:gdLst>
                <a:gd name="T0" fmla="*/ 1 w 21"/>
                <a:gd name="T1" fmla="*/ 0 h 36"/>
                <a:gd name="T2" fmla="*/ 1 w 21"/>
                <a:gd name="T3" fmla="*/ 1 h 36"/>
                <a:gd name="T4" fmla="*/ 1 w 21"/>
                <a:gd name="T5" fmla="*/ 1 h 36"/>
                <a:gd name="T6" fmla="*/ 1 w 21"/>
                <a:gd name="T7" fmla="*/ 1 h 36"/>
                <a:gd name="T8" fmla="*/ 1 w 21"/>
                <a:gd name="T9" fmla="*/ 0 h 36"/>
                <a:gd name="T10" fmla="*/ 0 w 21"/>
                <a:gd name="T11" fmla="*/ 0 h 36"/>
                <a:gd name="T12" fmla="*/ 1 w 21"/>
                <a:gd name="T13" fmla="*/ 0 h 36"/>
                <a:gd name="T14" fmla="*/ 0 60000 65536"/>
                <a:gd name="T15" fmla="*/ 0 60000 65536"/>
                <a:gd name="T16" fmla="*/ 0 60000 65536"/>
                <a:gd name="T17" fmla="*/ 0 60000 65536"/>
                <a:gd name="T18" fmla="*/ 0 60000 65536"/>
                <a:gd name="T19" fmla="*/ 0 60000 65536"/>
                <a:gd name="T20" fmla="*/ 0 60000 65536"/>
                <a:gd name="T21" fmla="*/ 0 w 21"/>
                <a:gd name="T22" fmla="*/ 0 h 36"/>
                <a:gd name="T23" fmla="*/ 21 w 21"/>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36">
                  <a:moveTo>
                    <a:pt x="21" y="0"/>
                  </a:moveTo>
                  <a:lnTo>
                    <a:pt x="21" y="17"/>
                  </a:lnTo>
                  <a:lnTo>
                    <a:pt x="21" y="36"/>
                  </a:lnTo>
                  <a:lnTo>
                    <a:pt x="21" y="17"/>
                  </a:lnTo>
                  <a:lnTo>
                    <a:pt x="21" y="0"/>
                  </a:lnTo>
                  <a:lnTo>
                    <a:pt x="0" y="0"/>
                  </a:lnTo>
                  <a:lnTo>
                    <a:pt x="21" y="0"/>
                  </a:lnTo>
                  <a:close/>
                </a:path>
              </a:pathLst>
            </a:custGeom>
            <a:solidFill>
              <a:srgbClr val="C0C0C0"/>
            </a:solidFill>
            <a:ln w="9525">
              <a:solidFill>
                <a:srgbClr val="C0C0C0"/>
              </a:solidFill>
              <a:round/>
              <a:headEnd/>
              <a:tailEnd/>
            </a:ln>
          </p:spPr>
          <p:txBody>
            <a:bodyPr/>
            <a:lstStyle/>
            <a:p>
              <a:endParaRPr lang="en-US"/>
            </a:p>
          </p:txBody>
        </p:sp>
        <p:sp>
          <p:nvSpPr>
            <p:cNvPr id="9344" name="Freeform 35"/>
            <p:cNvSpPr>
              <a:spLocks/>
            </p:cNvSpPr>
            <p:nvPr/>
          </p:nvSpPr>
          <p:spPr bwMode="auto">
            <a:xfrm>
              <a:off x="4425" y="2709"/>
              <a:ext cx="11" cy="16"/>
            </a:xfrm>
            <a:custGeom>
              <a:avLst/>
              <a:gdLst>
                <a:gd name="T0" fmla="*/ 0 w 21"/>
                <a:gd name="T1" fmla="*/ 0 h 33"/>
                <a:gd name="T2" fmla="*/ 1 w 21"/>
                <a:gd name="T3" fmla="*/ 0 h 33"/>
                <a:gd name="T4" fmla="*/ 1 w 21"/>
                <a:gd name="T5" fmla="*/ 0 h 33"/>
                <a:gd name="T6" fmla="*/ 0 w 21"/>
                <a:gd name="T7" fmla="*/ 0 h 33"/>
                <a:gd name="T8" fmla="*/ 0 w 21"/>
                <a:gd name="T9" fmla="*/ 0 h 33"/>
                <a:gd name="T10" fmla="*/ 0 60000 65536"/>
                <a:gd name="T11" fmla="*/ 0 60000 65536"/>
                <a:gd name="T12" fmla="*/ 0 60000 65536"/>
                <a:gd name="T13" fmla="*/ 0 60000 65536"/>
                <a:gd name="T14" fmla="*/ 0 60000 65536"/>
                <a:gd name="T15" fmla="*/ 0 w 21"/>
                <a:gd name="T16" fmla="*/ 0 h 33"/>
                <a:gd name="T17" fmla="*/ 21 w 21"/>
                <a:gd name="T18" fmla="*/ 33 h 33"/>
              </a:gdLst>
              <a:ahLst/>
              <a:cxnLst>
                <a:cxn ang="T10">
                  <a:pos x="T0" y="T1"/>
                </a:cxn>
                <a:cxn ang="T11">
                  <a:pos x="T2" y="T3"/>
                </a:cxn>
                <a:cxn ang="T12">
                  <a:pos x="T4" y="T5"/>
                </a:cxn>
                <a:cxn ang="T13">
                  <a:pos x="T6" y="T7"/>
                </a:cxn>
                <a:cxn ang="T14">
                  <a:pos x="T8" y="T9"/>
                </a:cxn>
              </a:cxnLst>
              <a:rect l="T15" t="T16" r="T17" b="T18"/>
              <a:pathLst>
                <a:path w="21" h="33">
                  <a:moveTo>
                    <a:pt x="0" y="0"/>
                  </a:moveTo>
                  <a:lnTo>
                    <a:pt x="21" y="16"/>
                  </a:lnTo>
                  <a:lnTo>
                    <a:pt x="21" y="33"/>
                  </a:lnTo>
                  <a:lnTo>
                    <a:pt x="0" y="16"/>
                  </a:lnTo>
                  <a:lnTo>
                    <a:pt x="0" y="0"/>
                  </a:lnTo>
                  <a:close/>
                </a:path>
              </a:pathLst>
            </a:custGeom>
            <a:solidFill>
              <a:srgbClr val="C0C0C0"/>
            </a:solidFill>
            <a:ln w="9525">
              <a:solidFill>
                <a:srgbClr val="C0C0C0"/>
              </a:solidFill>
              <a:round/>
              <a:headEnd/>
              <a:tailEnd/>
            </a:ln>
          </p:spPr>
          <p:txBody>
            <a:bodyPr/>
            <a:lstStyle/>
            <a:p>
              <a:endParaRPr lang="en-US"/>
            </a:p>
          </p:txBody>
        </p:sp>
        <p:sp>
          <p:nvSpPr>
            <p:cNvPr id="9345" name="Freeform 36"/>
            <p:cNvSpPr>
              <a:spLocks/>
            </p:cNvSpPr>
            <p:nvPr/>
          </p:nvSpPr>
          <p:spPr bwMode="auto">
            <a:xfrm>
              <a:off x="4718" y="2842"/>
              <a:ext cx="0" cy="10"/>
            </a:xfrm>
            <a:custGeom>
              <a:avLst/>
              <a:gdLst>
                <a:gd name="T0" fmla="*/ 0 h 19"/>
                <a:gd name="T1" fmla="*/ 1 h 19"/>
                <a:gd name="T2" fmla="*/ 0 h 19"/>
                <a:gd name="T3" fmla="*/ 0 60000 65536"/>
                <a:gd name="T4" fmla="*/ 0 60000 65536"/>
                <a:gd name="T5" fmla="*/ 0 60000 65536"/>
                <a:gd name="T6" fmla="*/ 0 h 19"/>
                <a:gd name="T7" fmla="*/ 19 h 19"/>
              </a:gdLst>
              <a:ahLst/>
              <a:cxnLst>
                <a:cxn ang="T3">
                  <a:pos x="0" y="T0"/>
                </a:cxn>
                <a:cxn ang="T4">
                  <a:pos x="0" y="T1"/>
                </a:cxn>
                <a:cxn ang="T5">
                  <a:pos x="0" y="T2"/>
                </a:cxn>
              </a:cxnLst>
              <a:rect l="0" t="T6" r="0" b="T7"/>
              <a:pathLst>
                <a:path h="19">
                  <a:moveTo>
                    <a:pt x="0" y="0"/>
                  </a:moveTo>
                  <a:lnTo>
                    <a:pt x="0" y="19"/>
                  </a:lnTo>
                  <a:lnTo>
                    <a:pt x="0" y="0"/>
                  </a:lnTo>
                  <a:close/>
                </a:path>
              </a:pathLst>
            </a:custGeom>
            <a:solidFill>
              <a:srgbClr val="C0C0C0"/>
            </a:solidFill>
            <a:ln w="9525">
              <a:solidFill>
                <a:srgbClr val="C0C0C0"/>
              </a:solidFill>
              <a:round/>
              <a:headEnd/>
              <a:tailEnd/>
            </a:ln>
          </p:spPr>
          <p:txBody>
            <a:bodyPr/>
            <a:lstStyle/>
            <a:p>
              <a:endParaRPr lang="en-US"/>
            </a:p>
          </p:txBody>
        </p:sp>
        <p:sp>
          <p:nvSpPr>
            <p:cNvPr id="9346" name="Freeform 37"/>
            <p:cNvSpPr>
              <a:spLocks/>
            </p:cNvSpPr>
            <p:nvPr/>
          </p:nvSpPr>
          <p:spPr bwMode="auto">
            <a:xfrm>
              <a:off x="4446" y="2743"/>
              <a:ext cx="11" cy="19"/>
            </a:xfrm>
            <a:custGeom>
              <a:avLst/>
              <a:gdLst>
                <a:gd name="T0" fmla="*/ 1 w 21"/>
                <a:gd name="T1" fmla="*/ 0 h 36"/>
                <a:gd name="T2" fmla="*/ 1 w 21"/>
                <a:gd name="T3" fmla="*/ 1 h 36"/>
                <a:gd name="T4" fmla="*/ 1 w 21"/>
                <a:gd name="T5" fmla="*/ 1 h 36"/>
                <a:gd name="T6" fmla="*/ 1 w 21"/>
                <a:gd name="T7" fmla="*/ 1 h 36"/>
                <a:gd name="T8" fmla="*/ 1 w 21"/>
                <a:gd name="T9" fmla="*/ 0 h 36"/>
                <a:gd name="T10" fmla="*/ 0 w 21"/>
                <a:gd name="T11" fmla="*/ 0 h 36"/>
                <a:gd name="T12" fmla="*/ 1 w 21"/>
                <a:gd name="T13" fmla="*/ 0 h 36"/>
                <a:gd name="T14" fmla="*/ 0 60000 65536"/>
                <a:gd name="T15" fmla="*/ 0 60000 65536"/>
                <a:gd name="T16" fmla="*/ 0 60000 65536"/>
                <a:gd name="T17" fmla="*/ 0 60000 65536"/>
                <a:gd name="T18" fmla="*/ 0 60000 65536"/>
                <a:gd name="T19" fmla="*/ 0 60000 65536"/>
                <a:gd name="T20" fmla="*/ 0 60000 65536"/>
                <a:gd name="T21" fmla="*/ 0 w 21"/>
                <a:gd name="T22" fmla="*/ 0 h 36"/>
                <a:gd name="T23" fmla="*/ 21 w 21"/>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36">
                  <a:moveTo>
                    <a:pt x="21" y="0"/>
                  </a:moveTo>
                  <a:lnTo>
                    <a:pt x="21" y="17"/>
                  </a:lnTo>
                  <a:lnTo>
                    <a:pt x="21" y="36"/>
                  </a:lnTo>
                  <a:lnTo>
                    <a:pt x="21" y="17"/>
                  </a:lnTo>
                  <a:lnTo>
                    <a:pt x="21" y="0"/>
                  </a:lnTo>
                  <a:lnTo>
                    <a:pt x="0" y="0"/>
                  </a:lnTo>
                  <a:lnTo>
                    <a:pt x="21" y="0"/>
                  </a:lnTo>
                  <a:close/>
                </a:path>
              </a:pathLst>
            </a:custGeom>
            <a:solidFill>
              <a:srgbClr val="C0C0C0"/>
            </a:solidFill>
            <a:ln w="9525">
              <a:solidFill>
                <a:srgbClr val="C0C0C0"/>
              </a:solidFill>
              <a:round/>
              <a:headEnd/>
              <a:tailEnd/>
            </a:ln>
          </p:spPr>
          <p:txBody>
            <a:bodyPr/>
            <a:lstStyle/>
            <a:p>
              <a:endParaRPr lang="en-US"/>
            </a:p>
          </p:txBody>
        </p:sp>
        <p:sp>
          <p:nvSpPr>
            <p:cNvPr id="9347" name="Freeform 38"/>
            <p:cNvSpPr>
              <a:spLocks/>
            </p:cNvSpPr>
            <p:nvPr/>
          </p:nvSpPr>
          <p:spPr bwMode="auto">
            <a:xfrm>
              <a:off x="4758" y="2699"/>
              <a:ext cx="90" cy="108"/>
            </a:xfrm>
            <a:custGeom>
              <a:avLst/>
              <a:gdLst>
                <a:gd name="T0" fmla="*/ 1 w 180"/>
                <a:gd name="T1" fmla="*/ 1 h 215"/>
                <a:gd name="T2" fmla="*/ 1 w 180"/>
                <a:gd name="T3" fmla="*/ 1 h 215"/>
                <a:gd name="T4" fmla="*/ 1 w 180"/>
                <a:gd name="T5" fmla="*/ 1 h 215"/>
                <a:gd name="T6" fmla="*/ 1 w 180"/>
                <a:gd name="T7" fmla="*/ 1 h 215"/>
                <a:gd name="T8" fmla="*/ 1 w 180"/>
                <a:gd name="T9" fmla="*/ 1 h 215"/>
                <a:gd name="T10" fmla="*/ 1 w 180"/>
                <a:gd name="T11" fmla="*/ 1 h 215"/>
                <a:gd name="T12" fmla="*/ 1 w 180"/>
                <a:gd name="T13" fmla="*/ 1 h 215"/>
                <a:gd name="T14" fmla="*/ 1 w 180"/>
                <a:gd name="T15" fmla="*/ 1 h 215"/>
                <a:gd name="T16" fmla="*/ 1 w 180"/>
                <a:gd name="T17" fmla="*/ 1 h 215"/>
                <a:gd name="T18" fmla="*/ 1 w 180"/>
                <a:gd name="T19" fmla="*/ 1 h 215"/>
                <a:gd name="T20" fmla="*/ 1 w 180"/>
                <a:gd name="T21" fmla="*/ 1 h 215"/>
                <a:gd name="T22" fmla="*/ 1 w 180"/>
                <a:gd name="T23" fmla="*/ 1 h 215"/>
                <a:gd name="T24" fmla="*/ 1 w 180"/>
                <a:gd name="T25" fmla="*/ 1 h 215"/>
                <a:gd name="T26" fmla="*/ 1 w 180"/>
                <a:gd name="T27" fmla="*/ 1 h 215"/>
                <a:gd name="T28" fmla="*/ 1 w 180"/>
                <a:gd name="T29" fmla="*/ 0 h 215"/>
                <a:gd name="T30" fmla="*/ 1 w 180"/>
                <a:gd name="T31" fmla="*/ 1 h 215"/>
                <a:gd name="T32" fmla="*/ 1 w 180"/>
                <a:gd name="T33" fmla="*/ 1 h 215"/>
                <a:gd name="T34" fmla="*/ 1 w 180"/>
                <a:gd name="T35" fmla="*/ 1 h 215"/>
                <a:gd name="T36" fmla="*/ 1 w 180"/>
                <a:gd name="T37" fmla="*/ 1 h 215"/>
                <a:gd name="T38" fmla="*/ 1 w 180"/>
                <a:gd name="T39" fmla="*/ 1 h 215"/>
                <a:gd name="T40" fmla="*/ 1 w 180"/>
                <a:gd name="T41" fmla="*/ 1 h 215"/>
                <a:gd name="T42" fmla="*/ 1 w 180"/>
                <a:gd name="T43" fmla="*/ 1 h 215"/>
                <a:gd name="T44" fmla="*/ 1 w 180"/>
                <a:gd name="T45" fmla="*/ 1 h 215"/>
                <a:gd name="T46" fmla="*/ 1 w 180"/>
                <a:gd name="T47" fmla="*/ 1 h 215"/>
                <a:gd name="T48" fmla="*/ 1 w 180"/>
                <a:gd name="T49" fmla="*/ 1 h 215"/>
                <a:gd name="T50" fmla="*/ 1 w 180"/>
                <a:gd name="T51" fmla="*/ 1 h 215"/>
                <a:gd name="T52" fmla="*/ 1 w 180"/>
                <a:gd name="T53" fmla="*/ 1 h 215"/>
                <a:gd name="T54" fmla="*/ 0 w 180"/>
                <a:gd name="T55" fmla="*/ 1 h 215"/>
                <a:gd name="T56" fmla="*/ 0 w 180"/>
                <a:gd name="T57" fmla="*/ 1 h 215"/>
                <a:gd name="T58" fmla="*/ 0 w 180"/>
                <a:gd name="T59" fmla="*/ 1 h 215"/>
                <a:gd name="T60" fmla="*/ 0 w 180"/>
                <a:gd name="T61" fmla="*/ 1 h 215"/>
                <a:gd name="T62" fmla="*/ 1 w 180"/>
                <a:gd name="T63" fmla="*/ 1 h 215"/>
                <a:gd name="T64" fmla="*/ 1 w 180"/>
                <a:gd name="T65" fmla="*/ 1 h 215"/>
                <a:gd name="T66" fmla="*/ 1 w 180"/>
                <a:gd name="T67" fmla="*/ 1 h 215"/>
                <a:gd name="T68" fmla="*/ 1 w 180"/>
                <a:gd name="T69" fmla="*/ 1 h 215"/>
                <a:gd name="T70" fmla="*/ 1 w 180"/>
                <a:gd name="T71" fmla="*/ 1 h 215"/>
                <a:gd name="T72" fmla="*/ 1 w 180"/>
                <a:gd name="T73" fmla="*/ 1 h 215"/>
                <a:gd name="T74" fmla="*/ 1 w 180"/>
                <a:gd name="T75" fmla="*/ 1 h 215"/>
                <a:gd name="T76" fmla="*/ 1 w 180"/>
                <a:gd name="T77" fmla="*/ 1 h 215"/>
                <a:gd name="T78" fmla="*/ 1 w 180"/>
                <a:gd name="T79" fmla="*/ 1 h 215"/>
                <a:gd name="T80" fmla="*/ 1 w 180"/>
                <a:gd name="T81" fmla="*/ 1 h 215"/>
                <a:gd name="T82" fmla="*/ 1 w 180"/>
                <a:gd name="T83" fmla="*/ 1 h 215"/>
                <a:gd name="T84" fmla="*/ 1 w 180"/>
                <a:gd name="T85" fmla="*/ 1 h 215"/>
                <a:gd name="T86" fmla="*/ 1 w 180"/>
                <a:gd name="T87" fmla="*/ 1 h 215"/>
                <a:gd name="T88" fmla="*/ 1 w 180"/>
                <a:gd name="T89" fmla="*/ 1 h 215"/>
                <a:gd name="T90" fmla="*/ 1 w 180"/>
                <a:gd name="T91" fmla="*/ 1 h 215"/>
                <a:gd name="T92" fmla="*/ 1 w 180"/>
                <a:gd name="T93" fmla="*/ 1 h 215"/>
                <a:gd name="T94" fmla="*/ 1 w 180"/>
                <a:gd name="T95" fmla="*/ 1 h 215"/>
                <a:gd name="T96" fmla="*/ 1 w 180"/>
                <a:gd name="T97" fmla="*/ 1 h 215"/>
                <a:gd name="T98" fmla="*/ 1 w 180"/>
                <a:gd name="T99" fmla="*/ 1 h 215"/>
                <a:gd name="T100" fmla="*/ 1 w 180"/>
                <a:gd name="T101" fmla="*/ 1 h 215"/>
                <a:gd name="T102" fmla="*/ 1 w 180"/>
                <a:gd name="T103" fmla="*/ 1 h 215"/>
                <a:gd name="T104" fmla="*/ 1 w 180"/>
                <a:gd name="T105" fmla="*/ 1 h 215"/>
                <a:gd name="T106" fmla="*/ 1 w 180"/>
                <a:gd name="T107" fmla="*/ 1 h 215"/>
                <a:gd name="T108" fmla="*/ 1 w 180"/>
                <a:gd name="T109" fmla="*/ 1 h 215"/>
                <a:gd name="T110" fmla="*/ 1 w 180"/>
                <a:gd name="T111" fmla="*/ 1 h 215"/>
                <a:gd name="T112" fmla="*/ 1 w 180"/>
                <a:gd name="T113" fmla="*/ 1 h 21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80"/>
                <a:gd name="T172" fmla="*/ 0 h 215"/>
                <a:gd name="T173" fmla="*/ 180 w 180"/>
                <a:gd name="T174" fmla="*/ 215 h 21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80" h="215">
                  <a:moveTo>
                    <a:pt x="81" y="89"/>
                  </a:moveTo>
                  <a:lnTo>
                    <a:pt x="60" y="89"/>
                  </a:lnTo>
                  <a:lnTo>
                    <a:pt x="60" y="71"/>
                  </a:lnTo>
                  <a:lnTo>
                    <a:pt x="40" y="71"/>
                  </a:lnTo>
                  <a:lnTo>
                    <a:pt x="60" y="52"/>
                  </a:lnTo>
                  <a:lnTo>
                    <a:pt x="81" y="52"/>
                  </a:lnTo>
                  <a:lnTo>
                    <a:pt x="100" y="52"/>
                  </a:lnTo>
                  <a:lnTo>
                    <a:pt x="121" y="35"/>
                  </a:lnTo>
                  <a:lnTo>
                    <a:pt x="121" y="52"/>
                  </a:lnTo>
                  <a:lnTo>
                    <a:pt x="140" y="52"/>
                  </a:lnTo>
                  <a:lnTo>
                    <a:pt x="159" y="52"/>
                  </a:lnTo>
                  <a:lnTo>
                    <a:pt x="180" y="52"/>
                  </a:lnTo>
                  <a:lnTo>
                    <a:pt x="180" y="35"/>
                  </a:lnTo>
                  <a:lnTo>
                    <a:pt x="180" y="19"/>
                  </a:lnTo>
                  <a:lnTo>
                    <a:pt x="180" y="0"/>
                  </a:lnTo>
                  <a:lnTo>
                    <a:pt x="180" y="19"/>
                  </a:lnTo>
                  <a:lnTo>
                    <a:pt x="159" y="19"/>
                  </a:lnTo>
                  <a:lnTo>
                    <a:pt x="159" y="35"/>
                  </a:lnTo>
                  <a:lnTo>
                    <a:pt x="140" y="35"/>
                  </a:lnTo>
                  <a:lnTo>
                    <a:pt x="121" y="19"/>
                  </a:lnTo>
                  <a:lnTo>
                    <a:pt x="100" y="19"/>
                  </a:lnTo>
                  <a:lnTo>
                    <a:pt x="60" y="19"/>
                  </a:lnTo>
                  <a:lnTo>
                    <a:pt x="60" y="35"/>
                  </a:lnTo>
                  <a:lnTo>
                    <a:pt x="40" y="52"/>
                  </a:lnTo>
                  <a:lnTo>
                    <a:pt x="40" y="71"/>
                  </a:lnTo>
                  <a:lnTo>
                    <a:pt x="21" y="71"/>
                  </a:lnTo>
                  <a:lnTo>
                    <a:pt x="21" y="89"/>
                  </a:lnTo>
                  <a:lnTo>
                    <a:pt x="0" y="106"/>
                  </a:lnTo>
                  <a:lnTo>
                    <a:pt x="0" y="125"/>
                  </a:lnTo>
                  <a:lnTo>
                    <a:pt x="0" y="142"/>
                  </a:lnTo>
                  <a:lnTo>
                    <a:pt x="0" y="162"/>
                  </a:lnTo>
                  <a:lnTo>
                    <a:pt x="21" y="162"/>
                  </a:lnTo>
                  <a:lnTo>
                    <a:pt x="21" y="179"/>
                  </a:lnTo>
                  <a:lnTo>
                    <a:pt x="21" y="196"/>
                  </a:lnTo>
                  <a:lnTo>
                    <a:pt x="21" y="215"/>
                  </a:lnTo>
                  <a:lnTo>
                    <a:pt x="40" y="215"/>
                  </a:lnTo>
                  <a:lnTo>
                    <a:pt x="60" y="196"/>
                  </a:lnTo>
                  <a:lnTo>
                    <a:pt x="60" y="179"/>
                  </a:lnTo>
                  <a:lnTo>
                    <a:pt x="60" y="162"/>
                  </a:lnTo>
                  <a:lnTo>
                    <a:pt x="60" y="142"/>
                  </a:lnTo>
                  <a:lnTo>
                    <a:pt x="60" y="125"/>
                  </a:lnTo>
                  <a:lnTo>
                    <a:pt x="60" y="142"/>
                  </a:lnTo>
                  <a:lnTo>
                    <a:pt x="60" y="162"/>
                  </a:lnTo>
                  <a:lnTo>
                    <a:pt x="81" y="179"/>
                  </a:lnTo>
                  <a:lnTo>
                    <a:pt x="100" y="179"/>
                  </a:lnTo>
                  <a:lnTo>
                    <a:pt x="121" y="179"/>
                  </a:lnTo>
                  <a:lnTo>
                    <a:pt x="121" y="162"/>
                  </a:lnTo>
                  <a:lnTo>
                    <a:pt x="121" y="142"/>
                  </a:lnTo>
                  <a:lnTo>
                    <a:pt x="100" y="125"/>
                  </a:lnTo>
                  <a:lnTo>
                    <a:pt x="81" y="125"/>
                  </a:lnTo>
                  <a:lnTo>
                    <a:pt x="81" y="106"/>
                  </a:lnTo>
                  <a:lnTo>
                    <a:pt x="121" y="106"/>
                  </a:lnTo>
                  <a:lnTo>
                    <a:pt x="121" y="89"/>
                  </a:lnTo>
                  <a:lnTo>
                    <a:pt x="140" y="71"/>
                  </a:lnTo>
                  <a:lnTo>
                    <a:pt x="121" y="71"/>
                  </a:lnTo>
                  <a:lnTo>
                    <a:pt x="100" y="71"/>
                  </a:lnTo>
                  <a:lnTo>
                    <a:pt x="81" y="89"/>
                  </a:lnTo>
                  <a:close/>
                </a:path>
              </a:pathLst>
            </a:custGeom>
            <a:solidFill>
              <a:srgbClr val="C0C0C0"/>
            </a:solidFill>
            <a:ln w="9525">
              <a:solidFill>
                <a:srgbClr val="C0C0C0"/>
              </a:solidFill>
              <a:round/>
              <a:headEnd/>
              <a:tailEnd/>
            </a:ln>
          </p:spPr>
          <p:txBody>
            <a:bodyPr/>
            <a:lstStyle/>
            <a:p>
              <a:endParaRPr lang="en-US"/>
            </a:p>
          </p:txBody>
        </p:sp>
        <p:sp>
          <p:nvSpPr>
            <p:cNvPr id="9348" name="Freeform 39"/>
            <p:cNvSpPr>
              <a:spLocks/>
            </p:cNvSpPr>
            <p:nvPr/>
          </p:nvSpPr>
          <p:spPr bwMode="auto">
            <a:xfrm>
              <a:off x="4889" y="2699"/>
              <a:ext cx="29" cy="36"/>
            </a:xfrm>
            <a:custGeom>
              <a:avLst/>
              <a:gdLst>
                <a:gd name="T0" fmla="*/ 0 w 60"/>
                <a:gd name="T1" fmla="*/ 1 h 71"/>
                <a:gd name="T2" fmla="*/ 0 w 60"/>
                <a:gd name="T3" fmla="*/ 1 h 71"/>
                <a:gd name="T4" fmla="*/ 0 w 60"/>
                <a:gd name="T5" fmla="*/ 1 h 71"/>
                <a:gd name="T6" fmla="*/ 0 w 60"/>
                <a:gd name="T7" fmla="*/ 1 h 71"/>
                <a:gd name="T8" fmla="*/ 0 w 60"/>
                <a:gd name="T9" fmla="*/ 1 h 71"/>
                <a:gd name="T10" fmla="*/ 0 w 60"/>
                <a:gd name="T11" fmla="*/ 0 h 71"/>
                <a:gd name="T12" fmla="*/ 0 w 60"/>
                <a:gd name="T13" fmla="*/ 0 h 71"/>
                <a:gd name="T14" fmla="*/ 0 w 60"/>
                <a:gd name="T15" fmla="*/ 0 h 71"/>
                <a:gd name="T16" fmla="*/ 0 w 60"/>
                <a:gd name="T17" fmla="*/ 1 h 71"/>
                <a:gd name="T18" fmla="*/ 0 w 60"/>
                <a:gd name="T19" fmla="*/ 1 h 71"/>
                <a:gd name="T20" fmla="*/ 0 w 60"/>
                <a:gd name="T21" fmla="*/ 1 h 71"/>
                <a:gd name="T22" fmla="*/ 0 w 60"/>
                <a:gd name="T23" fmla="*/ 1 h 71"/>
                <a:gd name="T24" fmla="*/ 0 w 60"/>
                <a:gd name="T25" fmla="*/ 1 h 71"/>
                <a:gd name="T26" fmla="*/ 0 w 60"/>
                <a:gd name="T27" fmla="*/ 1 h 71"/>
                <a:gd name="T28" fmla="*/ 0 w 60"/>
                <a:gd name="T29" fmla="*/ 1 h 7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0"/>
                <a:gd name="T46" fmla="*/ 0 h 71"/>
                <a:gd name="T47" fmla="*/ 60 w 60"/>
                <a:gd name="T48" fmla="*/ 71 h 7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0" h="71">
                  <a:moveTo>
                    <a:pt x="19" y="52"/>
                  </a:moveTo>
                  <a:lnTo>
                    <a:pt x="38" y="52"/>
                  </a:lnTo>
                  <a:lnTo>
                    <a:pt x="38" y="35"/>
                  </a:lnTo>
                  <a:lnTo>
                    <a:pt x="38" y="19"/>
                  </a:lnTo>
                  <a:lnTo>
                    <a:pt x="60" y="19"/>
                  </a:lnTo>
                  <a:lnTo>
                    <a:pt x="38" y="0"/>
                  </a:lnTo>
                  <a:lnTo>
                    <a:pt x="19" y="0"/>
                  </a:lnTo>
                  <a:lnTo>
                    <a:pt x="0" y="0"/>
                  </a:lnTo>
                  <a:lnTo>
                    <a:pt x="0" y="19"/>
                  </a:lnTo>
                  <a:lnTo>
                    <a:pt x="19" y="35"/>
                  </a:lnTo>
                  <a:lnTo>
                    <a:pt x="19" y="52"/>
                  </a:lnTo>
                  <a:lnTo>
                    <a:pt x="19" y="71"/>
                  </a:lnTo>
                  <a:lnTo>
                    <a:pt x="38" y="71"/>
                  </a:lnTo>
                  <a:lnTo>
                    <a:pt x="19" y="71"/>
                  </a:lnTo>
                  <a:lnTo>
                    <a:pt x="19" y="52"/>
                  </a:lnTo>
                  <a:close/>
                </a:path>
              </a:pathLst>
            </a:custGeom>
            <a:solidFill>
              <a:srgbClr val="C0C0C0"/>
            </a:solidFill>
            <a:ln w="9525">
              <a:solidFill>
                <a:srgbClr val="C0C0C0"/>
              </a:solidFill>
              <a:round/>
              <a:headEnd/>
              <a:tailEnd/>
            </a:ln>
          </p:spPr>
          <p:txBody>
            <a:bodyPr/>
            <a:lstStyle/>
            <a:p>
              <a:endParaRPr lang="en-US"/>
            </a:p>
          </p:txBody>
        </p:sp>
        <p:sp>
          <p:nvSpPr>
            <p:cNvPr id="9349" name="Freeform 40"/>
            <p:cNvSpPr>
              <a:spLocks/>
            </p:cNvSpPr>
            <p:nvPr/>
          </p:nvSpPr>
          <p:spPr bwMode="auto">
            <a:xfrm>
              <a:off x="4818" y="2592"/>
              <a:ext cx="71" cy="53"/>
            </a:xfrm>
            <a:custGeom>
              <a:avLst/>
              <a:gdLst>
                <a:gd name="T0" fmla="*/ 1 w 140"/>
                <a:gd name="T1" fmla="*/ 0 h 108"/>
                <a:gd name="T2" fmla="*/ 1 w 140"/>
                <a:gd name="T3" fmla="*/ 0 h 108"/>
                <a:gd name="T4" fmla="*/ 1 w 140"/>
                <a:gd name="T5" fmla="*/ 0 h 108"/>
                <a:gd name="T6" fmla="*/ 1 w 140"/>
                <a:gd name="T7" fmla="*/ 0 h 108"/>
                <a:gd name="T8" fmla="*/ 1 w 140"/>
                <a:gd name="T9" fmla="*/ 0 h 108"/>
                <a:gd name="T10" fmla="*/ 1 w 140"/>
                <a:gd name="T11" fmla="*/ 0 h 108"/>
                <a:gd name="T12" fmla="*/ 1 w 140"/>
                <a:gd name="T13" fmla="*/ 0 h 108"/>
                <a:gd name="T14" fmla="*/ 1 w 140"/>
                <a:gd name="T15" fmla="*/ 0 h 108"/>
                <a:gd name="T16" fmla="*/ 1 w 140"/>
                <a:gd name="T17" fmla="*/ 0 h 108"/>
                <a:gd name="T18" fmla="*/ 1 w 140"/>
                <a:gd name="T19" fmla="*/ 0 h 108"/>
                <a:gd name="T20" fmla="*/ 1 w 140"/>
                <a:gd name="T21" fmla="*/ 0 h 108"/>
                <a:gd name="T22" fmla="*/ 1 w 140"/>
                <a:gd name="T23" fmla="*/ 0 h 108"/>
                <a:gd name="T24" fmla="*/ 1 w 140"/>
                <a:gd name="T25" fmla="*/ 0 h 108"/>
                <a:gd name="T26" fmla="*/ 1 w 140"/>
                <a:gd name="T27" fmla="*/ 0 h 108"/>
                <a:gd name="T28" fmla="*/ 1 w 140"/>
                <a:gd name="T29" fmla="*/ 0 h 108"/>
                <a:gd name="T30" fmla="*/ 0 w 140"/>
                <a:gd name="T31" fmla="*/ 0 h 108"/>
                <a:gd name="T32" fmla="*/ 0 w 140"/>
                <a:gd name="T33" fmla="*/ 0 h 108"/>
                <a:gd name="T34" fmla="*/ 0 w 140"/>
                <a:gd name="T35" fmla="*/ 0 h 108"/>
                <a:gd name="T36" fmla="*/ 0 w 140"/>
                <a:gd name="T37" fmla="*/ 0 h 108"/>
                <a:gd name="T38" fmla="*/ 0 w 140"/>
                <a:gd name="T39" fmla="*/ 0 h 108"/>
                <a:gd name="T40" fmla="*/ 0 w 140"/>
                <a:gd name="T41" fmla="*/ 0 h 108"/>
                <a:gd name="T42" fmla="*/ 0 w 140"/>
                <a:gd name="T43" fmla="*/ 0 h 108"/>
                <a:gd name="T44" fmla="*/ 0 w 140"/>
                <a:gd name="T45" fmla="*/ 0 h 108"/>
                <a:gd name="T46" fmla="*/ 1 w 140"/>
                <a:gd name="T47" fmla="*/ 0 h 108"/>
                <a:gd name="T48" fmla="*/ 1 w 140"/>
                <a:gd name="T49" fmla="*/ 0 h 108"/>
                <a:gd name="T50" fmla="*/ 1 w 140"/>
                <a:gd name="T51" fmla="*/ 0 h 108"/>
                <a:gd name="T52" fmla="*/ 1 w 140"/>
                <a:gd name="T53" fmla="*/ 0 h 108"/>
                <a:gd name="T54" fmla="*/ 1 w 140"/>
                <a:gd name="T55" fmla="*/ 0 h 108"/>
                <a:gd name="T56" fmla="*/ 1 w 140"/>
                <a:gd name="T57" fmla="*/ 0 h 108"/>
                <a:gd name="T58" fmla="*/ 1 w 140"/>
                <a:gd name="T59" fmla="*/ 0 h 108"/>
                <a:gd name="T60" fmla="*/ 1 w 140"/>
                <a:gd name="T61" fmla="*/ 0 h 108"/>
                <a:gd name="T62" fmla="*/ 1 w 140"/>
                <a:gd name="T63" fmla="*/ 0 h 108"/>
                <a:gd name="T64" fmla="*/ 1 w 140"/>
                <a:gd name="T65" fmla="*/ 0 h 108"/>
                <a:gd name="T66" fmla="*/ 1 w 140"/>
                <a:gd name="T67" fmla="*/ 0 h 108"/>
                <a:gd name="T68" fmla="*/ 1 w 140"/>
                <a:gd name="T69" fmla="*/ 0 h 108"/>
                <a:gd name="T70" fmla="*/ 1 w 140"/>
                <a:gd name="T71" fmla="*/ 0 h 108"/>
                <a:gd name="T72" fmla="*/ 1 w 140"/>
                <a:gd name="T73" fmla="*/ 0 h 108"/>
                <a:gd name="T74" fmla="*/ 1 w 140"/>
                <a:gd name="T75" fmla="*/ 0 h 108"/>
                <a:gd name="T76" fmla="*/ 1 w 140"/>
                <a:gd name="T77" fmla="*/ 0 h 108"/>
                <a:gd name="T78" fmla="*/ 1 w 140"/>
                <a:gd name="T79" fmla="*/ 0 h 10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0"/>
                <a:gd name="T121" fmla="*/ 0 h 108"/>
                <a:gd name="T122" fmla="*/ 140 w 140"/>
                <a:gd name="T123" fmla="*/ 108 h 10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0" h="108">
                  <a:moveTo>
                    <a:pt x="100" y="91"/>
                  </a:moveTo>
                  <a:lnTo>
                    <a:pt x="100" y="71"/>
                  </a:lnTo>
                  <a:lnTo>
                    <a:pt x="79" y="71"/>
                  </a:lnTo>
                  <a:lnTo>
                    <a:pt x="79" y="91"/>
                  </a:lnTo>
                  <a:lnTo>
                    <a:pt x="100" y="108"/>
                  </a:lnTo>
                  <a:lnTo>
                    <a:pt x="79" y="108"/>
                  </a:lnTo>
                  <a:lnTo>
                    <a:pt x="59" y="108"/>
                  </a:lnTo>
                  <a:lnTo>
                    <a:pt x="59" y="71"/>
                  </a:lnTo>
                  <a:lnTo>
                    <a:pt x="59" y="54"/>
                  </a:lnTo>
                  <a:lnTo>
                    <a:pt x="38" y="54"/>
                  </a:lnTo>
                  <a:lnTo>
                    <a:pt x="38" y="71"/>
                  </a:lnTo>
                  <a:lnTo>
                    <a:pt x="19" y="71"/>
                  </a:lnTo>
                  <a:lnTo>
                    <a:pt x="19" y="54"/>
                  </a:lnTo>
                  <a:lnTo>
                    <a:pt x="19" y="71"/>
                  </a:lnTo>
                  <a:lnTo>
                    <a:pt x="19" y="54"/>
                  </a:lnTo>
                  <a:lnTo>
                    <a:pt x="0" y="54"/>
                  </a:lnTo>
                  <a:lnTo>
                    <a:pt x="0" y="71"/>
                  </a:lnTo>
                  <a:lnTo>
                    <a:pt x="0" y="91"/>
                  </a:lnTo>
                  <a:lnTo>
                    <a:pt x="0" y="108"/>
                  </a:lnTo>
                  <a:lnTo>
                    <a:pt x="0" y="91"/>
                  </a:lnTo>
                  <a:lnTo>
                    <a:pt x="0" y="71"/>
                  </a:lnTo>
                  <a:lnTo>
                    <a:pt x="0" y="54"/>
                  </a:lnTo>
                  <a:lnTo>
                    <a:pt x="0" y="35"/>
                  </a:lnTo>
                  <a:lnTo>
                    <a:pt x="19" y="35"/>
                  </a:lnTo>
                  <a:lnTo>
                    <a:pt x="38" y="35"/>
                  </a:lnTo>
                  <a:lnTo>
                    <a:pt x="59" y="35"/>
                  </a:lnTo>
                  <a:lnTo>
                    <a:pt x="59" y="18"/>
                  </a:lnTo>
                  <a:lnTo>
                    <a:pt x="79" y="18"/>
                  </a:lnTo>
                  <a:lnTo>
                    <a:pt x="79" y="0"/>
                  </a:lnTo>
                  <a:lnTo>
                    <a:pt x="100" y="0"/>
                  </a:lnTo>
                  <a:lnTo>
                    <a:pt x="119" y="18"/>
                  </a:lnTo>
                  <a:lnTo>
                    <a:pt x="119" y="35"/>
                  </a:lnTo>
                  <a:lnTo>
                    <a:pt x="140" y="71"/>
                  </a:lnTo>
                  <a:lnTo>
                    <a:pt x="119" y="71"/>
                  </a:lnTo>
                  <a:lnTo>
                    <a:pt x="119" y="91"/>
                  </a:lnTo>
                  <a:lnTo>
                    <a:pt x="119" y="108"/>
                  </a:lnTo>
                  <a:lnTo>
                    <a:pt x="119" y="91"/>
                  </a:lnTo>
                  <a:lnTo>
                    <a:pt x="100" y="91"/>
                  </a:lnTo>
                  <a:lnTo>
                    <a:pt x="100" y="71"/>
                  </a:lnTo>
                  <a:lnTo>
                    <a:pt x="100" y="91"/>
                  </a:lnTo>
                  <a:close/>
                </a:path>
              </a:pathLst>
            </a:custGeom>
            <a:solidFill>
              <a:srgbClr val="C0C0C0"/>
            </a:solidFill>
            <a:ln w="9525">
              <a:solidFill>
                <a:srgbClr val="C0C0C0"/>
              </a:solidFill>
              <a:round/>
              <a:headEnd/>
              <a:tailEnd/>
            </a:ln>
          </p:spPr>
          <p:txBody>
            <a:bodyPr/>
            <a:lstStyle/>
            <a:p>
              <a:endParaRPr lang="en-US"/>
            </a:p>
          </p:txBody>
        </p:sp>
        <p:sp>
          <p:nvSpPr>
            <p:cNvPr id="9350" name="Freeform 41"/>
            <p:cNvSpPr>
              <a:spLocks/>
            </p:cNvSpPr>
            <p:nvPr/>
          </p:nvSpPr>
          <p:spPr bwMode="auto">
            <a:xfrm>
              <a:off x="4748" y="2573"/>
              <a:ext cx="40" cy="36"/>
            </a:xfrm>
            <a:custGeom>
              <a:avLst/>
              <a:gdLst>
                <a:gd name="T0" fmla="*/ 0 w 79"/>
                <a:gd name="T1" fmla="*/ 1 h 71"/>
                <a:gd name="T2" fmla="*/ 0 w 79"/>
                <a:gd name="T3" fmla="*/ 1 h 71"/>
                <a:gd name="T4" fmla="*/ 1 w 79"/>
                <a:gd name="T5" fmla="*/ 1 h 71"/>
                <a:gd name="T6" fmla="*/ 1 w 79"/>
                <a:gd name="T7" fmla="*/ 1 h 71"/>
                <a:gd name="T8" fmla="*/ 1 w 79"/>
                <a:gd name="T9" fmla="*/ 0 h 71"/>
                <a:gd name="T10" fmla="*/ 1 w 79"/>
                <a:gd name="T11" fmla="*/ 1 h 71"/>
                <a:gd name="T12" fmla="*/ 1 w 79"/>
                <a:gd name="T13" fmla="*/ 1 h 71"/>
                <a:gd name="T14" fmla="*/ 1 w 79"/>
                <a:gd name="T15" fmla="*/ 1 h 71"/>
                <a:gd name="T16" fmla="*/ 1 w 79"/>
                <a:gd name="T17" fmla="*/ 1 h 71"/>
                <a:gd name="T18" fmla="*/ 1 w 79"/>
                <a:gd name="T19" fmla="*/ 1 h 71"/>
                <a:gd name="T20" fmla="*/ 0 w 79"/>
                <a:gd name="T21" fmla="*/ 1 h 71"/>
                <a:gd name="T22" fmla="*/ 0 w 79"/>
                <a:gd name="T23" fmla="*/ 1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9"/>
                <a:gd name="T37" fmla="*/ 0 h 71"/>
                <a:gd name="T38" fmla="*/ 79 w 79"/>
                <a:gd name="T39" fmla="*/ 71 h 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9" h="71">
                  <a:moveTo>
                    <a:pt x="0" y="71"/>
                  </a:moveTo>
                  <a:lnTo>
                    <a:pt x="0" y="36"/>
                  </a:lnTo>
                  <a:lnTo>
                    <a:pt x="40" y="17"/>
                  </a:lnTo>
                  <a:lnTo>
                    <a:pt x="59" y="17"/>
                  </a:lnTo>
                  <a:lnTo>
                    <a:pt x="59" y="0"/>
                  </a:lnTo>
                  <a:lnTo>
                    <a:pt x="59" y="17"/>
                  </a:lnTo>
                  <a:lnTo>
                    <a:pt x="79" y="17"/>
                  </a:lnTo>
                  <a:lnTo>
                    <a:pt x="59" y="17"/>
                  </a:lnTo>
                  <a:lnTo>
                    <a:pt x="40" y="17"/>
                  </a:lnTo>
                  <a:lnTo>
                    <a:pt x="19" y="54"/>
                  </a:lnTo>
                  <a:lnTo>
                    <a:pt x="0" y="54"/>
                  </a:lnTo>
                  <a:lnTo>
                    <a:pt x="0" y="71"/>
                  </a:lnTo>
                  <a:close/>
                </a:path>
              </a:pathLst>
            </a:custGeom>
            <a:solidFill>
              <a:srgbClr val="C0C0C0"/>
            </a:solidFill>
            <a:ln w="9525">
              <a:solidFill>
                <a:srgbClr val="C0C0C0"/>
              </a:solidFill>
              <a:round/>
              <a:headEnd/>
              <a:tailEnd/>
            </a:ln>
          </p:spPr>
          <p:txBody>
            <a:bodyPr/>
            <a:lstStyle/>
            <a:p>
              <a:endParaRPr lang="en-US"/>
            </a:p>
          </p:txBody>
        </p:sp>
        <p:sp>
          <p:nvSpPr>
            <p:cNvPr id="9351" name="Freeform 42"/>
            <p:cNvSpPr>
              <a:spLocks/>
            </p:cNvSpPr>
            <p:nvPr/>
          </p:nvSpPr>
          <p:spPr bwMode="auto">
            <a:xfrm>
              <a:off x="4778" y="2476"/>
              <a:ext cx="60" cy="89"/>
            </a:xfrm>
            <a:custGeom>
              <a:avLst/>
              <a:gdLst>
                <a:gd name="T0" fmla="*/ 0 w 119"/>
                <a:gd name="T1" fmla="*/ 0 h 179"/>
                <a:gd name="T2" fmla="*/ 0 w 119"/>
                <a:gd name="T3" fmla="*/ 0 h 179"/>
                <a:gd name="T4" fmla="*/ 0 w 119"/>
                <a:gd name="T5" fmla="*/ 0 h 179"/>
                <a:gd name="T6" fmla="*/ 0 w 119"/>
                <a:gd name="T7" fmla="*/ 0 h 179"/>
                <a:gd name="T8" fmla="*/ 0 w 119"/>
                <a:gd name="T9" fmla="*/ 0 h 179"/>
                <a:gd name="T10" fmla="*/ 1 w 119"/>
                <a:gd name="T11" fmla="*/ 0 h 179"/>
                <a:gd name="T12" fmla="*/ 1 w 119"/>
                <a:gd name="T13" fmla="*/ 0 h 179"/>
                <a:gd name="T14" fmla="*/ 1 w 119"/>
                <a:gd name="T15" fmla="*/ 0 h 179"/>
                <a:gd name="T16" fmla="*/ 1 w 119"/>
                <a:gd name="T17" fmla="*/ 0 h 179"/>
                <a:gd name="T18" fmla="*/ 1 w 119"/>
                <a:gd name="T19" fmla="*/ 0 h 179"/>
                <a:gd name="T20" fmla="*/ 1 w 119"/>
                <a:gd name="T21" fmla="*/ 0 h 179"/>
                <a:gd name="T22" fmla="*/ 1 w 119"/>
                <a:gd name="T23" fmla="*/ 0 h 179"/>
                <a:gd name="T24" fmla="*/ 1 w 119"/>
                <a:gd name="T25" fmla="*/ 0 h 179"/>
                <a:gd name="T26" fmla="*/ 1 w 119"/>
                <a:gd name="T27" fmla="*/ 0 h 179"/>
                <a:gd name="T28" fmla="*/ 1 w 119"/>
                <a:gd name="T29" fmla="*/ 0 h 179"/>
                <a:gd name="T30" fmla="*/ 1 w 119"/>
                <a:gd name="T31" fmla="*/ 0 h 179"/>
                <a:gd name="T32" fmla="*/ 1 w 119"/>
                <a:gd name="T33" fmla="*/ 0 h 179"/>
                <a:gd name="T34" fmla="*/ 1 w 119"/>
                <a:gd name="T35" fmla="*/ 0 h 179"/>
                <a:gd name="T36" fmla="*/ 1 w 119"/>
                <a:gd name="T37" fmla="*/ 0 h 179"/>
                <a:gd name="T38" fmla="*/ 1 w 119"/>
                <a:gd name="T39" fmla="*/ 0 h 179"/>
                <a:gd name="T40" fmla="*/ 1 w 119"/>
                <a:gd name="T41" fmla="*/ 0 h 179"/>
                <a:gd name="T42" fmla="*/ 1 w 119"/>
                <a:gd name="T43" fmla="*/ 0 h 179"/>
                <a:gd name="T44" fmla="*/ 1 w 119"/>
                <a:gd name="T45" fmla="*/ 0 h 179"/>
                <a:gd name="T46" fmla="*/ 1 w 119"/>
                <a:gd name="T47" fmla="*/ 0 h 179"/>
                <a:gd name="T48" fmla="*/ 1 w 119"/>
                <a:gd name="T49" fmla="*/ 0 h 179"/>
                <a:gd name="T50" fmla="*/ 1 w 119"/>
                <a:gd name="T51" fmla="*/ 0 h 179"/>
                <a:gd name="T52" fmla="*/ 1 w 119"/>
                <a:gd name="T53" fmla="*/ 0 h 179"/>
                <a:gd name="T54" fmla="*/ 1 w 119"/>
                <a:gd name="T55" fmla="*/ 0 h 179"/>
                <a:gd name="T56" fmla="*/ 1 w 119"/>
                <a:gd name="T57" fmla="*/ 0 h 179"/>
                <a:gd name="T58" fmla="*/ 1 w 119"/>
                <a:gd name="T59" fmla="*/ 0 h 179"/>
                <a:gd name="T60" fmla="*/ 0 w 119"/>
                <a:gd name="T61" fmla="*/ 0 h 179"/>
                <a:gd name="T62" fmla="*/ 0 w 119"/>
                <a:gd name="T63" fmla="*/ 0 h 179"/>
                <a:gd name="T64" fmla="*/ 0 w 119"/>
                <a:gd name="T65" fmla="*/ 0 h 17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179"/>
                <a:gd name="T101" fmla="*/ 119 w 119"/>
                <a:gd name="T102" fmla="*/ 179 h 17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179">
                  <a:moveTo>
                    <a:pt x="0" y="71"/>
                  </a:moveTo>
                  <a:lnTo>
                    <a:pt x="0" y="54"/>
                  </a:lnTo>
                  <a:lnTo>
                    <a:pt x="0" y="37"/>
                  </a:lnTo>
                  <a:lnTo>
                    <a:pt x="0" y="17"/>
                  </a:lnTo>
                  <a:lnTo>
                    <a:pt x="0" y="0"/>
                  </a:lnTo>
                  <a:lnTo>
                    <a:pt x="20" y="0"/>
                  </a:lnTo>
                  <a:lnTo>
                    <a:pt x="20" y="17"/>
                  </a:lnTo>
                  <a:lnTo>
                    <a:pt x="41" y="17"/>
                  </a:lnTo>
                  <a:lnTo>
                    <a:pt x="41" y="0"/>
                  </a:lnTo>
                  <a:lnTo>
                    <a:pt x="41" y="17"/>
                  </a:lnTo>
                  <a:lnTo>
                    <a:pt x="41" y="37"/>
                  </a:lnTo>
                  <a:lnTo>
                    <a:pt x="60" y="54"/>
                  </a:lnTo>
                  <a:lnTo>
                    <a:pt x="60" y="71"/>
                  </a:lnTo>
                  <a:lnTo>
                    <a:pt x="41" y="90"/>
                  </a:lnTo>
                  <a:lnTo>
                    <a:pt x="41" y="108"/>
                  </a:lnTo>
                  <a:lnTo>
                    <a:pt x="60" y="127"/>
                  </a:lnTo>
                  <a:lnTo>
                    <a:pt x="81" y="127"/>
                  </a:lnTo>
                  <a:lnTo>
                    <a:pt x="81" y="142"/>
                  </a:lnTo>
                  <a:lnTo>
                    <a:pt x="100" y="142"/>
                  </a:lnTo>
                  <a:lnTo>
                    <a:pt x="100" y="159"/>
                  </a:lnTo>
                  <a:lnTo>
                    <a:pt x="119" y="159"/>
                  </a:lnTo>
                  <a:lnTo>
                    <a:pt x="119" y="179"/>
                  </a:lnTo>
                  <a:lnTo>
                    <a:pt x="100" y="159"/>
                  </a:lnTo>
                  <a:lnTo>
                    <a:pt x="81" y="142"/>
                  </a:lnTo>
                  <a:lnTo>
                    <a:pt x="81" y="159"/>
                  </a:lnTo>
                  <a:lnTo>
                    <a:pt x="60" y="142"/>
                  </a:lnTo>
                  <a:lnTo>
                    <a:pt x="41" y="142"/>
                  </a:lnTo>
                  <a:lnTo>
                    <a:pt x="20" y="142"/>
                  </a:lnTo>
                  <a:lnTo>
                    <a:pt x="20" y="127"/>
                  </a:lnTo>
                  <a:lnTo>
                    <a:pt x="20" y="108"/>
                  </a:lnTo>
                  <a:lnTo>
                    <a:pt x="0" y="108"/>
                  </a:lnTo>
                  <a:lnTo>
                    <a:pt x="0" y="90"/>
                  </a:lnTo>
                  <a:lnTo>
                    <a:pt x="0" y="71"/>
                  </a:lnTo>
                  <a:close/>
                </a:path>
              </a:pathLst>
            </a:custGeom>
            <a:solidFill>
              <a:srgbClr val="C0C0C0"/>
            </a:solidFill>
            <a:ln w="9525">
              <a:solidFill>
                <a:srgbClr val="C0C0C0"/>
              </a:solidFill>
              <a:round/>
              <a:headEnd/>
              <a:tailEnd/>
            </a:ln>
          </p:spPr>
          <p:txBody>
            <a:bodyPr/>
            <a:lstStyle/>
            <a:p>
              <a:endParaRPr lang="en-US"/>
            </a:p>
          </p:txBody>
        </p:sp>
        <p:sp>
          <p:nvSpPr>
            <p:cNvPr id="9352" name="Freeform 43"/>
            <p:cNvSpPr>
              <a:spLocks/>
            </p:cNvSpPr>
            <p:nvPr/>
          </p:nvSpPr>
          <p:spPr bwMode="auto">
            <a:xfrm>
              <a:off x="4838" y="2565"/>
              <a:ext cx="20" cy="17"/>
            </a:xfrm>
            <a:custGeom>
              <a:avLst/>
              <a:gdLst>
                <a:gd name="T0" fmla="*/ 0 w 41"/>
                <a:gd name="T1" fmla="*/ 1 h 34"/>
                <a:gd name="T2" fmla="*/ 0 w 41"/>
                <a:gd name="T3" fmla="*/ 1 h 34"/>
                <a:gd name="T4" fmla="*/ 0 w 41"/>
                <a:gd name="T5" fmla="*/ 1 h 34"/>
                <a:gd name="T6" fmla="*/ 0 w 41"/>
                <a:gd name="T7" fmla="*/ 1 h 34"/>
                <a:gd name="T8" fmla="*/ 0 w 41"/>
                <a:gd name="T9" fmla="*/ 1 h 34"/>
                <a:gd name="T10" fmla="*/ 0 w 41"/>
                <a:gd name="T11" fmla="*/ 1 h 34"/>
                <a:gd name="T12" fmla="*/ 0 w 41"/>
                <a:gd name="T13" fmla="*/ 0 h 34"/>
                <a:gd name="T14" fmla="*/ 0 w 41"/>
                <a:gd name="T15" fmla="*/ 0 h 34"/>
                <a:gd name="T16" fmla="*/ 0 w 41"/>
                <a:gd name="T17" fmla="*/ 0 h 34"/>
                <a:gd name="T18" fmla="*/ 0 w 41"/>
                <a:gd name="T19" fmla="*/ 0 h 34"/>
                <a:gd name="T20" fmla="*/ 0 w 41"/>
                <a:gd name="T21" fmla="*/ 1 h 34"/>
                <a:gd name="T22" fmla="*/ 0 w 41"/>
                <a:gd name="T23" fmla="*/ 1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34"/>
                <a:gd name="T38" fmla="*/ 41 w 41"/>
                <a:gd name="T39" fmla="*/ 34 h 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34">
                  <a:moveTo>
                    <a:pt x="41" y="34"/>
                  </a:moveTo>
                  <a:lnTo>
                    <a:pt x="21" y="17"/>
                  </a:lnTo>
                  <a:lnTo>
                    <a:pt x="21" y="34"/>
                  </a:lnTo>
                  <a:lnTo>
                    <a:pt x="41" y="34"/>
                  </a:lnTo>
                  <a:lnTo>
                    <a:pt x="21" y="34"/>
                  </a:lnTo>
                  <a:lnTo>
                    <a:pt x="21" y="17"/>
                  </a:lnTo>
                  <a:lnTo>
                    <a:pt x="21" y="0"/>
                  </a:lnTo>
                  <a:lnTo>
                    <a:pt x="0" y="0"/>
                  </a:lnTo>
                  <a:lnTo>
                    <a:pt x="21" y="0"/>
                  </a:lnTo>
                  <a:lnTo>
                    <a:pt x="41" y="0"/>
                  </a:lnTo>
                  <a:lnTo>
                    <a:pt x="41" y="17"/>
                  </a:lnTo>
                  <a:lnTo>
                    <a:pt x="41" y="34"/>
                  </a:lnTo>
                  <a:close/>
                </a:path>
              </a:pathLst>
            </a:custGeom>
            <a:solidFill>
              <a:srgbClr val="C0C0C0"/>
            </a:solidFill>
            <a:ln w="9525">
              <a:solidFill>
                <a:srgbClr val="C0C0C0"/>
              </a:solidFill>
              <a:round/>
              <a:headEnd/>
              <a:tailEnd/>
            </a:ln>
          </p:spPr>
          <p:txBody>
            <a:bodyPr/>
            <a:lstStyle/>
            <a:p>
              <a:endParaRPr lang="en-US"/>
            </a:p>
          </p:txBody>
        </p:sp>
        <p:sp>
          <p:nvSpPr>
            <p:cNvPr id="9353" name="Freeform 44"/>
            <p:cNvSpPr>
              <a:spLocks/>
            </p:cNvSpPr>
            <p:nvPr/>
          </p:nvSpPr>
          <p:spPr bwMode="auto">
            <a:xfrm>
              <a:off x="4818" y="2582"/>
              <a:ext cx="20" cy="18"/>
            </a:xfrm>
            <a:custGeom>
              <a:avLst/>
              <a:gdLst>
                <a:gd name="T0" fmla="*/ 1 w 38"/>
                <a:gd name="T1" fmla="*/ 0 h 37"/>
                <a:gd name="T2" fmla="*/ 1 w 38"/>
                <a:gd name="T3" fmla="*/ 0 h 37"/>
                <a:gd name="T4" fmla="*/ 1 w 38"/>
                <a:gd name="T5" fmla="*/ 0 h 37"/>
                <a:gd name="T6" fmla="*/ 0 w 38"/>
                <a:gd name="T7" fmla="*/ 0 h 37"/>
                <a:gd name="T8" fmla="*/ 0 w 38"/>
                <a:gd name="T9" fmla="*/ 0 h 37"/>
                <a:gd name="T10" fmla="*/ 1 w 38"/>
                <a:gd name="T11" fmla="*/ 0 h 37"/>
                <a:gd name="T12" fmla="*/ 1 w 38"/>
                <a:gd name="T13" fmla="*/ 0 h 37"/>
                <a:gd name="T14" fmla="*/ 0 60000 65536"/>
                <a:gd name="T15" fmla="*/ 0 60000 65536"/>
                <a:gd name="T16" fmla="*/ 0 60000 65536"/>
                <a:gd name="T17" fmla="*/ 0 60000 65536"/>
                <a:gd name="T18" fmla="*/ 0 60000 65536"/>
                <a:gd name="T19" fmla="*/ 0 60000 65536"/>
                <a:gd name="T20" fmla="*/ 0 60000 65536"/>
                <a:gd name="T21" fmla="*/ 0 w 38"/>
                <a:gd name="T22" fmla="*/ 0 h 37"/>
                <a:gd name="T23" fmla="*/ 38 w 38"/>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37">
                  <a:moveTo>
                    <a:pt x="38" y="0"/>
                  </a:moveTo>
                  <a:lnTo>
                    <a:pt x="19" y="19"/>
                  </a:lnTo>
                  <a:lnTo>
                    <a:pt x="19" y="37"/>
                  </a:lnTo>
                  <a:lnTo>
                    <a:pt x="0" y="19"/>
                  </a:lnTo>
                  <a:lnTo>
                    <a:pt x="0" y="0"/>
                  </a:lnTo>
                  <a:lnTo>
                    <a:pt x="19" y="0"/>
                  </a:lnTo>
                  <a:lnTo>
                    <a:pt x="38" y="0"/>
                  </a:lnTo>
                  <a:close/>
                </a:path>
              </a:pathLst>
            </a:custGeom>
            <a:solidFill>
              <a:srgbClr val="C0C0C0"/>
            </a:solidFill>
            <a:ln w="9525">
              <a:solidFill>
                <a:srgbClr val="C0C0C0"/>
              </a:solidFill>
              <a:round/>
              <a:headEnd/>
              <a:tailEnd/>
            </a:ln>
          </p:spPr>
          <p:txBody>
            <a:bodyPr/>
            <a:lstStyle/>
            <a:p>
              <a:endParaRPr lang="en-US"/>
            </a:p>
          </p:txBody>
        </p:sp>
        <p:sp>
          <p:nvSpPr>
            <p:cNvPr id="9354" name="Freeform 45"/>
            <p:cNvSpPr>
              <a:spLocks/>
            </p:cNvSpPr>
            <p:nvPr/>
          </p:nvSpPr>
          <p:spPr bwMode="auto">
            <a:xfrm>
              <a:off x="4748" y="2573"/>
              <a:ext cx="40" cy="36"/>
            </a:xfrm>
            <a:custGeom>
              <a:avLst/>
              <a:gdLst>
                <a:gd name="T0" fmla="*/ 0 w 79"/>
                <a:gd name="T1" fmla="*/ 1 h 71"/>
                <a:gd name="T2" fmla="*/ 0 w 79"/>
                <a:gd name="T3" fmla="*/ 1 h 71"/>
                <a:gd name="T4" fmla="*/ 1 w 79"/>
                <a:gd name="T5" fmla="*/ 1 h 71"/>
                <a:gd name="T6" fmla="*/ 1 w 79"/>
                <a:gd name="T7" fmla="*/ 1 h 71"/>
                <a:gd name="T8" fmla="*/ 1 w 79"/>
                <a:gd name="T9" fmla="*/ 0 h 71"/>
                <a:gd name="T10" fmla="*/ 1 w 79"/>
                <a:gd name="T11" fmla="*/ 1 h 71"/>
                <a:gd name="T12" fmla="*/ 1 w 79"/>
                <a:gd name="T13" fmla="*/ 1 h 71"/>
                <a:gd name="T14" fmla="*/ 1 w 79"/>
                <a:gd name="T15" fmla="*/ 1 h 71"/>
                <a:gd name="T16" fmla="*/ 1 w 79"/>
                <a:gd name="T17" fmla="*/ 1 h 71"/>
                <a:gd name="T18" fmla="*/ 1 w 79"/>
                <a:gd name="T19" fmla="*/ 1 h 71"/>
                <a:gd name="T20" fmla="*/ 0 w 79"/>
                <a:gd name="T21" fmla="*/ 1 h 71"/>
                <a:gd name="T22" fmla="*/ 0 w 79"/>
                <a:gd name="T23" fmla="*/ 1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9"/>
                <a:gd name="T37" fmla="*/ 0 h 71"/>
                <a:gd name="T38" fmla="*/ 79 w 79"/>
                <a:gd name="T39" fmla="*/ 71 h 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9" h="71">
                  <a:moveTo>
                    <a:pt x="0" y="71"/>
                  </a:moveTo>
                  <a:lnTo>
                    <a:pt x="0" y="36"/>
                  </a:lnTo>
                  <a:lnTo>
                    <a:pt x="40" y="17"/>
                  </a:lnTo>
                  <a:lnTo>
                    <a:pt x="59" y="17"/>
                  </a:lnTo>
                  <a:lnTo>
                    <a:pt x="59" y="0"/>
                  </a:lnTo>
                  <a:lnTo>
                    <a:pt x="59" y="17"/>
                  </a:lnTo>
                  <a:lnTo>
                    <a:pt x="79" y="17"/>
                  </a:lnTo>
                  <a:lnTo>
                    <a:pt x="59" y="17"/>
                  </a:lnTo>
                  <a:lnTo>
                    <a:pt x="40" y="17"/>
                  </a:lnTo>
                  <a:lnTo>
                    <a:pt x="19" y="54"/>
                  </a:lnTo>
                  <a:lnTo>
                    <a:pt x="0" y="54"/>
                  </a:lnTo>
                  <a:lnTo>
                    <a:pt x="0" y="71"/>
                  </a:lnTo>
                  <a:close/>
                </a:path>
              </a:pathLst>
            </a:custGeom>
            <a:solidFill>
              <a:srgbClr val="C0C0C0"/>
            </a:solidFill>
            <a:ln w="9525">
              <a:solidFill>
                <a:srgbClr val="C0C0C0"/>
              </a:solidFill>
              <a:round/>
              <a:headEnd/>
              <a:tailEnd/>
            </a:ln>
          </p:spPr>
          <p:txBody>
            <a:bodyPr/>
            <a:lstStyle/>
            <a:p>
              <a:endParaRPr lang="en-US"/>
            </a:p>
          </p:txBody>
        </p:sp>
        <p:sp>
          <p:nvSpPr>
            <p:cNvPr id="9355" name="Freeform 46"/>
            <p:cNvSpPr>
              <a:spLocks/>
            </p:cNvSpPr>
            <p:nvPr/>
          </p:nvSpPr>
          <p:spPr bwMode="auto">
            <a:xfrm>
              <a:off x="4808" y="2573"/>
              <a:ext cx="20" cy="9"/>
            </a:xfrm>
            <a:custGeom>
              <a:avLst/>
              <a:gdLst>
                <a:gd name="T0" fmla="*/ 1 w 40"/>
                <a:gd name="T1" fmla="*/ 0 h 17"/>
                <a:gd name="T2" fmla="*/ 1 w 40"/>
                <a:gd name="T3" fmla="*/ 0 h 17"/>
                <a:gd name="T4" fmla="*/ 1 w 40"/>
                <a:gd name="T5" fmla="*/ 1 h 17"/>
                <a:gd name="T6" fmla="*/ 0 w 40"/>
                <a:gd name="T7" fmla="*/ 1 h 17"/>
                <a:gd name="T8" fmla="*/ 0 w 40"/>
                <a:gd name="T9" fmla="*/ 0 h 17"/>
                <a:gd name="T10" fmla="*/ 1 w 40"/>
                <a:gd name="T11" fmla="*/ 0 h 17"/>
                <a:gd name="T12" fmla="*/ 0 60000 65536"/>
                <a:gd name="T13" fmla="*/ 0 60000 65536"/>
                <a:gd name="T14" fmla="*/ 0 60000 65536"/>
                <a:gd name="T15" fmla="*/ 0 60000 65536"/>
                <a:gd name="T16" fmla="*/ 0 60000 65536"/>
                <a:gd name="T17" fmla="*/ 0 60000 65536"/>
                <a:gd name="T18" fmla="*/ 0 w 40"/>
                <a:gd name="T19" fmla="*/ 0 h 17"/>
                <a:gd name="T20" fmla="*/ 40 w 40"/>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40" h="17">
                  <a:moveTo>
                    <a:pt x="21" y="0"/>
                  </a:moveTo>
                  <a:lnTo>
                    <a:pt x="40" y="0"/>
                  </a:lnTo>
                  <a:lnTo>
                    <a:pt x="21" y="17"/>
                  </a:lnTo>
                  <a:lnTo>
                    <a:pt x="0" y="17"/>
                  </a:lnTo>
                  <a:lnTo>
                    <a:pt x="0" y="0"/>
                  </a:lnTo>
                  <a:lnTo>
                    <a:pt x="21" y="0"/>
                  </a:lnTo>
                  <a:close/>
                </a:path>
              </a:pathLst>
            </a:custGeom>
            <a:solidFill>
              <a:srgbClr val="C0C0C0"/>
            </a:solidFill>
            <a:ln w="9525">
              <a:solidFill>
                <a:srgbClr val="C0C0C0"/>
              </a:solidFill>
              <a:round/>
              <a:headEnd/>
              <a:tailEnd/>
            </a:ln>
          </p:spPr>
          <p:txBody>
            <a:bodyPr/>
            <a:lstStyle/>
            <a:p>
              <a:endParaRPr lang="en-US"/>
            </a:p>
          </p:txBody>
        </p:sp>
        <p:sp>
          <p:nvSpPr>
            <p:cNvPr id="9356" name="Freeform 47"/>
            <p:cNvSpPr>
              <a:spLocks/>
            </p:cNvSpPr>
            <p:nvPr/>
          </p:nvSpPr>
          <p:spPr bwMode="auto">
            <a:xfrm>
              <a:off x="4838" y="2582"/>
              <a:ext cx="10" cy="10"/>
            </a:xfrm>
            <a:custGeom>
              <a:avLst/>
              <a:gdLst>
                <a:gd name="T0" fmla="*/ 0 w 21"/>
                <a:gd name="T1" fmla="*/ 0 h 19"/>
                <a:gd name="T2" fmla="*/ 0 w 21"/>
                <a:gd name="T3" fmla="*/ 1 h 19"/>
                <a:gd name="T4" fmla="*/ 0 w 21"/>
                <a:gd name="T5" fmla="*/ 1 h 19"/>
                <a:gd name="T6" fmla="*/ 0 w 21"/>
                <a:gd name="T7" fmla="*/ 0 h 19"/>
                <a:gd name="T8" fmla="*/ 0 60000 65536"/>
                <a:gd name="T9" fmla="*/ 0 60000 65536"/>
                <a:gd name="T10" fmla="*/ 0 60000 65536"/>
                <a:gd name="T11" fmla="*/ 0 60000 65536"/>
                <a:gd name="T12" fmla="*/ 0 w 21"/>
                <a:gd name="T13" fmla="*/ 0 h 19"/>
                <a:gd name="T14" fmla="*/ 21 w 21"/>
                <a:gd name="T15" fmla="*/ 19 h 19"/>
              </a:gdLst>
              <a:ahLst/>
              <a:cxnLst>
                <a:cxn ang="T8">
                  <a:pos x="T0" y="T1"/>
                </a:cxn>
                <a:cxn ang="T9">
                  <a:pos x="T2" y="T3"/>
                </a:cxn>
                <a:cxn ang="T10">
                  <a:pos x="T4" y="T5"/>
                </a:cxn>
                <a:cxn ang="T11">
                  <a:pos x="T6" y="T7"/>
                </a:cxn>
              </a:cxnLst>
              <a:rect l="T12" t="T13" r="T14" b="T15"/>
              <a:pathLst>
                <a:path w="21" h="19">
                  <a:moveTo>
                    <a:pt x="21" y="0"/>
                  </a:moveTo>
                  <a:lnTo>
                    <a:pt x="21" y="19"/>
                  </a:lnTo>
                  <a:lnTo>
                    <a:pt x="0" y="19"/>
                  </a:lnTo>
                  <a:lnTo>
                    <a:pt x="21" y="0"/>
                  </a:lnTo>
                  <a:close/>
                </a:path>
              </a:pathLst>
            </a:custGeom>
            <a:solidFill>
              <a:srgbClr val="C0C0C0"/>
            </a:solidFill>
            <a:ln w="9525">
              <a:solidFill>
                <a:srgbClr val="C0C0C0"/>
              </a:solidFill>
              <a:round/>
              <a:headEnd/>
              <a:tailEnd/>
            </a:ln>
          </p:spPr>
          <p:txBody>
            <a:bodyPr/>
            <a:lstStyle/>
            <a:p>
              <a:endParaRPr lang="en-US"/>
            </a:p>
          </p:txBody>
        </p:sp>
        <p:sp>
          <p:nvSpPr>
            <p:cNvPr id="9357" name="Freeform 48"/>
            <p:cNvSpPr>
              <a:spLocks/>
            </p:cNvSpPr>
            <p:nvPr/>
          </p:nvSpPr>
          <p:spPr bwMode="auto">
            <a:xfrm>
              <a:off x="4828" y="2565"/>
              <a:ext cx="10" cy="8"/>
            </a:xfrm>
            <a:custGeom>
              <a:avLst/>
              <a:gdLst>
                <a:gd name="T0" fmla="*/ 0 w 19"/>
                <a:gd name="T1" fmla="*/ 0 h 17"/>
                <a:gd name="T2" fmla="*/ 1 w 19"/>
                <a:gd name="T3" fmla="*/ 0 h 17"/>
                <a:gd name="T4" fmla="*/ 1 w 19"/>
                <a:gd name="T5" fmla="*/ 0 h 17"/>
                <a:gd name="T6" fmla="*/ 0 w 19"/>
                <a:gd name="T7" fmla="*/ 0 h 17"/>
                <a:gd name="T8" fmla="*/ 0 60000 65536"/>
                <a:gd name="T9" fmla="*/ 0 60000 65536"/>
                <a:gd name="T10" fmla="*/ 0 60000 65536"/>
                <a:gd name="T11" fmla="*/ 0 60000 65536"/>
                <a:gd name="T12" fmla="*/ 0 w 19"/>
                <a:gd name="T13" fmla="*/ 0 h 17"/>
                <a:gd name="T14" fmla="*/ 19 w 19"/>
                <a:gd name="T15" fmla="*/ 17 h 17"/>
              </a:gdLst>
              <a:ahLst/>
              <a:cxnLst>
                <a:cxn ang="T8">
                  <a:pos x="T0" y="T1"/>
                </a:cxn>
                <a:cxn ang="T9">
                  <a:pos x="T2" y="T3"/>
                </a:cxn>
                <a:cxn ang="T10">
                  <a:pos x="T4" y="T5"/>
                </a:cxn>
                <a:cxn ang="T11">
                  <a:pos x="T6" y="T7"/>
                </a:cxn>
              </a:cxnLst>
              <a:rect l="T12" t="T13" r="T14" b="T15"/>
              <a:pathLst>
                <a:path w="19" h="17">
                  <a:moveTo>
                    <a:pt x="0" y="0"/>
                  </a:moveTo>
                  <a:lnTo>
                    <a:pt x="19" y="0"/>
                  </a:lnTo>
                  <a:lnTo>
                    <a:pt x="19" y="17"/>
                  </a:lnTo>
                  <a:lnTo>
                    <a:pt x="0" y="0"/>
                  </a:lnTo>
                  <a:close/>
                </a:path>
              </a:pathLst>
            </a:custGeom>
            <a:solidFill>
              <a:srgbClr val="C0C0C0"/>
            </a:solidFill>
            <a:ln w="9525">
              <a:solidFill>
                <a:srgbClr val="C0C0C0"/>
              </a:solidFill>
              <a:round/>
              <a:headEnd/>
              <a:tailEnd/>
            </a:ln>
          </p:spPr>
          <p:txBody>
            <a:bodyPr/>
            <a:lstStyle/>
            <a:p>
              <a:endParaRPr lang="en-US"/>
            </a:p>
          </p:txBody>
        </p:sp>
        <p:sp>
          <p:nvSpPr>
            <p:cNvPr id="9358" name="Freeform 49"/>
            <p:cNvSpPr>
              <a:spLocks/>
            </p:cNvSpPr>
            <p:nvPr/>
          </p:nvSpPr>
          <p:spPr bwMode="auto">
            <a:xfrm>
              <a:off x="4788" y="2547"/>
              <a:ext cx="10" cy="18"/>
            </a:xfrm>
            <a:custGeom>
              <a:avLst/>
              <a:gdLst>
                <a:gd name="T0" fmla="*/ 0 w 21"/>
                <a:gd name="T1" fmla="*/ 0 h 37"/>
                <a:gd name="T2" fmla="*/ 0 w 21"/>
                <a:gd name="T3" fmla="*/ 0 h 37"/>
                <a:gd name="T4" fmla="*/ 0 w 21"/>
                <a:gd name="T5" fmla="*/ 0 h 37"/>
                <a:gd name="T6" fmla="*/ 0 w 21"/>
                <a:gd name="T7" fmla="*/ 0 h 37"/>
                <a:gd name="T8" fmla="*/ 0 w 21"/>
                <a:gd name="T9" fmla="*/ 0 h 37"/>
                <a:gd name="T10" fmla="*/ 0 w 21"/>
                <a:gd name="T11" fmla="*/ 0 h 37"/>
                <a:gd name="T12" fmla="*/ 0 60000 65536"/>
                <a:gd name="T13" fmla="*/ 0 60000 65536"/>
                <a:gd name="T14" fmla="*/ 0 60000 65536"/>
                <a:gd name="T15" fmla="*/ 0 60000 65536"/>
                <a:gd name="T16" fmla="*/ 0 60000 65536"/>
                <a:gd name="T17" fmla="*/ 0 60000 65536"/>
                <a:gd name="T18" fmla="*/ 0 w 21"/>
                <a:gd name="T19" fmla="*/ 0 h 37"/>
                <a:gd name="T20" fmla="*/ 21 w 21"/>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1" h="37">
                  <a:moveTo>
                    <a:pt x="21" y="37"/>
                  </a:moveTo>
                  <a:lnTo>
                    <a:pt x="0" y="37"/>
                  </a:lnTo>
                  <a:lnTo>
                    <a:pt x="0" y="17"/>
                  </a:lnTo>
                  <a:lnTo>
                    <a:pt x="0" y="0"/>
                  </a:lnTo>
                  <a:lnTo>
                    <a:pt x="21" y="17"/>
                  </a:lnTo>
                  <a:lnTo>
                    <a:pt x="21" y="37"/>
                  </a:lnTo>
                  <a:close/>
                </a:path>
              </a:pathLst>
            </a:custGeom>
            <a:solidFill>
              <a:srgbClr val="C0C0C0"/>
            </a:solidFill>
            <a:ln w="9525">
              <a:solidFill>
                <a:srgbClr val="C0C0C0"/>
              </a:solidFill>
              <a:round/>
              <a:headEnd/>
              <a:tailEnd/>
            </a:ln>
          </p:spPr>
          <p:txBody>
            <a:bodyPr/>
            <a:lstStyle/>
            <a:p>
              <a:endParaRPr lang="en-US"/>
            </a:p>
          </p:txBody>
        </p:sp>
        <p:sp>
          <p:nvSpPr>
            <p:cNvPr id="9359" name="Freeform 50"/>
            <p:cNvSpPr>
              <a:spLocks/>
            </p:cNvSpPr>
            <p:nvPr/>
          </p:nvSpPr>
          <p:spPr bwMode="auto">
            <a:xfrm>
              <a:off x="4778" y="2377"/>
              <a:ext cx="20" cy="35"/>
            </a:xfrm>
            <a:custGeom>
              <a:avLst/>
              <a:gdLst>
                <a:gd name="T0" fmla="*/ 0 w 41"/>
                <a:gd name="T1" fmla="*/ 0 h 71"/>
                <a:gd name="T2" fmla="*/ 0 w 41"/>
                <a:gd name="T3" fmla="*/ 0 h 71"/>
                <a:gd name="T4" fmla="*/ 0 w 41"/>
                <a:gd name="T5" fmla="*/ 0 h 71"/>
                <a:gd name="T6" fmla="*/ 0 w 41"/>
                <a:gd name="T7" fmla="*/ 0 h 71"/>
                <a:gd name="T8" fmla="*/ 0 w 41"/>
                <a:gd name="T9" fmla="*/ 0 h 71"/>
                <a:gd name="T10" fmla="*/ 0 w 41"/>
                <a:gd name="T11" fmla="*/ 0 h 71"/>
                <a:gd name="T12" fmla="*/ 0 w 41"/>
                <a:gd name="T13" fmla="*/ 0 h 71"/>
                <a:gd name="T14" fmla="*/ 0 w 41"/>
                <a:gd name="T15" fmla="*/ 0 h 71"/>
                <a:gd name="T16" fmla="*/ 0 w 41"/>
                <a:gd name="T17" fmla="*/ 0 h 7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71"/>
                <a:gd name="T29" fmla="*/ 41 w 41"/>
                <a:gd name="T30" fmla="*/ 71 h 7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71">
                  <a:moveTo>
                    <a:pt x="20" y="71"/>
                  </a:moveTo>
                  <a:lnTo>
                    <a:pt x="0" y="71"/>
                  </a:lnTo>
                  <a:lnTo>
                    <a:pt x="0" y="54"/>
                  </a:lnTo>
                  <a:lnTo>
                    <a:pt x="20" y="37"/>
                  </a:lnTo>
                  <a:lnTo>
                    <a:pt x="20" y="18"/>
                  </a:lnTo>
                  <a:lnTo>
                    <a:pt x="41" y="0"/>
                  </a:lnTo>
                  <a:lnTo>
                    <a:pt x="41" y="18"/>
                  </a:lnTo>
                  <a:lnTo>
                    <a:pt x="41" y="71"/>
                  </a:lnTo>
                  <a:lnTo>
                    <a:pt x="20" y="71"/>
                  </a:lnTo>
                  <a:close/>
                </a:path>
              </a:pathLst>
            </a:custGeom>
            <a:solidFill>
              <a:srgbClr val="C0C0C0"/>
            </a:solidFill>
            <a:ln w="9525">
              <a:solidFill>
                <a:srgbClr val="C0C0C0"/>
              </a:solidFill>
              <a:round/>
              <a:headEnd/>
              <a:tailEnd/>
            </a:ln>
          </p:spPr>
          <p:txBody>
            <a:bodyPr/>
            <a:lstStyle/>
            <a:p>
              <a:endParaRPr lang="en-US"/>
            </a:p>
          </p:txBody>
        </p:sp>
        <p:sp>
          <p:nvSpPr>
            <p:cNvPr id="9360" name="Freeform 51"/>
            <p:cNvSpPr>
              <a:spLocks/>
            </p:cNvSpPr>
            <p:nvPr/>
          </p:nvSpPr>
          <p:spPr bwMode="auto">
            <a:xfrm>
              <a:off x="4929" y="2242"/>
              <a:ext cx="30" cy="45"/>
            </a:xfrm>
            <a:custGeom>
              <a:avLst/>
              <a:gdLst>
                <a:gd name="T0" fmla="*/ 1 w 59"/>
                <a:gd name="T1" fmla="*/ 1 h 90"/>
                <a:gd name="T2" fmla="*/ 1 w 59"/>
                <a:gd name="T3" fmla="*/ 1 h 90"/>
                <a:gd name="T4" fmla="*/ 1 w 59"/>
                <a:gd name="T5" fmla="*/ 1 h 90"/>
                <a:gd name="T6" fmla="*/ 1 w 59"/>
                <a:gd name="T7" fmla="*/ 1 h 90"/>
                <a:gd name="T8" fmla="*/ 0 w 59"/>
                <a:gd name="T9" fmla="*/ 1 h 90"/>
                <a:gd name="T10" fmla="*/ 0 w 59"/>
                <a:gd name="T11" fmla="*/ 1 h 90"/>
                <a:gd name="T12" fmla="*/ 0 w 59"/>
                <a:gd name="T13" fmla="*/ 1 h 90"/>
                <a:gd name="T14" fmla="*/ 1 w 59"/>
                <a:gd name="T15" fmla="*/ 1 h 90"/>
                <a:gd name="T16" fmla="*/ 1 w 59"/>
                <a:gd name="T17" fmla="*/ 0 h 90"/>
                <a:gd name="T18" fmla="*/ 1 w 59"/>
                <a:gd name="T19" fmla="*/ 1 h 90"/>
                <a:gd name="T20" fmla="*/ 1 w 59"/>
                <a:gd name="T21" fmla="*/ 1 h 90"/>
                <a:gd name="T22" fmla="*/ 1 w 59"/>
                <a:gd name="T23" fmla="*/ 1 h 90"/>
                <a:gd name="T24" fmla="*/ 1 w 59"/>
                <a:gd name="T25" fmla="*/ 1 h 90"/>
                <a:gd name="T26" fmla="*/ 1 w 59"/>
                <a:gd name="T27" fmla="*/ 1 h 90"/>
                <a:gd name="T28" fmla="*/ 1 w 59"/>
                <a:gd name="T29" fmla="*/ 1 h 90"/>
                <a:gd name="T30" fmla="*/ 1 w 59"/>
                <a:gd name="T31" fmla="*/ 1 h 90"/>
                <a:gd name="T32" fmla="*/ 1 w 59"/>
                <a:gd name="T33" fmla="*/ 1 h 90"/>
                <a:gd name="T34" fmla="*/ 1 w 59"/>
                <a:gd name="T35" fmla="*/ 1 h 9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9"/>
                <a:gd name="T55" fmla="*/ 0 h 90"/>
                <a:gd name="T56" fmla="*/ 59 w 59"/>
                <a:gd name="T57" fmla="*/ 90 h 9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9" h="90">
                  <a:moveTo>
                    <a:pt x="21" y="53"/>
                  </a:moveTo>
                  <a:lnTo>
                    <a:pt x="40" y="53"/>
                  </a:lnTo>
                  <a:lnTo>
                    <a:pt x="21" y="36"/>
                  </a:lnTo>
                  <a:lnTo>
                    <a:pt x="21" y="53"/>
                  </a:lnTo>
                  <a:lnTo>
                    <a:pt x="0" y="53"/>
                  </a:lnTo>
                  <a:lnTo>
                    <a:pt x="0" y="36"/>
                  </a:lnTo>
                  <a:lnTo>
                    <a:pt x="0" y="19"/>
                  </a:lnTo>
                  <a:lnTo>
                    <a:pt x="21" y="19"/>
                  </a:lnTo>
                  <a:lnTo>
                    <a:pt x="40" y="0"/>
                  </a:lnTo>
                  <a:lnTo>
                    <a:pt x="40" y="19"/>
                  </a:lnTo>
                  <a:lnTo>
                    <a:pt x="59" y="19"/>
                  </a:lnTo>
                  <a:lnTo>
                    <a:pt x="59" y="36"/>
                  </a:lnTo>
                  <a:lnTo>
                    <a:pt x="59" y="53"/>
                  </a:lnTo>
                  <a:lnTo>
                    <a:pt x="40" y="53"/>
                  </a:lnTo>
                  <a:lnTo>
                    <a:pt x="40" y="90"/>
                  </a:lnTo>
                  <a:lnTo>
                    <a:pt x="21" y="90"/>
                  </a:lnTo>
                  <a:lnTo>
                    <a:pt x="21" y="73"/>
                  </a:lnTo>
                  <a:lnTo>
                    <a:pt x="21" y="53"/>
                  </a:lnTo>
                  <a:close/>
                </a:path>
              </a:pathLst>
            </a:custGeom>
            <a:solidFill>
              <a:srgbClr val="C0C0C0"/>
            </a:solidFill>
            <a:ln w="9525">
              <a:solidFill>
                <a:srgbClr val="C0C0C0"/>
              </a:solidFill>
              <a:round/>
              <a:headEnd/>
              <a:tailEnd/>
            </a:ln>
          </p:spPr>
          <p:txBody>
            <a:bodyPr/>
            <a:lstStyle/>
            <a:p>
              <a:endParaRPr lang="en-US"/>
            </a:p>
          </p:txBody>
        </p:sp>
        <p:sp>
          <p:nvSpPr>
            <p:cNvPr id="9361" name="Freeform 52"/>
            <p:cNvSpPr>
              <a:spLocks/>
            </p:cNvSpPr>
            <p:nvPr/>
          </p:nvSpPr>
          <p:spPr bwMode="auto">
            <a:xfrm>
              <a:off x="4969" y="2234"/>
              <a:ext cx="40" cy="27"/>
            </a:xfrm>
            <a:custGeom>
              <a:avLst/>
              <a:gdLst>
                <a:gd name="T0" fmla="*/ 0 w 81"/>
                <a:gd name="T1" fmla="*/ 1 h 54"/>
                <a:gd name="T2" fmla="*/ 0 w 81"/>
                <a:gd name="T3" fmla="*/ 1 h 54"/>
                <a:gd name="T4" fmla="*/ 0 w 81"/>
                <a:gd name="T5" fmla="*/ 1 h 54"/>
                <a:gd name="T6" fmla="*/ 0 w 81"/>
                <a:gd name="T7" fmla="*/ 1 h 54"/>
                <a:gd name="T8" fmla="*/ 0 w 81"/>
                <a:gd name="T9" fmla="*/ 1 h 54"/>
                <a:gd name="T10" fmla="*/ 0 w 81"/>
                <a:gd name="T11" fmla="*/ 1 h 54"/>
                <a:gd name="T12" fmla="*/ 0 w 81"/>
                <a:gd name="T13" fmla="*/ 1 h 54"/>
                <a:gd name="T14" fmla="*/ 0 w 81"/>
                <a:gd name="T15" fmla="*/ 1 h 54"/>
                <a:gd name="T16" fmla="*/ 0 w 81"/>
                <a:gd name="T17" fmla="*/ 1 h 54"/>
                <a:gd name="T18" fmla="*/ 0 w 81"/>
                <a:gd name="T19" fmla="*/ 0 h 54"/>
                <a:gd name="T20" fmla="*/ 0 w 81"/>
                <a:gd name="T21" fmla="*/ 0 h 54"/>
                <a:gd name="T22" fmla="*/ 0 w 81"/>
                <a:gd name="T23" fmla="*/ 0 h 54"/>
                <a:gd name="T24" fmla="*/ 0 w 81"/>
                <a:gd name="T25" fmla="*/ 1 h 54"/>
                <a:gd name="T26" fmla="*/ 0 w 81"/>
                <a:gd name="T27" fmla="*/ 1 h 5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1"/>
                <a:gd name="T43" fmla="*/ 0 h 54"/>
                <a:gd name="T44" fmla="*/ 81 w 81"/>
                <a:gd name="T45" fmla="*/ 54 h 5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1" h="54">
                  <a:moveTo>
                    <a:pt x="60" y="37"/>
                  </a:moveTo>
                  <a:lnTo>
                    <a:pt x="41" y="37"/>
                  </a:lnTo>
                  <a:lnTo>
                    <a:pt x="41" y="54"/>
                  </a:lnTo>
                  <a:lnTo>
                    <a:pt x="20" y="54"/>
                  </a:lnTo>
                  <a:lnTo>
                    <a:pt x="20" y="37"/>
                  </a:lnTo>
                  <a:lnTo>
                    <a:pt x="0" y="37"/>
                  </a:lnTo>
                  <a:lnTo>
                    <a:pt x="0" y="18"/>
                  </a:lnTo>
                  <a:lnTo>
                    <a:pt x="20" y="18"/>
                  </a:lnTo>
                  <a:lnTo>
                    <a:pt x="41" y="18"/>
                  </a:lnTo>
                  <a:lnTo>
                    <a:pt x="41" y="0"/>
                  </a:lnTo>
                  <a:lnTo>
                    <a:pt x="60" y="0"/>
                  </a:lnTo>
                  <a:lnTo>
                    <a:pt x="81" y="0"/>
                  </a:lnTo>
                  <a:lnTo>
                    <a:pt x="81" y="37"/>
                  </a:lnTo>
                  <a:lnTo>
                    <a:pt x="60" y="37"/>
                  </a:lnTo>
                  <a:close/>
                </a:path>
              </a:pathLst>
            </a:custGeom>
            <a:solidFill>
              <a:srgbClr val="C0C0C0"/>
            </a:solidFill>
            <a:ln w="9525">
              <a:solidFill>
                <a:srgbClr val="C0C0C0"/>
              </a:solidFill>
              <a:round/>
              <a:headEnd/>
              <a:tailEnd/>
            </a:ln>
          </p:spPr>
          <p:txBody>
            <a:bodyPr/>
            <a:lstStyle/>
            <a:p>
              <a:endParaRPr lang="en-US"/>
            </a:p>
          </p:txBody>
        </p:sp>
        <p:sp>
          <p:nvSpPr>
            <p:cNvPr id="9362" name="Freeform 53"/>
            <p:cNvSpPr>
              <a:spLocks/>
            </p:cNvSpPr>
            <p:nvPr/>
          </p:nvSpPr>
          <p:spPr bwMode="auto">
            <a:xfrm>
              <a:off x="4949" y="2126"/>
              <a:ext cx="170" cy="126"/>
            </a:xfrm>
            <a:custGeom>
              <a:avLst/>
              <a:gdLst>
                <a:gd name="T0" fmla="*/ 1 w 340"/>
                <a:gd name="T1" fmla="*/ 1 h 252"/>
                <a:gd name="T2" fmla="*/ 1 w 340"/>
                <a:gd name="T3" fmla="*/ 1 h 252"/>
                <a:gd name="T4" fmla="*/ 1 w 340"/>
                <a:gd name="T5" fmla="*/ 1 h 252"/>
                <a:gd name="T6" fmla="*/ 1 w 340"/>
                <a:gd name="T7" fmla="*/ 1 h 252"/>
                <a:gd name="T8" fmla="*/ 1 w 340"/>
                <a:gd name="T9" fmla="*/ 1 h 252"/>
                <a:gd name="T10" fmla="*/ 1 w 340"/>
                <a:gd name="T11" fmla="*/ 1 h 252"/>
                <a:gd name="T12" fmla="*/ 1 w 340"/>
                <a:gd name="T13" fmla="*/ 1 h 252"/>
                <a:gd name="T14" fmla="*/ 0 w 340"/>
                <a:gd name="T15" fmla="*/ 1 h 252"/>
                <a:gd name="T16" fmla="*/ 0 w 340"/>
                <a:gd name="T17" fmla="*/ 1 h 252"/>
                <a:gd name="T18" fmla="*/ 1 w 340"/>
                <a:gd name="T19" fmla="*/ 1 h 252"/>
                <a:gd name="T20" fmla="*/ 1 w 340"/>
                <a:gd name="T21" fmla="*/ 1 h 252"/>
                <a:gd name="T22" fmla="*/ 1 w 340"/>
                <a:gd name="T23" fmla="*/ 1 h 252"/>
                <a:gd name="T24" fmla="*/ 1 w 340"/>
                <a:gd name="T25" fmla="*/ 1 h 252"/>
                <a:gd name="T26" fmla="*/ 1 w 340"/>
                <a:gd name="T27" fmla="*/ 1 h 252"/>
                <a:gd name="T28" fmla="*/ 1 w 340"/>
                <a:gd name="T29" fmla="*/ 1 h 252"/>
                <a:gd name="T30" fmla="*/ 1 w 340"/>
                <a:gd name="T31" fmla="*/ 1 h 252"/>
                <a:gd name="T32" fmla="*/ 1 w 340"/>
                <a:gd name="T33" fmla="*/ 1 h 252"/>
                <a:gd name="T34" fmla="*/ 1 w 340"/>
                <a:gd name="T35" fmla="*/ 1 h 252"/>
                <a:gd name="T36" fmla="*/ 1 w 340"/>
                <a:gd name="T37" fmla="*/ 1 h 252"/>
                <a:gd name="T38" fmla="*/ 1 w 340"/>
                <a:gd name="T39" fmla="*/ 1 h 252"/>
                <a:gd name="T40" fmla="*/ 1 w 340"/>
                <a:gd name="T41" fmla="*/ 1 h 252"/>
                <a:gd name="T42" fmla="*/ 1 w 340"/>
                <a:gd name="T43" fmla="*/ 1 h 252"/>
                <a:gd name="T44" fmla="*/ 1 w 340"/>
                <a:gd name="T45" fmla="*/ 1 h 252"/>
                <a:gd name="T46" fmla="*/ 1 w 340"/>
                <a:gd name="T47" fmla="*/ 1 h 252"/>
                <a:gd name="T48" fmla="*/ 1 w 340"/>
                <a:gd name="T49" fmla="*/ 1 h 252"/>
                <a:gd name="T50" fmla="*/ 1 w 340"/>
                <a:gd name="T51" fmla="*/ 1 h 252"/>
                <a:gd name="T52" fmla="*/ 1 w 340"/>
                <a:gd name="T53" fmla="*/ 0 h 252"/>
                <a:gd name="T54" fmla="*/ 1 w 340"/>
                <a:gd name="T55" fmla="*/ 0 h 252"/>
                <a:gd name="T56" fmla="*/ 1 w 340"/>
                <a:gd name="T57" fmla="*/ 0 h 252"/>
                <a:gd name="T58" fmla="*/ 1 w 340"/>
                <a:gd name="T59" fmla="*/ 0 h 252"/>
                <a:gd name="T60" fmla="*/ 1 w 340"/>
                <a:gd name="T61" fmla="*/ 1 h 252"/>
                <a:gd name="T62" fmla="*/ 1 w 340"/>
                <a:gd name="T63" fmla="*/ 1 h 252"/>
                <a:gd name="T64" fmla="*/ 1 w 340"/>
                <a:gd name="T65" fmla="*/ 1 h 252"/>
                <a:gd name="T66" fmla="*/ 1 w 340"/>
                <a:gd name="T67" fmla="*/ 1 h 252"/>
                <a:gd name="T68" fmla="*/ 1 w 340"/>
                <a:gd name="T69" fmla="*/ 1 h 252"/>
                <a:gd name="T70" fmla="*/ 1 w 340"/>
                <a:gd name="T71" fmla="*/ 1 h 252"/>
                <a:gd name="T72" fmla="*/ 1 w 340"/>
                <a:gd name="T73" fmla="*/ 1 h 252"/>
                <a:gd name="T74" fmla="*/ 1 w 340"/>
                <a:gd name="T75" fmla="*/ 1 h 252"/>
                <a:gd name="T76" fmla="*/ 1 w 340"/>
                <a:gd name="T77" fmla="*/ 1 h 252"/>
                <a:gd name="T78" fmla="*/ 1 w 340"/>
                <a:gd name="T79" fmla="*/ 1 h 252"/>
                <a:gd name="T80" fmla="*/ 1 w 340"/>
                <a:gd name="T81" fmla="*/ 1 h 252"/>
                <a:gd name="T82" fmla="*/ 1 w 340"/>
                <a:gd name="T83" fmla="*/ 1 h 252"/>
                <a:gd name="T84" fmla="*/ 1 w 340"/>
                <a:gd name="T85" fmla="*/ 1 h 252"/>
                <a:gd name="T86" fmla="*/ 1 w 340"/>
                <a:gd name="T87" fmla="*/ 1 h 252"/>
                <a:gd name="T88" fmla="*/ 1 w 340"/>
                <a:gd name="T89" fmla="*/ 1 h 252"/>
                <a:gd name="T90" fmla="*/ 1 w 340"/>
                <a:gd name="T91" fmla="*/ 1 h 252"/>
                <a:gd name="T92" fmla="*/ 1 w 340"/>
                <a:gd name="T93" fmla="*/ 1 h 252"/>
                <a:gd name="T94" fmla="*/ 1 w 340"/>
                <a:gd name="T95" fmla="*/ 1 h 252"/>
                <a:gd name="T96" fmla="*/ 1 w 340"/>
                <a:gd name="T97" fmla="*/ 1 h 252"/>
                <a:gd name="T98" fmla="*/ 1 w 340"/>
                <a:gd name="T99" fmla="*/ 1 h 252"/>
                <a:gd name="T100" fmla="*/ 1 w 340"/>
                <a:gd name="T101" fmla="*/ 1 h 252"/>
                <a:gd name="T102" fmla="*/ 1 w 340"/>
                <a:gd name="T103" fmla="*/ 1 h 252"/>
                <a:gd name="T104" fmla="*/ 1 w 340"/>
                <a:gd name="T105" fmla="*/ 1 h 252"/>
                <a:gd name="T106" fmla="*/ 1 w 340"/>
                <a:gd name="T107" fmla="*/ 1 h 252"/>
                <a:gd name="T108" fmla="*/ 1 w 340"/>
                <a:gd name="T109" fmla="*/ 1 h 252"/>
                <a:gd name="T110" fmla="*/ 1 w 340"/>
                <a:gd name="T111" fmla="*/ 1 h 252"/>
                <a:gd name="T112" fmla="*/ 1 w 340"/>
                <a:gd name="T113" fmla="*/ 1 h 25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40"/>
                <a:gd name="T172" fmla="*/ 0 h 252"/>
                <a:gd name="T173" fmla="*/ 340 w 340"/>
                <a:gd name="T174" fmla="*/ 252 h 25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40" h="252">
                  <a:moveTo>
                    <a:pt x="140" y="233"/>
                  </a:moveTo>
                  <a:lnTo>
                    <a:pt x="140" y="215"/>
                  </a:lnTo>
                  <a:lnTo>
                    <a:pt x="121" y="215"/>
                  </a:lnTo>
                  <a:lnTo>
                    <a:pt x="100" y="215"/>
                  </a:lnTo>
                  <a:lnTo>
                    <a:pt x="81" y="215"/>
                  </a:lnTo>
                  <a:lnTo>
                    <a:pt x="60" y="215"/>
                  </a:lnTo>
                  <a:lnTo>
                    <a:pt x="40" y="215"/>
                  </a:lnTo>
                  <a:lnTo>
                    <a:pt x="0" y="233"/>
                  </a:lnTo>
                  <a:lnTo>
                    <a:pt x="0" y="215"/>
                  </a:lnTo>
                  <a:lnTo>
                    <a:pt x="19" y="215"/>
                  </a:lnTo>
                  <a:lnTo>
                    <a:pt x="60" y="196"/>
                  </a:lnTo>
                  <a:lnTo>
                    <a:pt x="81" y="179"/>
                  </a:lnTo>
                  <a:lnTo>
                    <a:pt x="100" y="179"/>
                  </a:lnTo>
                  <a:lnTo>
                    <a:pt x="121" y="179"/>
                  </a:lnTo>
                  <a:lnTo>
                    <a:pt x="140" y="179"/>
                  </a:lnTo>
                  <a:lnTo>
                    <a:pt x="140" y="162"/>
                  </a:lnTo>
                  <a:lnTo>
                    <a:pt x="159" y="162"/>
                  </a:lnTo>
                  <a:lnTo>
                    <a:pt x="180" y="162"/>
                  </a:lnTo>
                  <a:lnTo>
                    <a:pt x="180" y="142"/>
                  </a:lnTo>
                  <a:lnTo>
                    <a:pt x="200" y="142"/>
                  </a:lnTo>
                  <a:lnTo>
                    <a:pt x="200" y="125"/>
                  </a:lnTo>
                  <a:lnTo>
                    <a:pt x="200" y="142"/>
                  </a:lnTo>
                  <a:lnTo>
                    <a:pt x="221" y="125"/>
                  </a:lnTo>
                  <a:lnTo>
                    <a:pt x="259" y="110"/>
                  </a:lnTo>
                  <a:lnTo>
                    <a:pt x="280" y="91"/>
                  </a:lnTo>
                  <a:lnTo>
                    <a:pt x="280" y="37"/>
                  </a:lnTo>
                  <a:lnTo>
                    <a:pt x="280" y="0"/>
                  </a:lnTo>
                  <a:lnTo>
                    <a:pt x="299" y="0"/>
                  </a:lnTo>
                  <a:lnTo>
                    <a:pt x="321" y="0"/>
                  </a:lnTo>
                  <a:lnTo>
                    <a:pt x="340" y="0"/>
                  </a:lnTo>
                  <a:lnTo>
                    <a:pt x="340" y="20"/>
                  </a:lnTo>
                  <a:lnTo>
                    <a:pt x="340" y="37"/>
                  </a:lnTo>
                  <a:lnTo>
                    <a:pt x="340" y="54"/>
                  </a:lnTo>
                  <a:lnTo>
                    <a:pt x="340" y="73"/>
                  </a:lnTo>
                  <a:lnTo>
                    <a:pt x="340" y="91"/>
                  </a:lnTo>
                  <a:lnTo>
                    <a:pt x="321" y="91"/>
                  </a:lnTo>
                  <a:lnTo>
                    <a:pt x="321" y="110"/>
                  </a:lnTo>
                  <a:lnTo>
                    <a:pt x="321" y="125"/>
                  </a:lnTo>
                  <a:lnTo>
                    <a:pt x="321" y="142"/>
                  </a:lnTo>
                  <a:lnTo>
                    <a:pt x="299" y="142"/>
                  </a:lnTo>
                  <a:lnTo>
                    <a:pt x="299" y="162"/>
                  </a:lnTo>
                  <a:lnTo>
                    <a:pt x="299" y="179"/>
                  </a:lnTo>
                  <a:lnTo>
                    <a:pt x="299" y="196"/>
                  </a:lnTo>
                  <a:lnTo>
                    <a:pt x="280" y="196"/>
                  </a:lnTo>
                  <a:lnTo>
                    <a:pt x="280" y="179"/>
                  </a:lnTo>
                  <a:lnTo>
                    <a:pt x="280" y="196"/>
                  </a:lnTo>
                  <a:lnTo>
                    <a:pt x="259" y="196"/>
                  </a:lnTo>
                  <a:lnTo>
                    <a:pt x="259" y="215"/>
                  </a:lnTo>
                  <a:lnTo>
                    <a:pt x="240" y="215"/>
                  </a:lnTo>
                  <a:lnTo>
                    <a:pt x="221" y="215"/>
                  </a:lnTo>
                  <a:lnTo>
                    <a:pt x="200" y="215"/>
                  </a:lnTo>
                  <a:lnTo>
                    <a:pt x="180" y="196"/>
                  </a:lnTo>
                  <a:lnTo>
                    <a:pt x="180" y="215"/>
                  </a:lnTo>
                  <a:lnTo>
                    <a:pt x="159" y="215"/>
                  </a:lnTo>
                  <a:lnTo>
                    <a:pt x="159" y="233"/>
                  </a:lnTo>
                  <a:lnTo>
                    <a:pt x="140" y="252"/>
                  </a:lnTo>
                  <a:lnTo>
                    <a:pt x="140" y="233"/>
                  </a:lnTo>
                  <a:close/>
                </a:path>
              </a:pathLst>
            </a:custGeom>
            <a:solidFill>
              <a:srgbClr val="C0C0C0"/>
            </a:solidFill>
            <a:ln w="9525">
              <a:solidFill>
                <a:srgbClr val="C0C0C0"/>
              </a:solidFill>
              <a:round/>
              <a:headEnd/>
              <a:tailEnd/>
            </a:ln>
          </p:spPr>
          <p:txBody>
            <a:bodyPr/>
            <a:lstStyle/>
            <a:p>
              <a:endParaRPr lang="en-US"/>
            </a:p>
          </p:txBody>
        </p:sp>
        <p:sp>
          <p:nvSpPr>
            <p:cNvPr id="9363" name="Freeform 54"/>
            <p:cNvSpPr>
              <a:spLocks/>
            </p:cNvSpPr>
            <p:nvPr/>
          </p:nvSpPr>
          <p:spPr bwMode="auto">
            <a:xfrm>
              <a:off x="5089" y="2054"/>
              <a:ext cx="91" cy="64"/>
            </a:xfrm>
            <a:custGeom>
              <a:avLst/>
              <a:gdLst>
                <a:gd name="T0" fmla="*/ 0 w 183"/>
                <a:gd name="T1" fmla="*/ 1 h 126"/>
                <a:gd name="T2" fmla="*/ 0 w 183"/>
                <a:gd name="T3" fmla="*/ 1 h 126"/>
                <a:gd name="T4" fmla="*/ 0 w 183"/>
                <a:gd name="T5" fmla="*/ 1 h 126"/>
                <a:gd name="T6" fmla="*/ 0 w 183"/>
                <a:gd name="T7" fmla="*/ 1 h 126"/>
                <a:gd name="T8" fmla="*/ 0 w 183"/>
                <a:gd name="T9" fmla="*/ 1 h 126"/>
                <a:gd name="T10" fmla="*/ 0 w 183"/>
                <a:gd name="T11" fmla="*/ 0 h 126"/>
                <a:gd name="T12" fmla="*/ 0 w 183"/>
                <a:gd name="T13" fmla="*/ 1 h 126"/>
                <a:gd name="T14" fmla="*/ 0 w 183"/>
                <a:gd name="T15" fmla="*/ 1 h 126"/>
                <a:gd name="T16" fmla="*/ 0 w 183"/>
                <a:gd name="T17" fmla="*/ 1 h 126"/>
                <a:gd name="T18" fmla="*/ 0 w 183"/>
                <a:gd name="T19" fmla="*/ 1 h 126"/>
                <a:gd name="T20" fmla="*/ 0 w 183"/>
                <a:gd name="T21" fmla="*/ 1 h 126"/>
                <a:gd name="T22" fmla="*/ 0 w 183"/>
                <a:gd name="T23" fmla="*/ 1 h 126"/>
                <a:gd name="T24" fmla="*/ 0 w 183"/>
                <a:gd name="T25" fmla="*/ 1 h 126"/>
                <a:gd name="T26" fmla="*/ 0 w 183"/>
                <a:gd name="T27" fmla="*/ 1 h 126"/>
                <a:gd name="T28" fmla="*/ 0 w 183"/>
                <a:gd name="T29" fmla="*/ 1 h 126"/>
                <a:gd name="T30" fmla="*/ 0 w 183"/>
                <a:gd name="T31" fmla="*/ 1 h 126"/>
                <a:gd name="T32" fmla="*/ 0 w 183"/>
                <a:gd name="T33" fmla="*/ 1 h 126"/>
                <a:gd name="T34" fmla="*/ 0 w 183"/>
                <a:gd name="T35" fmla="*/ 1 h 126"/>
                <a:gd name="T36" fmla="*/ 0 w 183"/>
                <a:gd name="T37" fmla="*/ 1 h 126"/>
                <a:gd name="T38" fmla="*/ 0 w 183"/>
                <a:gd name="T39" fmla="*/ 1 h 126"/>
                <a:gd name="T40" fmla="*/ 0 w 183"/>
                <a:gd name="T41" fmla="*/ 1 h 126"/>
                <a:gd name="T42" fmla="*/ 0 w 183"/>
                <a:gd name="T43" fmla="*/ 1 h 126"/>
                <a:gd name="T44" fmla="*/ 0 w 183"/>
                <a:gd name="T45" fmla="*/ 1 h 126"/>
                <a:gd name="T46" fmla="*/ 0 w 183"/>
                <a:gd name="T47" fmla="*/ 1 h 126"/>
                <a:gd name="T48" fmla="*/ 0 w 183"/>
                <a:gd name="T49" fmla="*/ 1 h 126"/>
                <a:gd name="T50" fmla="*/ 0 w 183"/>
                <a:gd name="T51" fmla="*/ 1 h 126"/>
                <a:gd name="T52" fmla="*/ 0 w 183"/>
                <a:gd name="T53" fmla="*/ 1 h 126"/>
                <a:gd name="T54" fmla="*/ 0 w 183"/>
                <a:gd name="T55" fmla="*/ 1 h 126"/>
                <a:gd name="T56" fmla="*/ 0 w 183"/>
                <a:gd name="T57" fmla="*/ 1 h 126"/>
                <a:gd name="T58" fmla="*/ 0 w 183"/>
                <a:gd name="T59" fmla="*/ 1 h 126"/>
                <a:gd name="T60" fmla="*/ 0 w 183"/>
                <a:gd name="T61" fmla="*/ 1 h 126"/>
                <a:gd name="T62" fmla="*/ 0 w 183"/>
                <a:gd name="T63" fmla="*/ 1 h 126"/>
                <a:gd name="T64" fmla="*/ 0 w 183"/>
                <a:gd name="T65" fmla="*/ 1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83"/>
                <a:gd name="T100" fmla="*/ 0 h 126"/>
                <a:gd name="T101" fmla="*/ 183 w 183"/>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83" h="126">
                  <a:moveTo>
                    <a:pt x="19" y="72"/>
                  </a:moveTo>
                  <a:lnTo>
                    <a:pt x="41" y="72"/>
                  </a:lnTo>
                  <a:lnTo>
                    <a:pt x="60" y="72"/>
                  </a:lnTo>
                  <a:lnTo>
                    <a:pt x="60" y="36"/>
                  </a:lnTo>
                  <a:lnTo>
                    <a:pt x="60" y="19"/>
                  </a:lnTo>
                  <a:lnTo>
                    <a:pt x="60" y="0"/>
                  </a:lnTo>
                  <a:lnTo>
                    <a:pt x="81" y="19"/>
                  </a:lnTo>
                  <a:lnTo>
                    <a:pt x="119" y="36"/>
                  </a:lnTo>
                  <a:lnTo>
                    <a:pt x="140" y="53"/>
                  </a:lnTo>
                  <a:lnTo>
                    <a:pt x="162" y="53"/>
                  </a:lnTo>
                  <a:lnTo>
                    <a:pt x="183" y="53"/>
                  </a:lnTo>
                  <a:lnTo>
                    <a:pt x="162" y="53"/>
                  </a:lnTo>
                  <a:lnTo>
                    <a:pt x="162" y="72"/>
                  </a:lnTo>
                  <a:lnTo>
                    <a:pt x="183" y="72"/>
                  </a:lnTo>
                  <a:lnTo>
                    <a:pt x="162" y="72"/>
                  </a:lnTo>
                  <a:lnTo>
                    <a:pt x="140" y="72"/>
                  </a:lnTo>
                  <a:lnTo>
                    <a:pt x="119" y="90"/>
                  </a:lnTo>
                  <a:lnTo>
                    <a:pt x="119" y="109"/>
                  </a:lnTo>
                  <a:lnTo>
                    <a:pt x="100" y="126"/>
                  </a:lnTo>
                  <a:lnTo>
                    <a:pt x="81" y="109"/>
                  </a:lnTo>
                  <a:lnTo>
                    <a:pt x="60" y="109"/>
                  </a:lnTo>
                  <a:lnTo>
                    <a:pt x="60" y="90"/>
                  </a:lnTo>
                  <a:lnTo>
                    <a:pt x="60" y="109"/>
                  </a:lnTo>
                  <a:lnTo>
                    <a:pt x="41" y="90"/>
                  </a:lnTo>
                  <a:lnTo>
                    <a:pt x="19" y="90"/>
                  </a:lnTo>
                  <a:lnTo>
                    <a:pt x="19" y="109"/>
                  </a:lnTo>
                  <a:lnTo>
                    <a:pt x="19" y="126"/>
                  </a:lnTo>
                  <a:lnTo>
                    <a:pt x="41" y="126"/>
                  </a:lnTo>
                  <a:lnTo>
                    <a:pt x="19" y="126"/>
                  </a:lnTo>
                  <a:lnTo>
                    <a:pt x="0" y="126"/>
                  </a:lnTo>
                  <a:lnTo>
                    <a:pt x="0" y="109"/>
                  </a:lnTo>
                  <a:lnTo>
                    <a:pt x="0" y="90"/>
                  </a:lnTo>
                  <a:lnTo>
                    <a:pt x="19" y="72"/>
                  </a:lnTo>
                  <a:close/>
                </a:path>
              </a:pathLst>
            </a:custGeom>
            <a:solidFill>
              <a:srgbClr val="C0C0C0"/>
            </a:solidFill>
            <a:ln w="9525">
              <a:solidFill>
                <a:srgbClr val="C0C0C0"/>
              </a:solidFill>
              <a:round/>
              <a:headEnd/>
              <a:tailEnd/>
            </a:ln>
          </p:spPr>
          <p:txBody>
            <a:bodyPr/>
            <a:lstStyle/>
            <a:p>
              <a:endParaRPr lang="en-US"/>
            </a:p>
          </p:txBody>
        </p:sp>
        <p:sp>
          <p:nvSpPr>
            <p:cNvPr id="9364" name="Freeform 55"/>
            <p:cNvSpPr>
              <a:spLocks/>
            </p:cNvSpPr>
            <p:nvPr/>
          </p:nvSpPr>
          <p:spPr bwMode="auto">
            <a:xfrm>
              <a:off x="5180" y="2072"/>
              <a:ext cx="10" cy="19"/>
            </a:xfrm>
            <a:custGeom>
              <a:avLst/>
              <a:gdLst>
                <a:gd name="T0" fmla="*/ 1 w 19"/>
                <a:gd name="T1" fmla="*/ 0 h 36"/>
                <a:gd name="T2" fmla="*/ 1 w 19"/>
                <a:gd name="T3" fmla="*/ 1 h 36"/>
                <a:gd name="T4" fmla="*/ 0 w 19"/>
                <a:gd name="T5" fmla="*/ 1 h 36"/>
                <a:gd name="T6" fmla="*/ 0 w 19"/>
                <a:gd name="T7" fmla="*/ 1 h 36"/>
                <a:gd name="T8" fmla="*/ 0 w 19"/>
                <a:gd name="T9" fmla="*/ 0 h 36"/>
                <a:gd name="T10" fmla="*/ 1 w 19"/>
                <a:gd name="T11" fmla="*/ 0 h 36"/>
                <a:gd name="T12" fmla="*/ 0 60000 65536"/>
                <a:gd name="T13" fmla="*/ 0 60000 65536"/>
                <a:gd name="T14" fmla="*/ 0 60000 65536"/>
                <a:gd name="T15" fmla="*/ 0 60000 65536"/>
                <a:gd name="T16" fmla="*/ 0 60000 65536"/>
                <a:gd name="T17" fmla="*/ 0 60000 65536"/>
                <a:gd name="T18" fmla="*/ 0 w 19"/>
                <a:gd name="T19" fmla="*/ 0 h 36"/>
                <a:gd name="T20" fmla="*/ 19 w 19"/>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9" h="36">
                  <a:moveTo>
                    <a:pt x="19" y="0"/>
                  </a:moveTo>
                  <a:lnTo>
                    <a:pt x="19" y="17"/>
                  </a:lnTo>
                  <a:lnTo>
                    <a:pt x="0" y="36"/>
                  </a:lnTo>
                  <a:lnTo>
                    <a:pt x="0" y="17"/>
                  </a:lnTo>
                  <a:lnTo>
                    <a:pt x="0" y="0"/>
                  </a:lnTo>
                  <a:lnTo>
                    <a:pt x="19" y="0"/>
                  </a:lnTo>
                  <a:close/>
                </a:path>
              </a:pathLst>
            </a:custGeom>
            <a:solidFill>
              <a:srgbClr val="C0C0C0"/>
            </a:solidFill>
            <a:ln w="9525">
              <a:solidFill>
                <a:srgbClr val="C0C0C0"/>
              </a:solidFill>
              <a:round/>
              <a:headEnd/>
              <a:tailEnd/>
            </a:ln>
          </p:spPr>
          <p:txBody>
            <a:bodyPr/>
            <a:lstStyle/>
            <a:p>
              <a:endParaRPr lang="en-US"/>
            </a:p>
          </p:txBody>
        </p:sp>
        <p:sp>
          <p:nvSpPr>
            <p:cNvPr id="9365" name="Freeform 56"/>
            <p:cNvSpPr>
              <a:spLocks/>
            </p:cNvSpPr>
            <p:nvPr/>
          </p:nvSpPr>
          <p:spPr bwMode="auto">
            <a:xfrm>
              <a:off x="5250" y="2037"/>
              <a:ext cx="0" cy="17"/>
            </a:xfrm>
            <a:custGeom>
              <a:avLst/>
              <a:gdLst>
                <a:gd name="T0" fmla="*/ 0 h 35"/>
                <a:gd name="T1" fmla="*/ 0 h 35"/>
                <a:gd name="T2" fmla="*/ 0 h 35"/>
                <a:gd name="T3" fmla="*/ 0 h 35"/>
                <a:gd name="T4" fmla="*/ 0 h 35"/>
                <a:gd name="T5" fmla="*/ 0 60000 65536"/>
                <a:gd name="T6" fmla="*/ 0 60000 65536"/>
                <a:gd name="T7" fmla="*/ 0 60000 65536"/>
                <a:gd name="T8" fmla="*/ 0 60000 65536"/>
                <a:gd name="T9" fmla="*/ 0 60000 65536"/>
                <a:gd name="T10" fmla="*/ 0 h 35"/>
                <a:gd name="T11" fmla="*/ 35 h 35"/>
              </a:gdLst>
              <a:ahLst/>
              <a:cxnLst>
                <a:cxn ang="T5">
                  <a:pos x="0" y="T0"/>
                </a:cxn>
                <a:cxn ang="T6">
                  <a:pos x="0" y="T1"/>
                </a:cxn>
                <a:cxn ang="T7">
                  <a:pos x="0" y="T2"/>
                </a:cxn>
                <a:cxn ang="T8">
                  <a:pos x="0" y="T3"/>
                </a:cxn>
                <a:cxn ang="T9">
                  <a:pos x="0" y="T4"/>
                </a:cxn>
              </a:cxnLst>
              <a:rect l="0" t="T10" r="0" b="T11"/>
              <a:pathLst>
                <a:path h="35">
                  <a:moveTo>
                    <a:pt x="0" y="17"/>
                  </a:moveTo>
                  <a:lnTo>
                    <a:pt x="0" y="0"/>
                  </a:lnTo>
                  <a:lnTo>
                    <a:pt x="0" y="17"/>
                  </a:lnTo>
                  <a:lnTo>
                    <a:pt x="0" y="35"/>
                  </a:lnTo>
                  <a:lnTo>
                    <a:pt x="0" y="17"/>
                  </a:lnTo>
                  <a:close/>
                </a:path>
              </a:pathLst>
            </a:custGeom>
            <a:solidFill>
              <a:srgbClr val="C0C0C0"/>
            </a:solidFill>
            <a:ln w="9525">
              <a:solidFill>
                <a:srgbClr val="C0C0C0"/>
              </a:solidFill>
              <a:round/>
              <a:headEnd/>
              <a:tailEnd/>
            </a:ln>
          </p:spPr>
          <p:txBody>
            <a:bodyPr/>
            <a:lstStyle/>
            <a:p>
              <a:endParaRPr lang="en-US"/>
            </a:p>
          </p:txBody>
        </p:sp>
        <p:sp>
          <p:nvSpPr>
            <p:cNvPr id="9366" name="Freeform 57"/>
            <p:cNvSpPr>
              <a:spLocks/>
            </p:cNvSpPr>
            <p:nvPr/>
          </p:nvSpPr>
          <p:spPr bwMode="auto">
            <a:xfrm>
              <a:off x="5119" y="1894"/>
              <a:ext cx="40" cy="152"/>
            </a:xfrm>
            <a:custGeom>
              <a:avLst/>
              <a:gdLst>
                <a:gd name="T0" fmla="*/ 1 w 80"/>
                <a:gd name="T1" fmla="*/ 1 h 303"/>
                <a:gd name="T2" fmla="*/ 1 w 80"/>
                <a:gd name="T3" fmla="*/ 1 h 303"/>
                <a:gd name="T4" fmla="*/ 1 w 80"/>
                <a:gd name="T5" fmla="*/ 1 h 303"/>
                <a:gd name="T6" fmla="*/ 1 w 80"/>
                <a:gd name="T7" fmla="*/ 1 h 303"/>
                <a:gd name="T8" fmla="*/ 1 w 80"/>
                <a:gd name="T9" fmla="*/ 1 h 303"/>
                <a:gd name="T10" fmla="*/ 1 w 80"/>
                <a:gd name="T11" fmla="*/ 1 h 303"/>
                <a:gd name="T12" fmla="*/ 1 w 80"/>
                <a:gd name="T13" fmla="*/ 1 h 303"/>
                <a:gd name="T14" fmla="*/ 1 w 80"/>
                <a:gd name="T15" fmla="*/ 1 h 303"/>
                <a:gd name="T16" fmla="*/ 1 w 80"/>
                <a:gd name="T17" fmla="*/ 1 h 303"/>
                <a:gd name="T18" fmla="*/ 0 w 80"/>
                <a:gd name="T19" fmla="*/ 1 h 303"/>
                <a:gd name="T20" fmla="*/ 0 w 80"/>
                <a:gd name="T21" fmla="*/ 1 h 303"/>
                <a:gd name="T22" fmla="*/ 0 w 80"/>
                <a:gd name="T23" fmla="*/ 1 h 303"/>
                <a:gd name="T24" fmla="*/ 0 w 80"/>
                <a:gd name="T25" fmla="*/ 1 h 303"/>
                <a:gd name="T26" fmla="*/ 0 w 80"/>
                <a:gd name="T27" fmla="*/ 1 h 303"/>
                <a:gd name="T28" fmla="*/ 0 w 80"/>
                <a:gd name="T29" fmla="*/ 1 h 303"/>
                <a:gd name="T30" fmla="*/ 0 w 80"/>
                <a:gd name="T31" fmla="*/ 1 h 303"/>
                <a:gd name="T32" fmla="*/ 0 w 80"/>
                <a:gd name="T33" fmla="*/ 1 h 303"/>
                <a:gd name="T34" fmla="*/ 0 w 80"/>
                <a:gd name="T35" fmla="*/ 1 h 303"/>
                <a:gd name="T36" fmla="*/ 0 w 80"/>
                <a:gd name="T37" fmla="*/ 1 h 303"/>
                <a:gd name="T38" fmla="*/ 0 w 80"/>
                <a:gd name="T39" fmla="*/ 1 h 303"/>
                <a:gd name="T40" fmla="*/ 0 w 80"/>
                <a:gd name="T41" fmla="*/ 1 h 303"/>
                <a:gd name="T42" fmla="*/ 0 w 80"/>
                <a:gd name="T43" fmla="*/ 1 h 303"/>
                <a:gd name="T44" fmla="*/ 0 w 80"/>
                <a:gd name="T45" fmla="*/ 1 h 303"/>
                <a:gd name="T46" fmla="*/ 1 w 80"/>
                <a:gd name="T47" fmla="*/ 1 h 303"/>
                <a:gd name="T48" fmla="*/ 1 w 80"/>
                <a:gd name="T49" fmla="*/ 1 h 303"/>
                <a:gd name="T50" fmla="*/ 1 w 80"/>
                <a:gd name="T51" fmla="*/ 0 h 303"/>
                <a:gd name="T52" fmla="*/ 1 w 80"/>
                <a:gd name="T53" fmla="*/ 1 h 303"/>
                <a:gd name="T54" fmla="*/ 1 w 80"/>
                <a:gd name="T55" fmla="*/ 1 h 303"/>
                <a:gd name="T56" fmla="*/ 1 w 80"/>
                <a:gd name="T57" fmla="*/ 1 h 303"/>
                <a:gd name="T58" fmla="*/ 1 w 80"/>
                <a:gd name="T59" fmla="*/ 1 h 303"/>
                <a:gd name="T60" fmla="*/ 1 w 80"/>
                <a:gd name="T61" fmla="*/ 1 h 303"/>
                <a:gd name="T62" fmla="*/ 1 w 80"/>
                <a:gd name="T63" fmla="*/ 1 h 303"/>
                <a:gd name="T64" fmla="*/ 1 w 80"/>
                <a:gd name="T65" fmla="*/ 1 h 303"/>
                <a:gd name="T66" fmla="*/ 1 w 80"/>
                <a:gd name="T67" fmla="*/ 1 h 303"/>
                <a:gd name="T68" fmla="*/ 1 w 80"/>
                <a:gd name="T69" fmla="*/ 1 h 303"/>
                <a:gd name="T70" fmla="*/ 1 w 80"/>
                <a:gd name="T71" fmla="*/ 1 h 303"/>
                <a:gd name="T72" fmla="*/ 1 w 80"/>
                <a:gd name="T73" fmla="*/ 1 h 30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0"/>
                <a:gd name="T112" fmla="*/ 0 h 303"/>
                <a:gd name="T113" fmla="*/ 80 w 80"/>
                <a:gd name="T114" fmla="*/ 303 h 30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0" h="303">
                  <a:moveTo>
                    <a:pt x="59" y="178"/>
                  </a:moveTo>
                  <a:lnTo>
                    <a:pt x="40" y="198"/>
                  </a:lnTo>
                  <a:lnTo>
                    <a:pt x="21" y="215"/>
                  </a:lnTo>
                  <a:lnTo>
                    <a:pt x="21" y="234"/>
                  </a:lnTo>
                  <a:lnTo>
                    <a:pt x="40" y="267"/>
                  </a:lnTo>
                  <a:lnTo>
                    <a:pt x="59" y="286"/>
                  </a:lnTo>
                  <a:lnTo>
                    <a:pt x="40" y="286"/>
                  </a:lnTo>
                  <a:lnTo>
                    <a:pt x="40" y="267"/>
                  </a:lnTo>
                  <a:lnTo>
                    <a:pt x="21" y="286"/>
                  </a:lnTo>
                  <a:lnTo>
                    <a:pt x="0" y="303"/>
                  </a:lnTo>
                  <a:lnTo>
                    <a:pt x="0" y="286"/>
                  </a:lnTo>
                  <a:lnTo>
                    <a:pt x="0" y="267"/>
                  </a:lnTo>
                  <a:lnTo>
                    <a:pt x="0" y="250"/>
                  </a:lnTo>
                  <a:lnTo>
                    <a:pt x="0" y="234"/>
                  </a:lnTo>
                  <a:lnTo>
                    <a:pt x="0" y="215"/>
                  </a:lnTo>
                  <a:lnTo>
                    <a:pt x="0" y="198"/>
                  </a:lnTo>
                  <a:lnTo>
                    <a:pt x="0" y="178"/>
                  </a:lnTo>
                  <a:lnTo>
                    <a:pt x="0" y="161"/>
                  </a:lnTo>
                  <a:lnTo>
                    <a:pt x="0" y="144"/>
                  </a:lnTo>
                  <a:lnTo>
                    <a:pt x="0" y="107"/>
                  </a:lnTo>
                  <a:lnTo>
                    <a:pt x="0" y="90"/>
                  </a:lnTo>
                  <a:lnTo>
                    <a:pt x="0" y="54"/>
                  </a:lnTo>
                  <a:lnTo>
                    <a:pt x="0" y="35"/>
                  </a:lnTo>
                  <a:lnTo>
                    <a:pt x="21" y="35"/>
                  </a:lnTo>
                  <a:lnTo>
                    <a:pt x="21" y="17"/>
                  </a:lnTo>
                  <a:lnTo>
                    <a:pt x="21" y="0"/>
                  </a:lnTo>
                  <a:lnTo>
                    <a:pt x="40" y="17"/>
                  </a:lnTo>
                  <a:lnTo>
                    <a:pt x="40" y="35"/>
                  </a:lnTo>
                  <a:lnTo>
                    <a:pt x="40" y="54"/>
                  </a:lnTo>
                  <a:lnTo>
                    <a:pt x="40" y="71"/>
                  </a:lnTo>
                  <a:lnTo>
                    <a:pt x="40" y="90"/>
                  </a:lnTo>
                  <a:lnTo>
                    <a:pt x="40" y="107"/>
                  </a:lnTo>
                  <a:lnTo>
                    <a:pt x="59" y="125"/>
                  </a:lnTo>
                  <a:lnTo>
                    <a:pt x="59" y="161"/>
                  </a:lnTo>
                  <a:lnTo>
                    <a:pt x="80" y="198"/>
                  </a:lnTo>
                  <a:lnTo>
                    <a:pt x="59" y="198"/>
                  </a:lnTo>
                  <a:lnTo>
                    <a:pt x="59" y="178"/>
                  </a:lnTo>
                  <a:close/>
                </a:path>
              </a:pathLst>
            </a:custGeom>
            <a:solidFill>
              <a:srgbClr val="C0C0C0"/>
            </a:solidFill>
            <a:ln w="9525">
              <a:solidFill>
                <a:srgbClr val="C0C0C0"/>
              </a:solidFill>
              <a:round/>
              <a:headEnd/>
              <a:tailEnd/>
            </a:ln>
          </p:spPr>
          <p:txBody>
            <a:bodyPr/>
            <a:lstStyle/>
            <a:p>
              <a:endParaRPr lang="en-US"/>
            </a:p>
          </p:txBody>
        </p:sp>
        <p:sp>
          <p:nvSpPr>
            <p:cNvPr id="9367" name="Freeform 58"/>
            <p:cNvSpPr>
              <a:spLocks/>
            </p:cNvSpPr>
            <p:nvPr/>
          </p:nvSpPr>
          <p:spPr bwMode="auto">
            <a:xfrm>
              <a:off x="5682" y="1518"/>
              <a:ext cx="50" cy="18"/>
            </a:xfrm>
            <a:custGeom>
              <a:avLst/>
              <a:gdLst>
                <a:gd name="T0" fmla="*/ 0 w 99"/>
                <a:gd name="T1" fmla="*/ 1 h 36"/>
                <a:gd name="T2" fmla="*/ 0 w 99"/>
                <a:gd name="T3" fmla="*/ 1 h 36"/>
                <a:gd name="T4" fmla="*/ 1 w 99"/>
                <a:gd name="T5" fmla="*/ 0 h 36"/>
                <a:gd name="T6" fmla="*/ 1 w 99"/>
                <a:gd name="T7" fmla="*/ 0 h 36"/>
                <a:gd name="T8" fmla="*/ 1 w 99"/>
                <a:gd name="T9" fmla="*/ 1 h 36"/>
                <a:gd name="T10" fmla="*/ 1 w 99"/>
                <a:gd name="T11" fmla="*/ 1 h 36"/>
                <a:gd name="T12" fmla="*/ 1 w 99"/>
                <a:gd name="T13" fmla="*/ 1 h 36"/>
                <a:gd name="T14" fmla="*/ 1 w 99"/>
                <a:gd name="T15" fmla="*/ 1 h 36"/>
                <a:gd name="T16" fmla="*/ 0 w 99"/>
                <a:gd name="T17" fmla="*/ 1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9"/>
                <a:gd name="T28" fmla="*/ 0 h 36"/>
                <a:gd name="T29" fmla="*/ 99 w 99"/>
                <a:gd name="T30" fmla="*/ 36 h 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9" h="36">
                  <a:moveTo>
                    <a:pt x="0" y="36"/>
                  </a:moveTo>
                  <a:lnTo>
                    <a:pt x="0" y="17"/>
                  </a:lnTo>
                  <a:lnTo>
                    <a:pt x="19" y="0"/>
                  </a:lnTo>
                  <a:lnTo>
                    <a:pt x="59" y="0"/>
                  </a:lnTo>
                  <a:lnTo>
                    <a:pt x="99" y="17"/>
                  </a:lnTo>
                  <a:lnTo>
                    <a:pt x="99" y="36"/>
                  </a:lnTo>
                  <a:lnTo>
                    <a:pt x="78" y="36"/>
                  </a:lnTo>
                  <a:lnTo>
                    <a:pt x="38" y="36"/>
                  </a:lnTo>
                  <a:lnTo>
                    <a:pt x="0" y="36"/>
                  </a:lnTo>
                  <a:close/>
                </a:path>
              </a:pathLst>
            </a:custGeom>
            <a:solidFill>
              <a:srgbClr val="C0C0C0"/>
            </a:solidFill>
            <a:ln w="9525">
              <a:solidFill>
                <a:srgbClr val="C0C0C0"/>
              </a:solidFill>
              <a:round/>
              <a:headEnd/>
              <a:tailEnd/>
            </a:ln>
          </p:spPr>
          <p:txBody>
            <a:bodyPr/>
            <a:lstStyle/>
            <a:p>
              <a:endParaRPr lang="en-US"/>
            </a:p>
          </p:txBody>
        </p:sp>
        <p:sp>
          <p:nvSpPr>
            <p:cNvPr id="9368" name="Freeform 59"/>
            <p:cNvSpPr>
              <a:spLocks/>
            </p:cNvSpPr>
            <p:nvPr/>
          </p:nvSpPr>
          <p:spPr bwMode="auto">
            <a:xfrm>
              <a:off x="5019" y="1402"/>
              <a:ext cx="0" cy="18"/>
            </a:xfrm>
            <a:custGeom>
              <a:avLst/>
              <a:gdLst>
                <a:gd name="T0" fmla="*/ 0 h 37"/>
                <a:gd name="T1" fmla="*/ 0 h 37"/>
                <a:gd name="T2" fmla="*/ 0 h 37"/>
                <a:gd name="T3" fmla="*/ 0 h 37"/>
                <a:gd name="T4" fmla="*/ 0 h 37"/>
                <a:gd name="T5" fmla="*/ 0 60000 65536"/>
                <a:gd name="T6" fmla="*/ 0 60000 65536"/>
                <a:gd name="T7" fmla="*/ 0 60000 65536"/>
                <a:gd name="T8" fmla="*/ 0 60000 65536"/>
                <a:gd name="T9" fmla="*/ 0 60000 65536"/>
                <a:gd name="T10" fmla="*/ 0 h 37"/>
                <a:gd name="T11" fmla="*/ 37 h 37"/>
              </a:gdLst>
              <a:ahLst/>
              <a:cxnLst>
                <a:cxn ang="T5">
                  <a:pos x="0" y="T0"/>
                </a:cxn>
                <a:cxn ang="T6">
                  <a:pos x="0" y="T1"/>
                </a:cxn>
                <a:cxn ang="T7">
                  <a:pos x="0" y="T2"/>
                </a:cxn>
                <a:cxn ang="T8">
                  <a:pos x="0" y="T3"/>
                </a:cxn>
                <a:cxn ang="T9">
                  <a:pos x="0" y="T4"/>
                </a:cxn>
              </a:cxnLst>
              <a:rect l="0" t="T10" r="0" b="T11"/>
              <a:pathLst>
                <a:path h="37">
                  <a:moveTo>
                    <a:pt x="0" y="20"/>
                  </a:moveTo>
                  <a:lnTo>
                    <a:pt x="0" y="0"/>
                  </a:lnTo>
                  <a:lnTo>
                    <a:pt x="0" y="20"/>
                  </a:lnTo>
                  <a:lnTo>
                    <a:pt x="0" y="37"/>
                  </a:lnTo>
                  <a:lnTo>
                    <a:pt x="0" y="20"/>
                  </a:lnTo>
                  <a:close/>
                </a:path>
              </a:pathLst>
            </a:custGeom>
            <a:solidFill>
              <a:srgbClr val="C0C0C0"/>
            </a:solidFill>
            <a:ln w="9525">
              <a:solidFill>
                <a:srgbClr val="C0C0C0"/>
              </a:solidFill>
              <a:round/>
              <a:headEnd/>
              <a:tailEnd/>
            </a:ln>
          </p:spPr>
          <p:txBody>
            <a:bodyPr/>
            <a:lstStyle/>
            <a:p>
              <a:endParaRPr lang="en-US"/>
            </a:p>
          </p:txBody>
        </p:sp>
        <p:sp>
          <p:nvSpPr>
            <p:cNvPr id="9369" name="Freeform 60"/>
            <p:cNvSpPr>
              <a:spLocks/>
            </p:cNvSpPr>
            <p:nvPr/>
          </p:nvSpPr>
          <p:spPr bwMode="auto">
            <a:xfrm>
              <a:off x="4647" y="1447"/>
              <a:ext cx="30" cy="8"/>
            </a:xfrm>
            <a:custGeom>
              <a:avLst/>
              <a:gdLst>
                <a:gd name="T0" fmla="*/ 0 w 62"/>
                <a:gd name="T1" fmla="*/ 0 h 17"/>
                <a:gd name="T2" fmla="*/ 0 w 62"/>
                <a:gd name="T3" fmla="*/ 0 h 17"/>
                <a:gd name="T4" fmla="*/ 0 w 62"/>
                <a:gd name="T5" fmla="*/ 0 h 17"/>
                <a:gd name="T6" fmla="*/ 0 w 62"/>
                <a:gd name="T7" fmla="*/ 0 h 17"/>
                <a:gd name="T8" fmla="*/ 0 w 62"/>
                <a:gd name="T9" fmla="*/ 0 h 17"/>
                <a:gd name="T10" fmla="*/ 0 w 62"/>
                <a:gd name="T11" fmla="*/ 0 h 17"/>
                <a:gd name="T12" fmla="*/ 0 w 62"/>
                <a:gd name="T13" fmla="*/ 0 h 17"/>
                <a:gd name="T14" fmla="*/ 0 w 62"/>
                <a:gd name="T15" fmla="*/ 0 h 17"/>
                <a:gd name="T16" fmla="*/ 0 w 62"/>
                <a:gd name="T17" fmla="*/ 0 h 17"/>
                <a:gd name="T18" fmla="*/ 0 w 62"/>
                <a:gd name="T19" fmla="*/ 0 h 17"/>
                <a:gd name="T20" fmla="*/ 0 w 62"/>
                <a:gd name="T21" fmla="*/ 0 h 17"/>
                <a:gd name="T22" fmla="*/ 0 w 62"/>
                <a:gd name="T23" fmla="*/ 0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
                <a:gd name="T37" fmla="*/ 0 h 17"/>
                <a:gd name="T38" fmla="*/ 62 w 62"/>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 h="17">
                  <a:moveTo>
                    <a:pt x="62" y="0"/>
                  </a:moveTo>
                  <a:lnTo>
                    <a:pt x="41" y="0"/>
                  </a:lnTo>
                  <a:lnTo>
                    <a:pt x="41" y="17"/>
                  </a:lnTo>
                  <a:lnTo>
                    <a:pt x="21" y="17"/>
                  </a:lnTo>
                  <a:lnTo>
                    <a:pt x="0" y="0"/>
                  </a:lnTo>
                  <a:lnTo>
                    <a:pt x="21" y="0"/>
                  </a:lnTo>
                  <a:lnTo>
                    <a:pt x="41" y="0"/>
                  </a:lnTo>
                  <a:lnTo>
                    <a:pt x="62" y="0"/>
                  </a:lnTo>
                  <a:lnTo>
                    <a:pt x="41" y="0"/>
                  </a:lnTo>
                  <a:lnTo>
                    <a:pt x="41" y="17"/>
                  </a:lnTo>
                  <a:lnTo>
                    <a:pt x="41" y="0"/>
                  </a:lnTo>
                  <a:lnTo>
                    <a:pt x="62" y="0"/>
                  </a:lnTo>
                </a:path>
              </a:pathLst>
            </a:custGeom>
            <a:solidFill>
              <a:srgbClr val="C0C0C0"/>
            </a:solidFill>
            <a:ln w="9525">
              <a:solidFill>
                <a:srgbClr val="C0C0C0"/>
              </a:solidFill>
              <a:round/>
              <a:headEnd/>
              <a:tailEnd/>
            </a:ln>
          </p:spPr>
          <p:txBody>
            <a:bodyPr/>
            <a:lstStyle/>
            <a:p>
              <a:endParaRPr lang="en-US"/>
            </a:p>
          </p:txBody>
        </p:sp>
        <p:sp>
          <p:nvSpPr>
            <p:cNvPr id="9370" name="Freeform 61"/>
            <p:cNvSpPr>
              <a:spLocks/>
            </p:cNvSpPr>
            <p:nvPr/>
          </p:nvSpPr>
          <p:spPr bwMode="auto">
            <a:xfrm>
              <a:off x="4567" y="1330"/>
              <a:ext cx="20" cy="18"/>
            </a:xfrm>
            <a:custGeom>
              <a:avLst/>
              <a:gdLst>
                <a:gd name="T0" fmla="*/ 1 w 40"/>
                <a:gd name="T1" fmla="*/ 0 h 37"/>
                <a:gd name="T2" fmla="*/ 1 w 40"/>
                <a:gd name="T3" fmla="*/ 0 h 37"/>
                <a:gd name="T4" fmla="*/ 1 w 40"/>
                <a:gd name="T5" fmla="*/ 0 h 37"/>
                <a:gd name="T6" fmla="*/ 1 w 40"/>
                <a:gd name="T7" fmla="*/ 0 h 37"/>
                <a:gd name="T8" fmla="*/ 0 w 40"/>
                <a:gd name="T9" fmla="*/ 0 h 37"/>
                <a:gd name="T10" fmla="*/ 1 w 40"/>
                <a:gd name="T11" fmla="*/ 0 h 37"/>
                <a:gd name="T12" fmla="*/ 1 w 40"/>
                <a:gd name="T13" fmla="*/ 0 h 37"/>
                <a:gd name="T14" fmla="*/ 1 w 40"/>
                <a:gd name="T15" fmla="*/ 0 h 37"/>
                <a:gd name="T16" fmla="*/ 0 60000 65536"/>
                <a:gd name="T17" fmla="*/ 0 60000 65536"/>
                <a:gd name="T18" fmla="*/ 0 60000 65536"/>
                <a:gd name="T19" fmla="*/ 0 60000 65536"/>
                <a:gd name="T20" fmla="*/ 0 60000 65536"/>
                <a:gd name="T21" fmla="*/ 0 60000 65536"/>
                <a:gd name="T22" fmla="*/ 0 60000 65536"/>
                <a:gd name="T23" fmla="*/ 0 60000 65536"/>
                <a:gd name="T24" fmla="*/ 0 w 40"/>
                <a:gd name="T25" fmla="*/ 0 h 37"/>
                <a:gd name="T26" fmla="*/ 40 w 40"/>
                <a:gd name="T27" fmla="*/ 37 h 3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 h="37">
                  <a:moveTo>
                    <a:pt x="40" y="0"/>
                  </a:moveTo>
                  <a:lnTo>
                    <a:pt x="40" y="20"/>
                  </a:lnTo>
                  <a:lnTo>
                    <a:pt x="21" y="37"/>
                  </a:lnTo>
                  <a:lnTo>
                    <a:pt x="21" y="20"/>
                  </a:lnTo>
                  <a:lnTo>
                    <a:pt x="0" y="20"/>
                  </a:lnTo>
                  <a:lnTo>
                    <a:pt x="21" y="20"/>
                  </a:lnTo>
                  <a:lnTo>
                    <a:pt x="40" y="20"/>
                  </a:lnTo>
                  <a:lnTo>
                    <a:pt x="40" y="0"/>
                  </a:lnTo>
                  <a:close/>
                </a:path>
              </a:pathLst>
            </a:custGeom>
            <a:solidFill>
              <a:srgbClr val="C0C0C0"/>
            </a:solidFill>
            <a:ln w="9525">
              <a:solidFill>
                <a:srgbClr val="C0C0C0"/>
              </a:solidFill>
              <a:round/>
              <a:headEnd/>
              <a:tailEnd/>
            </a:ln>
          </p:spPr>
          <p:txBody>
            <a:bodyPr/>
            <a:lstStyle/>
            <a:p>
              <a:endParaRPr lang="en-US"/>
            </a:p>
          </p:txBody>
        </p:sp>
        <p:sp>
          <p:nvSpPr>
            <p:cNvPr id="9371" name="Freeform 62"/>
            <p:cNvSpPr>
              <a:spLocks/>
            </p:cNvSpPr>
            <p:nvPr/>
          </p:nvSpPr>
          <p:spPr bwMode="auto">
            <a:xfrm>
              <a:off x="5049" y="1393"/>
              <a:ext cx="110" cy="45"/>
            </a:xfrm>
            <a:custGeom>
              <a:avLst/>
              <a:gdLst>
                <a:gd name="T0" fmla="*/ 1 w 220"/>
                <a:gd name="T1" fmla="*/ 1 h 90"/>
                <a:gd name="T2" fmla="*/ 1 w 220"/>
                <a:gd name="T3" fmla="*/ 1 h 90"/>
                <a:gd name="T4" fmla="*/ 1 w 220"/>
                <a:gd name="T5" fmla="*/ 1 h 90"/>
                <a:gd name="T6" fmla="*/ 1 w 220"/>
                <a:gd name="T7" fmla="*/ 1 h 90"/>
                <a:gd name="T8" fmla="*/ 1 w 220"/>
                <a:gd name="T9" fmla="*/ 1 h 90"/>
                <a:gd name="T10" fmla="*/ 1 w 220"/>
                <a:gd name="T11" fmla="*/ 1 h 90"/>
                <a:gd name="T12" fmla="*/ 1 w 220"/>
                <a:gd name="T13" fmla="*/ 1 h 90"/>
                <a:gd name="T14" fmla="*/ 1 w 220"/>
                <a:gd name="T15" fmla="*/ 1 h 90"/>
                <a:gd name="T16" fmla="*/ 1 w 220"/>
                <a:gd name="T17" fmla="*/ 1 h 90"/>
                <a:gd name="T18" fmla="*/ 1 w 220"/>
                <a:gd name="T19" fmla="*/ 1 h 90"/>
                <a:gd name="T20" fmla="*/ 1 w 220"/>
                <a:gd name="T21" fmla="*/ 1 h 90"/>
                <a:gd name="T22" fmla="*/ 0 w 220"/>
                <a:gd name="T23" fmla="*/ 1 h 90"/>
                <a:gd name="T24" fmla="*/ 0 w 220"/>
                <a:gd name="T25" fmla="*/ 1 h 90"/>
                <a:gd name="T26" fmla="*/ 1 w 220"/>
                <a:gd name="T27" fmla="*/ 0 h 90"/>
                <a:gd name="T28" fmla="*/ 1 w 220"/>
                <a:gd name="T29" fmla="*/ 0 h 90"/>
                <a:gd name="T30" fmla="*/ 1 w 220"/>
                <a:gd name="T31" fmla="*/ 1 h 90"/>
                <a:gd name="T32" fmla="*/ 1 w 220"/>
                <a:gd name="T33" fmla="*/ 1 h 90"/>
                <a:gd name="T34" fmla="*/ 1 w 220"/>
                <a:gd name="T35" fmla="*/ 1 h 90"/>
                <a:gd name="T36" fmla="*/ 1 w 220"/>
                <a:gd name="T37" fmla="*/ 1 h 90"/>
                <a:gd name="T38" fmla="*/ 1 w 220"/>
                <a:gd name="T39" fmla="*/ 1 h 90"/>
                <a:gd name="T40" fmla="*/ 1 w 220"/>
                <a:gd name="T41" fmla="*/ 0 h 90"/>
                <a:gd name="T42" fmla="*/ 1 w 220"/>
                <a:gd name="T43" fmla="*/ 1 h 90"/>
                <a:gd name="T44" fmla="*/ 1 w 220"/>
                <a:gd name="T45" fmla="*/ 1 h 90"/>
                <a:gd name="T46" fmla="*/ 1 w 220"/>
                <a:gd name="T47" fmla="*/ 1 h 90"/>
                <a:gd name="T48" fmla="*/ 1 w 220"/>
                <a:gd name="T49" fmla="*/ 1 h 90"/>
                <a:gd name="T50" fmla="*/ 1 w 220"/>
                <a:gd name="T51" fmla="*/ 1 h 90"/>
                <a:gd name="T52" fmla="*/ 1 w 220"/>
                <a:gd name="T53" fmla="*/ 1 h 90"/>
                <a:gd name="T54" fmla="*/ 1 w 220"/>
                <a:gd name="T55" fmla="*/ 1 h 9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0"/>
                <a:gd name="T85" fmla="*/ 0 h 90"/>
                <a:gd name="T86" fmla="*/ 220 w 220"/>
                <a:gd name="T87" fmla="*/ 90 h 9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0" h="90">
                  <a:moveTo>
                    <a:pt x="180" y="71"/>
                  </a:moveTo>
                  <a:lnTo>
                    <a:pt x="161" y="71"/>
                  </a:lnTo>
                  <a:lnTo>
                    <a:pt x="140" y="71"/>
                  </a:lnTo>
                  <a:lnTo>
                    <a:pt x="121" y="71"/>
                  </a:lnTo>
                  <a:lnTo>
                    <a:pt x="99" y="71"/>
                  </a:lnTo>
                  <a:lnTo>
                    <a:pt x="80" y="90"/>
                  </a:lnTo>
                  <a:lnTo>
                    <a:pt x="80" y="71"/>
                  </a:lnTo>
                  <a:lnTo>
                    <a:pt x="59" y="71"/>
                  </a:lnTo>
                  <a:lnTo>
                    <a:pt x="59" y="90"/>
                  </a:lnTo>
                  <a:lnTo>
                    <a:pt x="40" y="90"/>
                  </a:lnTo>
                  <a:lnTo>
                    <a:pt x="21" y="90"/>
                  </a:lnTo>
                  <a:lnTo>
                    <a:pt x="0" y="54"/>
                  </a:lnTo>
                  <a:lnTo>
                    <a:pt x="0" y="17"/>
                  </a:lnTo>
                  <a:lnTo>
                    <a:pt x="21" y="0"/>
                  </a:lnTo>
                  <a:lnTo>
                    <a:pt x="40" y="0"/>
                  </a:lnTo>
                  <a:lnTo>
                    <a:pt x="80" y="17"/>
                  </a:lnTo>
                  <a:lnTo>
                    <a:pt x="80" y="37"/>
                  </a:lnTo>
                  <a:lnTo>
                    <a:pt x="99" y="37"/>
                  </a:lnTo>
                  <a:lnTo>
                    <a:pt x="99" y="17"/>
                  </a:lnTo>
                  <a:lnTo>
                    <a:pt x="121" y="17"/>
                  </a:lnTo>
                  <a:lnTo>
                    <a:pt x="121" y="0"/>
                  </a:lnTo>
                  <a:lnTo>
                    <a:pt x="140" y="17"/>
                  </a:lnTo>
                  <a:lnTo>
                    <a:pt x="199" y="37"/>
                  </a:lnTo>
                  <a:lnTo>
                    <a:pt x="220" y="37"/>
                  </a:lnTo>
                  <a:lnTo>
                    <a:pt x="220" y="54"/>
                  </a:lnTo>
                  <a:lnTo>
                    <a:pt x="199" y="54"/>
                  </a:lnTo>
                  <a:lnTo>
                    <a:pt x="199" y="71"/>
                  </a:lnTo>
                  <a:lnTo>
                    <a:pt x="180" y="71"/>
                  </a:lnTo>
                  <a:close/>
                </a:path>
              </a:pathLst>
            </a:custGeom>
            <a:solidFill>
              <a:srgbClr val="C0C0C0"/>
            </a:solidFill>
            <a:ln w="9525">
              <a:solidFill>
                <a:srgbClr val="C0C0C0"/>
              </a:solidFill>
              <a:round/>
              <a:headEnd/>
              <a:tailEnd/>
            </a:ln>
          </p:spPr>
          <p:txBody>
            <a:bodyPr/>
            <a:lstStyle/>
            <a:p>
              <a:endParaRPr lang="en-US"/>
            </a:p>
          </p:txBody>
        </p:sp>
        <p:sp>
          <p:nvSpPr>
            <p:cNvPr id="9372" name="Freeform 63"/>
            <p:cNvSpPr>
              <a:spLocks/>
            </p:cNvSpPr>
            <p:nvPr/>
          </p:nvSpPr>
          <p:spPr bwMode="auto">
            <a:xfrm>
              <a:off x="5089" y="1455"/>
              <a:ext cx="60" cy="19"/>
            </a:xfrm>
            <a:custGeom>
              <a:avLst/>
              <a:gdLst>
                <a:gd name="T0" fmla="*/ 0 w 119"/>
                <a:gd name="T1" fmla="*/ 1 h 36"/>
                <a:gd name="T2" fmla="*/ 1 w 119"/>
                <a:gd name="T3" fmla="*/ 1 h 36"/>
                <a:gd name="T4" fmla="*/ 1 w 119"/>
                <a:gd name="T5" fmla="*/ 0 h 36"/>
                <a:gd name="T6" fmla="*/ 1 w 119"/>
                <a:gd name="T7" fmla="*/ 0 h 36"/>
                <a:gd name="T8" fmla="*/ 1 w 119"/>
                <a:gd name="T9" fmla="*/ 1 h 36"/>
                <a:gd name="T10" fmla="*/ 1 w 119"/>
                <a:gd name="T11" fmla="*/ 1 h 36"/>
                <a:gd name="T12" fmla="*/ 1 w 119"/>
                <a:gd name="T13" fmla="*/ 1 h 36"/>
                <a:gd name="T14" fmla="*/ 1 w 119"/>
                <a:gd name="T15" fmla="*/ 1 h 36"/>
                <a:gd name="T16" fmla="*/ 1 w 119"/>
                <a:gd name="T17" fmla="*/ 1 h 36"/>
                <a:gd name="T18" fmla="*/ 1 w 119"/>
                <a:gd name="T19" fmla="*/ 1 h 36"/>
                <a:gd name="T20" fmla="*/ 1 w 119"/>
                <a:gd name="T21" fmla="*/ 1 h 36"/>
                <a:gd name="T22" fmla="*/ 0 w 119"/>
                <a:gd name="T23" fmla="*/ 1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9"/>
                <a:gd name="T37" fmla="*/ 0 h 36"/>
                <a:gd name="T38" fmla="*/ 119 w 119"/>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9" h="36">
                  <a:moveTo>
                    <a:pt x="0" y="36"/>
                  </a:moveTo>
                  <a:lnTo>
                    <a:pt x="19" y="19"/>
                  </a:lnTo>
                  <a:lnTo>
                    <a:pt x="41" y="0"/>
                  </a:lnTo>
                  <a:lnTo>
                    <a:pt x="60" y="0"/>
                  </a:lnTo>
                  <a:lnTo>
                    <a:pt x="81" y="19"/>
                  </a:lnTo>
                  <a:lnTo>
                    <a:pt x="100" y="36"/>
                  </a:lnTo>
                  <a:lnTo>
                    <a:pt x="119" y="36"/>
                  </a:lnTo>
                  <a:lnTo>
                    <a:pt x="100" y="36"/>
                  </a:lnTo>
                  <a:lnTo>
                    <a:pt x="81" y="36"/>
                  </a:lnTo>
                  <a:lnTo>
                    <a:pt x="60" y="36"/>
                  </a:lnTo>
                  <a:lnTo>
                    <a:pt x="41" y="36"/>
                  </a:lnTo>
                  <a:lnTo>
                    <a:pt x="0" y="36"/>
                  </a:lnTo>
                  <a:close/>
                </a:path>
              </a:pathLst>
            </a:custGeom>
            <a:solidFill>
              <a:srgbClr val="C0C0C0"/>
            </a:solidFill>
            <a:ln w="9525">
              <a:solidFill>
                <a:srgbClr val="C0C0C0"/>
              </a:solidFill>
              <a:round/>
              <a:headEnd/>
              <a:tailEnd/>
            </a:ln>
          </p:spPr>
          <p:txBody>
            <a:bodyPr/>
            <a:lstStyle/>
            <a:p>
              <a:endParaRPr lang="en-US"/>
            </a:p>
          </p:txBody>
        </p:sp>
        <p:sp>
          <p:nvSpPr>
            <p:cNvPr id="9373" name="Freeform 64"/>
            <p:cNvSpPr>
              <a:spLocks/>
            </p:cNvSpPr>
            <p:nvPr/>
          </p:nvSpPr>
          <p:spPr bwMode="auto">
            <a:xfrm>
              <a:off x="5190" y="1420"/>
              <a:ext cx="70" cy="18"/>
            </a:xfrm>
            <a:custGeom>
              <a:avLst/>
              <a:gdLst>
                <a:gd name="T0" fmla="*/ 0 w 140"/>
                <a:gd name="T1" fmla="*/ 0 h 36"/>
                <a:gd name="T2" fmla="*/ 1 w 140"/>
                <a:gd name="T3" fmla="*/ 0 h 36"/>
                <a:gd name="T4" fmla="*/ 1 w 140"/>
                <a:gd name="T5" fmla="*/ 0 h 36"/>
                <a:gd name="T6" fmla="*/ 1 w 140"/>
                <a:gd name="T7" fmla="*/ 0 h 36"/>
                <a:gd name="T8" fmla="*/ 1 w 140"/>
                <a:gd name="T9" fmla="*/ 0 h 36"/>
                <a:gd name="T10" fmla="*/ 1 w 140"/>
                <a:gd name="T11" fmla="*/ 1 h 36"/>
                <a:gd name="T12" fmla="*/ 1 w 140"/>
                <a:gd name="T13" fmla="*/ 1 h 36"/>
                <a:gd name="T14" fmla="*/ 1 w 140"/>
                <a:gd name="T15" fmla="*/ 1 h 36"/>
                <a:gd name="T16" fmla="*/ 1 w 140"/>
                <a:gd name="T17" fmla="*/ 1 h 36"/>
                <a:gd name="T18" fmla="*/ 1 w 140"/>
                <a:gd name="T19" fmla="*/ 1 h 36"/>
                <a:gd name="T20" fmla="*/ 1 w 140"/>
                <a:gd name="T21" fmla="*/ 1 h 36"/>
                <a:gd name="T22" fmla="*/ 0 w 140"/>
                <a:gd name="T23" fmla="*/ 0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0"/>
                <a:gd name="T37" fmla="*/ 0 h 36"/>
                <a:gd name="T38" fmla="*/ 140 w 140"/>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0" h="36">
                  <a:moveTo>
                    <a:pt x="0" y="0"/>
                  </a:moveTo>
                  <a:lnTo>
                    <a:pt x="40" y="0"/>
                  </a:lnTo>
                  <a:lnTo>
                    <a:pt x="100" y="0"/>
                  </a:lnTo>
                  <a:lnTo>
                    <a:pt x="121" y="0"/>
                  </a:lnTo>
                  <a:lnTo>
                    <a:pt x="140" y="0"/>
                  </a:lnTo>
                  <a:lnTo>
                    <a:pt x="140" y="17"/>
                  </a:lnTo>
                  <a:lnTo>
                    <a:pt x="121" y="17"/>
                  </a:lnTo>
                  <a:lnTo>
                    <a:pt x="121" y="36"/>
                  </a:lnTo>
                  <a:lnTo>
                    <a:pt x="100" y="36"/>
                  </a:lnTo>
                  <a:lnTo>
                    <a:pt x="59" y="17"/>
                  </a:lnTo>
                  <a:lnTo>
                    <a:pt x="21" y="17"/>
                  </a:lnTo>
                  <a:lnTo>
                    <a:pt x="0" y="0"/>
                  </a:lnTo>
                  <a:close/>
                </a:path>
              </a:pathLst>
            </a:custGeom>
            <a:solidFill>
              <a:srgbClr val="C0C0C0"/>
            </a:solidFill>
            <a:ln w="9525">
              <a:solidFill>
                <a:srgbClr val="C0C0C0"/>
              </a:solidFill>
              <a:round/>
              <a:headEnd/>
              <a:tailEnd/>
            </a:ln>
          </p:spPr>
          <p:txBody>
            <a:bodyPr/>
            <a:lstStyle/>
            <a:p>
              <a:endParaRPr lang="en-US"/>
            </a:p>
          </p:txBody>
        </p:sp>
        <p:sp>
          <p:nvSpPr>
            <p:cNvPr id="9374" name="Freeform 65"/>
            <p:cNvSpPr>
              <a:spLocks/>
            </p:cNvSpPr>
            <p:nvPr/>
          </p:nvSpPr>
          <p:spPr bwMode="auto">
            <a:xfrm>
              <a:off x="5089" y="1447"/>
              <a:ext cx="20" cy="8"/>
            </a:xfrm>
            <a:custGeom>
              <a:avLst/>
              <a:gdLst>
                <a:gd name="T0" fmla="*/ 0 w 41"/>
                <a:gd name="T1" fmla="*/ 0 h 17"/>
                <a:gd name="T2" fmla="*/ 0 w 41"/>
                <a:gd name="T3" fmla="*/ 0 h 17"/>
                <a:gd name="T4" fmla="*/ 0 w 41"/>
                <a:gd name="T5" fmla="*/ 0 h 17"/>
                <a:gd name="T6" fmla="*/ 0 w 41"/>
                <a:gd name="T7" fmla="*/ 0 h 17"/>
                <a:gd name="T8" fmla="*/ 0 w 41"/>
                <a:gd name="T9" fmla="*/ 0 h 17"/>
                <a:gd name="T10" fmla="*/ 0 w 41"/>
                <a:gd name="T11" fmla="*/ 0 h 17"/>
                <a:gd name="T12" fmla="*/ 0 w 41"/>
                <a:gd name="T13" fmla="*/ 0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41" y="0"/>
                  </a:moveTo>
                  <a:lnTo>
                    <a:pt x="41" y="17"/>
                  </a:lnTo>
                  <a:lnTo>
                    <a:pt x="19" y="17"/>
                  </a:lnTo>
                  <a:lnTo>
                    <a:pt x="0" y="17"/>
                  </a:lnTo>
                  <a:lnTo>
                    <a:pt x="0" y="0"/>
                  </a:lnTo>
                  <a:lnTo>
                    <a:pt x="19" y="0"/>
                  </a:lnTo>
                  <a:lnTo>
                    <a:pt x="41" y="0"/>
                  </a:lnTo>
                  <a:close/>
                </a:path>
              </a:pathLst>
            </a:custGeom>
            <a:solidFill>
              <a:srgbClr val="C0C0C0"/>
            </a:solidFill>
            <a:ln w="9525">
              <a:solidFill>
                <a:srgbClr val="C0C0C0"/>
              </a:solidFill>
              <a:round/>
              <a:headEnd/>
              <a:tailEnd/>
            </a:ln>
          </p:spPr>
          <p:txBody>
            <a:bodyPr/>
            <a:lstStyle/>
            <a:p>
              <a:endParaRPr lang="en-US"/>
            </a:p>
          </p:txBody>
        </p:sp>
        <p:sp>
          <p:nvSpPr>
            <p:cNvPr id="9375" name="Freeform 66"/>
            <p:cNvSpPr>
              <a:spLocks/>
            </p:cNvSpPr>
            <p:nvPr/>
          </p:nvSpPr>
          <p:spPr bwMode="auto">
            <a:xfrm>
              <a:off x="3723" y="1375"/>
              <a:ext cx="271" cy="178"/>
            </a:xfrm>
            <a:custGeom>
              <a:avLst/>
              <a:gdLst>
                <a:gd name="T0" fmla="*/ 1 w 541"/>
                <a:gd name="T1" fmla="*/ 0 h 357"/>
                <a:gd name="T2" fmla="*/ 1 w 541"/>
                <a:gd name="T3" fmla="*/ 0 h 357"/>
                <a:gd name="T4" fmla="*/ 1 w 541"/>
                <a:gd name="T5" fmla="*/ 0 h 357"/>
                <a:gd name="T6" fmla="*/ 1 w 541"/>
                <a:gd name="T7" fmla="*/ 0 h 357"/>
                <a:gd name="T8" fmla="*/ 1 w 541"/>
                <a:gd name="T9" fmla="*/ 0 h 357"/>
                <a:gd name="T10" fmla="*/ 1 w 541"/>
                <a:gd name="T11" fmla="*/ 0 h 357"/>
                <a:gd name="T12" fmla="*/ 1 w 541"/>
                <a:gd name="T13" fmla="*/ 0 h 357"/>
                <a:gd name="T14" fmla="*/ 1 w 541"/>
                <a:gd name="T15" fmla="*/ 0 h 357"/>
                <a:gd name="T16" fmla="*/ 1 w 541"/>
                <a:gd name="T17" fmla="*/ 0 h 357"/>
                <a:gd name="T18" fmla="*/ 1 w 541"/>
                <a:gd name="T19" fmla="*/ 0 h 357"/>
                <a:gd name="T20" fmla="*/ 1 w 541"/>
                <a:gd name="T21" fmla="*/ 0 h 357"/>
                <a:gd name="T22" fmla="*/ 1 w 541"/>
                <a:gd name="T23" fmla="*/ 0 h 357"/>
                <a:gd name="T24" fmla="*/ 1 w 541"/>
                <a:gd name="T25" fmla="*/ 0 h 357"/>
                <a:gd name="T26" fmla="*/ 1 w 541"/>
                <a:gd name="T27" fmla="*/ 0 h 357"/>
                <a:gd name="T28" fmla="*/ 1 w 541"/>
                <a:gd name="T29" fmla="*/ 0 h 357"/>
                <a:gd name="T30" fmla="*/ 1 w 541"/>
                <a:gd name="T31" fmla="*/ 0 h 357"/>
                <a:gd name="T32" fmla="*/ 1 w 541"/>
                <a:gd name="T33" fmla="*/ 0 h 357"/>
                <a:gd name="T34" fmla="*/ 1 w 541"/>
                <a:gd name="T35" fmla="*/ 0 h 357"/>
                <a:gd name="T36" fmla="*/ 1 w 541"/>
                <a:gd name="T37" fmla="*/ 0 h 357"/>
                <a:gd name="T38" fmla="*/ 1 w 541"/>
                <a:gd name="T39" fmla="*/ 0 h 357"/>
                <a:gd name="T40" fmla="*/ 1 w 541"/>
                <a:gd name="T41" fmla="*/ 0 h 357"/>
                <a:gd name="T42" fmla="*/ 1 w 541"/>
                <a:gd name="T43" fmla="*/ 0 h 357"/>
                <a:gd name="T44" fmla="*/ 1 w 541"/>
                <a:gd name="T45" fmla="*/ 0 h 357"/>
                <a:gd name="T46" fmla="*/ 1 w 541"/>
                <a:gd name="T47" fmla="*/ 0 h 357"/>
                <a:gd name="T48" fmla="*/ 1 w 541"/>
                <a:gd name="T49" fmla="*/ 0 h 357"/>
                <a:gd name="T50" fmla="*/ 1 w 541"/>
                <a:gd name="T51" fmla="*/ 0 h 357"/>
                <a:gd name="T52" fmla="*/ 1 w 541"/>
                <a:gd name="T53" fmla="*/ 0 h 357"/>
                <a:gd name="T54" fmla="*/ 1 w 541"/>
                <a:gd name="T55" fmla="*/ 0 h 357"/>
                <a:gd name="T56" fmla="*/ 1 w 541"/>
                <a:gd name="T57" fmla="*/ 0 h 357"/>
                <a:gd name="T58" fmla="*/ 1 w 541"/>
                <a:gd name="T59" fmla="*/ 0 h 357"/>
                <a:gd name="T60" fmla="*/ 1 w 541"/>
                <a:gd name="T61" fmla="*/ 0 h 357"/>
                <a:gd name="T62" fmla="*/ 1 w 541"/>
                <a:gd name="T63" fmla="*/ 0 h 357"/>
                <a:gd name="T64" fmla="*/ 1 w 541"/>
                <a:gd name="T65" fmla="*/ 0 h 357"/>
                <a:gd name="T66" fmla="*/ 1 w 541"/>
                <a:gd name="T67" fmla="*/ 0 h 357"/>
                <a:gd name="T68" fmla="*/ 1 w 541"/>
                <a:gd name="T69" fmla="*/ 0 h 357"/>
                <a:gd name="T70" fmla="*/ 1 w 541"/>
                <a:gd name="T71" fmla="*/ 0 h 357"/>
                <a:gd name="T72" fmla="*/ 1 w 541"/>
                <a:gd name="T73" fmla="*/ 0 h 357"/>
                <a:gd name="T74" fmla="*/ 1 w 541"/>
                <a:gd name="T75" fmla="*/ 0 h 357"/>
                <a:gd name="T76" fmla="*/ 1 w 541"/>
                <a:gd name="T77" fmla="*/ 0 h 357"/>
                <a:gd name="T78" fmla="*/ 1 w 541"/>
                <a:gd name="T79" fmla="*/ 0 h 357"/>
                <a:gd name="T80" fmla="*/ 1 w 541"/>
                <a:gd name="T81" fmla="*/ 0 h 357"/>
                <a:gd name="T82" fmla="*/ 1 w 541"/>
                <a:gd name="T83" fmla="*/ 0 h 357"/>
                <a:gd name="T84" fmla="*/ 1 w 541"/>
                <a:gd name="T85" fmla="*/ 0 h 357"/>
                <a:gd name="T86" fmla="*/ 1 w 541"/>
                <a:gd name="T87" fmla="*/ 0 h 357"/>
                <a:gd name="T88" fmla="*/ 1 w 541"/>
                <a:gd name="T89" fmla="*/ 0 h 357"/>
                <a:gd name="T90" fmla="*/ 1 w 541"/>
                <a:gd name="T91" fmla="*/ 0 h 357"/>
                <a:gd name="T92" fmla="*/ 0 w 541"/>
                <a:gd name="T93" fmla="*/ 0 h 357"/>
                <a:gd name="T94" fmla="*/ 0 w 541"/>
                <a:gd name="T95" fmla="*/ 0 h 357"/>
                <a:gd name="T96" fmla="*/ 0 w 541"/>
                <a:gd name="T97" fmla="*/ 0 h 357"/>
                <a:gd name="T98" fmla="*/ 0 w 541"/>
                <a:gd name="T99" fmla="*/ 0 h 357"/>
                <a:gd name="T100" fmla="*/ 1 w 541"/>
                <a:gd name="T101" fmla="*/ 0 h 357"/>
                <a:gd name="T102" fmla="*/ 1 w 541"/>
                <a:gd name="T103" fmla="*/ 0 h 357"/>
                <a:gd name="T104" fmla="*/ 1 w 541"/>
                <a:gd name="T105" fmla="*/ 0 h 357"/>
                <a:gd name="T106" fmla="*/ 1 w 541"/>
                <a:gd name="T107" fmla="*/ 0 h 357"/>
                <a:gd name="T108" fmla="*/ 1 w 541"/>
                <a:gd name="T109" fmla="*/ 0 h 357"/>
                <a:gd name="T110" fmla="*/ 1 w 541"/>
                <a:gd name="T111" fmla="*/ 0 h 357"/>
                <a:gd name="T112" fmla="*/ 1 w 541"/>
                <a:gd name="T113" fmla="*/ 0 h 357"/>
                <a:gd name="T114" fmla="*/ 1 w 541"/>
                <a:gd name="T115" fmla="*/ 0 h 357"/>
                <a:gd name="T116" fmla="*/ 1 w 541"/>
                <a:gd name="T117" fmla="*/ 0 h 357"/>
                <a:gd name="T118" fmla="*/ 1 w 541"/>
                <a:gd name="T119" fmla="*/ 0 h 357"/>
                <a:gd name="T120" fmla="*/ 1 w 541"/>
                <a:gd name="T121" fmla="*/ 0 h 357"/>
                <a:gd name="T122" fmla="*/ 1 w 541"/>
                <a:gd name="T123" fmla="*/ 0 h 357"/>
                <a:gd name="T124" fmla="*/ 1 w 541"/>
                <a:gd name="T125" fmla="*/ 0 h 35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41"/>
                <a:gd name="T190" fmla="*/ 0 h 357"/>
                <a:gd name="T191" fmla="*/ 541 w 541"/>
                <a:gd name="T192" fmla="*/ 357 h 35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41" h="357">
                  <a:moveTo>
                    <a:pt x="180" y="357"/>
                  </a:moveTo>
                  <a:lnTo>
                    <a:pt x="140" y="322"/>
                  </a:lnTo>
                  <a:lnTo>
                    <a:pt x="119" y="286"/>
                  </a:lnTo>
                  <a:lnTo>
                    <a:pt x="140" y="232"/>
                  </a:lnTo>
                  <a:lnTo>
                    <a:pt x="159" y="197"/>
                  </a:lnTo>
                  <a:lnTo>
                    <a:pt x="199" y="161"/>
                  </a:lnTo>
                  <a:lnTo>
                    <a:pt x="240" y="144"/>
                  </a:lnTo>
                  <a:lnTo>
                    <a:pt x="259" y="144"/>
                  </a:lnTo>
                  <a:lnTo>
                    <a:pt x="280" y="126"/>
                  </a:lnTo>
                  <a:lnTo>
                    <a:pt x="299" y="126"/>
                  </a:lnTo>
                  <a:lnTo>
                    <a:pt x="299" y="107"/>
                  </a:lnTo>
                  <a:lnTo>
                    <a:pt x="320" y="90"/>
                  </a:lnTo>
                  <a:lnTo>
                    <a:pt x="359" y="90"/>
                  </a:lnTo>
                  <a:lnTo>
                    <a:pt x="399" y="90"/>
                  </a:lnTo>
                  <a:lnTo>
                    <a:pt x="420" y="73"/>
                  </a:lnTo>
                  <a:lnTo>
                    <a:pt x="481" y="53"/>
                  </a:lnTo>
                  <a:lnTo>
                    <a:pt x="522" y="36"/>
                  </a:lnTo>
                  <a:lnTo>
                    <a:pt x="541" y="17"/>
                  </a:lnTo>
                  <a:lnTo>
                    <a:pt x="501" y="0"/>
                  </a:lnTo>
                  <a:lnTo>
                    <a:pt x="481" y="0"/>
                  </a:lnTo>
                  <a:lnTo>
                    <a:pt x="439" y="17"/>
                  </a:lnTo>
                  <a:lnTo>
                    <a:pt x="380" y="36"/>
                  </a:lnTo>
                  <a:lnTo>
                    <a:pt x="339" y="53"/>
                  </a:lnTo>
                  <a:lnTo>
                    <a:pt x="320" y="53"/>
                  </a:lnTo>
                  <a:lnTo>
                    <a:pt x="299" y="36"/>
                  </a:lnTo>
                  <a:lnTo>
                    <a:pt x="280" y="36"/>
                  </a:lnTo>
                  <a:lnTo>
                    <a:pt x="280" y="53"/>
                  </a:lnTo>
                  <a:lnTo>
                    <a:pt x="259" y="53"/>
                  </a:lnTo>
                  <a:lnTo>
                    <a:pt x="220" y="73"/>
                  </a:lnTo>
                  <a:lnTo>
                    <a:pt x="199" y="90"/>
                  </a:lnTo>
                  <a:lnTo>
                    <a:pt x="159" y="90"/>
                  </a:lnTo>
                  <a:lnTo>
                    <a:pt x="140" y="90"/>
                  </a:lnTo>
                  <a:lnTo>
                    <a:pt x="140" y="107"/>
                  </a:lnTo>
                  <a:lnTo>
                    <a:pt x="119" y="107"/>
                  </a:lnTo>
                  <a:lnTo>
                    <a:pt x="99" y="107"/>
                  </a:lnTo>
                  <a:lnTo>
                    <a:pt x="119" y="126"/>
                  </a:lnTo>
                  <a:lnTo>
                    <a:pt x="119" y="144"/>
                  </a:lnTo>
                  <a:lnTo>
                    <a:pt x="99" y="144"/>
                  </a:lnTo>
                  <a:lnTo>
                    <a:pt x="80" y="180"/>
                  </a:lnTo>
                  <a:lnTo>
                    <a:pt x="59" y="197"/>
                  </a:lnTo>
                  <a:lnTo>
                    <a:pt x="80" y="197"/>
                  </a:lnTo>
                  <a:lnTo>
                    <a:pt x="59" y="213"/>
                  </a:lnTo>
                  <a:lnTo>
                    <a:pt x="19" y="213"/>
                  </a:lnTo>
                  <a:lnTo>
                    <a:pt x="19" y="232"/>
                  </a:lnTo>
                  <a:lnTo>
                    <a:pt x="19" y="249"/>
                  </a:lnTo>
                  <a:lnTo>
                    <a:pt x="19" y="268"/>
                  </a:lnTo>
                  <a:lnTo>
                    <a:pt x="0" y="268"/>
                  </a:lnTo>
                  <a:lnTo>
                    <a:pt x="0" y="286"/>
                  </a:lnTo>
                  <a:lnTo>
                    <a:pt x="0" y="303"/>
                  </a:lnTo>
                  <a:lnTo>
                    <a:pt x="0" y="322"/>
                  </a:lnTo>
                  <a:lnTo>
                    <a:pt x="19" y="322"/>
                  </a:lnTo>
                  <a:lnTo>
                    <a:pt x="40" y="322"/>
                  </a:lnTo>
                  <a:lnTo>
                    <a:pt x="59" y="322"/>
                  </a:lnTo>
                  <a:lnTo>
                    <a:pt x="59" y="339"/>
                  </a:lnTo>
                  <a:lnTo>
                    <a:pt x="80" y="339"/>
                  </a:lnTo>
                  <a:lnTo>
                    <a:pt x="80" y="357"/>
                  </a:lnTo>
                  <a:lnTo>
                    <a:pt x="119" y="357"/>
                  </a:lnTo>
                  <a:lnTo>
                    <a:pt x="159" y="357"/>
                  </a:lnTo>
                  <a:lnTo>
                    <a:pt x="180" y="357"/>
                  </a:lnTo>
                  <a:lnTo>
                    <a:pt x="180" y="339"/>
                  </a:lnTo>
                  <a:lnTo>
                    <a:pt x="159" y="339"/>
                  </a:lnTo>
                  <a:lnTo>
                    <a:pt x="180" y="339"/>
                  </a:lnTo>
                  <a:lnTo>
                    <a:pt x="180" y="357"/>
                  </a:lnTo>
                  <a:close/>
                </a:path>
              </a:pathLst>
            </a:custGeom>
            <a:solidFill>
              <a:srgbClr val="C0C0C0"/>
            </a:solidFill>
            <a:ln w="9525">
              <a:solidFill>
                <a:srgbClr val="C0C0C0"/>
              </a:solidFill>
              <a:round/>
              <a:headEnd/>
              <a:tailEnd/>
            </a:ln>
          </p:spPr>
          <p:txBody>
            <a:bodyPr/>
            <a:lstStyle/>
            <a:p>
              <a:endParaRPr lang="en-US"/>
            </a:p>
          </p:txBody>
        </p:sp>
        <p:sp>
          <p:nvSpPr>
            <p:cNvPr id="9376" name="Freeform 67"/>
            <p:cNvSpPr>
              <a:spLocks/>
            </p:cNvSpPr>
            <p:nvPr/>
          </p:nvSpPr>
          <p:spPr bwMode="auto">
            <a:xfrm>
              <a:off x="4457" y="1295"/>
              <a:ext cx="100" cy="53"/>
            </a:xfrm>
            <a:custGeom>
              <a:avLst/>
              <a:gdLst>
                <a:gd name="T0" fmla="*/ 0 w 202"/>
                <a:gd name="T1" fmla="*/ 1 h 106"/>
                <a:gd name="T2" fmla="*/ 0 w 202"/>
                <a:gd name="T3" fmla="*/ 1 h 106"/>
                <a:gd name="T4" fmla="*/ 0 w 202"/>
                <a:gd name="T5" fmla="*/ 1 h 106"/>
                <a:gd name="T6" fmla="*/ 0 w 202"/>
                <a:gd name="T7" fmla="*/ 1 h 106"/>
                <a:gd name="T8" fmla="*/ 0 w 202"/>
                <a:gd name="T9" fmla="*/ 1 h 106"/>
                <a:gd name="T10" fmla="*/ 0 w 202"/>
                <a:gd name="T11" fmla="*/ 1 h 106"/>
                <a:gd name="T12" fmla="*/ 0 w 202"/>
                <a:gd name="T13" fmla="*/ 1 h 106"/>
                <a:gd name="T14" fmla="*/ 0 w 202"/>
                <a:gd name="T15" fmla="*/ 0 h 106"/>
                <a:gd name="T16" fmla="*/ 0 w 202"/>
                <a:gd name="T17" fmla="*/ 0 h 106"/>
                <a:gd name="T18" fmla="*/ 0 w 202"/>
                <a:gd name="T19" fmla="*/ 1 h 106"/>
                <a:gd name="T20" fmla="*/ 0 w 202"/>
                <a:gd name="T21" fmla="*/ 1 h 106"/>
                <a:gd name="T22" fmla="*/ 0 w 202"/>
                <a:gd name="T23" fmla="*/ 1 h 106"/>
                <a:gd name="T24" fmla="*/ 0 w 202"/>
                <a:gd name="T25" fmla="*/ 1 h 106"/>
                <a:gd name="T26" fmla="*/ 0 w 202"/>
                <a:gd name="T27" fmla="*/ 1 h 106"/>
                <a:gd name="T28" fmla="*/ 0 w 202"/>
                <a:gd name="T29" fmla="*/ 1 h 106"/>
                <a:gd name="T30" fmla="*/ 0 w 202"/>
                <a:gd name="T31" fmla="*/ 1 h 106"/>
                <a:gd name="T32" fmla="*/ 0 w 202"/>
                <a:gd name="T33" fmla="*/ 1 h 106"/>
                <a:gd name="T34" fmla="*/ 0 w 202"/>
                <a:gd name="T35" fmla="*/ 1 h 106"/>
                <a:gd name="T36" fmla="*/ 0 w 202"/>
                <a:gd name="T37" fmla="*/ 1 h 106"/>
                <a:gd name="T38" fmla="*/ 0 w 202"/>
                <a:gd name="T39" fmla="*/ 1 h 106"/>
                <a:gd name="T40" fmla="*/ 0 w 202"/>
                <a:gd name="T41" fmla="*/ 1 h 106"/>
                <a:gd name="T42" fmla="*/ 0 w 202"/>
                <a:gd name="T43" fmla="*/ 1 h 10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2"/>
                <a:gd name="T67" fmla="*/ 0 h 106"/>
                <a:gd name="T68" fmla="*/ 202 w 202"/>
                <a:gd name="T69" fmla="*/ 106 h 10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2" h="106">
                  <a:moveTo>
                    <a:pt x="19" y="106"/>
                  </a:moveTo>
                  <a:lnTo>
                    <a:pt x="0" y="106"/>
                  </a:lnTo>
                  <a:lnTo>
                    <a:pt x="0" y="89"/>
                  </a:lnTo>
                  <a:lnTo>
                    <a:pt x="0" y="69"/>
                  </a:lnTo>
                  <a:lnTo>
                    <a:pt x="19" y="69"/>
                  </a:lnTo>
                  <a:lnTo>
                    <a:pt x="41" y="52"/>
                  </a:lnTo>
                  <a:lnTo>
                    <a:pt x="60" y="18"/>
                  </a:lnTo>
                  <a:lnTo>
                    <a:pt x="100" y="0"/>
                  </a:lnTo>
                  <a:lnTo>
                    <a:pt x="121" y="0"/>
                  </a:lnTo>
                  <a:lnTo>
                    <a:pt x="121" y="18"/>
                  </a:lnTo>
                  <a:lnTo>
                    <a:pt x="121" y="33"/>
                  </a:lnTo>
                  <a:lnTo>
                    <a:pt x="121" y="18"/>
                  </a:lnTo>
                  <a:lnTo>
                    <a:pt x="140" y="33"/>
                  </a:lnTo>
                  <a:lnTo>
                    <a:pt x="181" y="52"/>
                  </a:lnTo>
                  <a:lnTo>
                    <a:pt x="202" y="69"/>
                  </a:lnTo>
                  <a:lnTo>
                    <a:pt x="181" y="69"/>
                  </a:lnTo>
                  <a:lnTo>
                    <a:pt x="140" y="89"/>
                  </a:lnTo>
                  <a:lnTo>
                    <a:pt x="121" y="89"/>
                  </a:lnTo>
                  <a:lnTo>
                    <a:pt x="100" y="89"/>
                  </a:lnTo>
                  <a:lnTo>
                    <a:pt x="81" y="89"/>
                  </a:lnTo>
                  <a:lnTo>
                    <a:pt x="60" y="89"/>
                  </a:lnTo>
                  <a:lnTo>
                    <a:pt x="19" y="106"/>
                  </a:lnTo>
                  <a:close/>
                </a:path>
              </a:pathLst>
            </a:custGeom>
            <a:solidFill>
              <a:srgbClr val="C0C0C0"/>
            </a:solidFill>
            <a:ln w="9525">
              <a:solidFill>
                <a:srgbClr val="C0C0C0"/>
              </a:solidFill>
              <a:round/>
              <a:headEnd/>
              <a:tailEnd/>
            </a:ln>
          </p:spPr>
          <p:txBody>
            <a:bodyPr/>
            <a:lstStyle/>
            <a:p>
              <a:endParaRPr lang="en-US"/>
            </a:p>
          </p:txBody>
        </p:sp>
        <p:sp>
          <p:nvSpPr>
            <p:cNvPr id="9377" name="Freeform 68"/>
            <p:cNvSpPr>
              <a:spLocks/>
            </p:cNvSpPr>
            <p:nvPr/>
          </p:nvSpPr>
          <p:spPr bwMode="auto">
            <a:xfrm>
              <a:off x="4325" y="1277"/>
              <a:ext cx="40" cy="18"/>
            </a:xfrm>
            <a:custGeom>
              <a:avLst/>
              <a:gdLst>
                <a:gd name="T0" fmla="*/ 0 w 81"/>
                <a:gd name="T1" fmla="*/ 0 h 36"/>
                <a:gd name="T2" fmla="*/ 0 w 81"/>
                <a:gd name="T3" fmla="*/ 0 h 36"/>
                <a:gd name="T4" fmla="*/ 0 w 81"/>
                <a:gd name="T5" fmla="*/ 0 h 36"/>
                <a:gd name="T6" fmla="*/ 0 w 81"/>
                <a:gd name="T7" fmla="*/ 1 h 36"/>
                <a:gd name="T8" fmla="*/ 0 w 81"/>
                <a:gd name="T9" fmla="*/ 1 h 36"/>
                <a:gd name="T10" fmla="*/ 0 w 81"/>
                <a:gd name="T11" fmla="*/ 1 h 36"/>
                <a:gd name="T12" fmla="*/ 0 w 81"/>
                <a:gd name="T13" fmla="*/ 1 h 36"/>
                <a:gd name="T14" fmla="*/ 0 w 81"/>
                <a:gd name="T15" fmla="*/ 1 h 36"/>
                <a:gd name="T16" fmla="*/ 0 w 81"/>
                <a:gd name="T17" fmla="*/ 1 h 36"/>
                <a:gd name="T18" fmla="*/ 0 w 81"/>
                <a:gd name="T19" fmla="*/ 0 h 36"/>
                <a:gd name="T20" fmla="*/ 0 w 81"/>
                <a:gd name="T21" fmla="*/ 0 h 36"/>
                <a:gd name="T22" fmla="*/ 0 w 81"/>
                <a:gd name="T23" fmla="*/ 0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1"/>
                <a:gd name="T37" fmla="*/ 0 h 36"/>
                <a:gd name="T38" fmla="*/ 81 w 81"/>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1" h="36">
                  <a:moveTo>
                    <a:pt x="41" y="0"/>
                  </a:moveTo>
                  <a:lnTo>
                    <a:pt x="60" y="0"/>
                  </a:lnTo>
                  <a:lnTo>
                    <a:pt x="81" y="0"/>
                  </a:lnTo>
                  <a:lnTo>
                    <a:pt x="81" y="17"/>
                  </a:lnTo>
                  <a:lnTo>
                    <a:pt x="81" y="36"/>
                  </a:lnTo>
                  <a:lnTo>
                    <a:pt x="60" y="36"/>
                  </a:lnTo>
                  <a:lnTo>
                    <a:pt x="41" y="36"/>
                  </a:lnTo>
                  <a:lnTo>
                    <a:pt x="19" y="36"/>
                  </a:lnTo>
                  <a:lnTo>
                    <a:pt x="19" y="17"/>
                  </a:lnTo>
                  <a:lnTo>
                    <a:pt x="0" y="0"/>
                  </a:lnTo>
                  <a:lnTo>
                    <a:pt x="19" y="0"/>
                  </a:lnTo>
                  <a:lnTo>
                    <a:pt x="41" y="0"/>
                  </a:lnTo>
                  <a:close/>
                </a:path>
              </a:pathLst>
            </a:custGeom>
            <a:solidFill>
              <a:srgbClr val="C0C0C0"/>
            </a:solidFill>
            <a:ln w="9525">
              <a:solidFill>
                <a:srgbClr val="C0C0C0"/>
              </a:solidFill>
              <a:round/>
              <a:headEnd/>
              <a:tailEnd/>
            </a:ln>
          </p:spPr>
          <p:txBody>
            <a:bodyPr/>
            <a:lstStyle/>
            <a:p>
              <a:endParaRPr lang="en-US"/>
            </a:p>
          </p:txBody>
        </p:sp>
        <p:sp>
          <p:nvSpPr>
            <p:cNvPr id="9378" name="Freeform 69"/>
            <p:cNvSpPr>
              <a:spLocks/>
            </p:cNvSpPr>
            <p:nvPr/>
          </p:nvSpPr>
          <p:spPr bwMode="auto">
            <a:xfrm>
              <a:off x="4345" y="1240"/>
              <a:ext cx="121" cy="81"/>
            </a:xfrm>
            <a:custGeom>
              <a:avLst/>
              <a:gdLst>
                <a:gd name="T0" fmla="*/ 1 w 241"/>
                <a:gd name="T1" fmla="*/ 1 h 161"/>
                <a:gd name="T2" fmla="*/ 1 w 241"/>
                <a:gd name="T3" fmla="*/ 1 h 161"/>
                <a:gd name="T4" fmla="*/ 1 w 241"/>
                <a:gd name="T5" fmla="*/ 1 h 161"/>
                <a:gd name="T6" fmla="*/ 1 w 241"/>
                <a:gd name="T7" fmla="*/ 1 h 161"/>
                <a:gd name="T8" fmla="*/ 1 w 241"/>
                <a:gd name="T9" fmla="*/ 1 h 161"/>
                <a:gd name="T10" fmla="*/ 1 w 241"/>
                <a:gd name="T11" fmla="*/ 1 h 161"/>
                <a:gd name="T12" fmla="*/ 1 w 241"/>
                <a:gd name="T13" fmla="*/ 1 h 161"/>
                <a:gd name="T14" fmla="*/ 1 w 241"/>
                <a:gd name="T15" fmla="*/ 1 h 161"/>
                <a:gd name="T16" fmla="*/ 1 w 241"/>
                <a:gd name="T17" fmla="*/ 1 h 161"/>
                <a:gd name="T18" fmla="*/ 1 w 241"/>
                <a:gd name="T19" fmla="*/ 1 h 161"/>
                <a:gd name="T20" fmla="*/ 1 w 241"/>
                <a:gd name="T21" fmla="*/ 1 h 161"/>
                <a:gd name="T22" fmla="*/ 1 w 241"/>
                <a:gd name="T23" fmla="*/ 1 h 161"/>
                <a:gd name="T24" fmla="*/ 1 w 241"/>
                <a:gd name="T25" fmla="*/ 1 h 161"/>
                <a:gd name="T26" fmla="*/ 1 w 241"/>
                <a:gd name="T27" fmla="*/ 1 h 161"/>
                <a:gd name="T28" fmla="*/ 1 w 241"/>
                <a:gd name="T29" fmla="*/ 1 h 161"/>
                <a:gd name="T30" fmla="*/ 1 w 241"/>
                <a:gd name="T31" fmla="*/ 1 h 161"/>
                <a:gd name="T32" fmla="*/ 0 w 241"/>
                <a:gd name="T33" fmla="*/ 1 h 161"/>
                <a:gd name="T34" fmla="*/ 1 w 241"/>
                <a:gd name="T35" fmla="*/ 1 h 161"/>
                <a:gd name="T36" fmla="*/ 1 w 241"/>
                <a:gd name="T37" fmla="*/ 0 h 161"/>
                <a:gd name="T38" fmla="*/ 1 w 241"/>
                <a:gd name="T39" fmla="*/ 0 h 161"/>
                <a:gd name="T40" fmla="*/ 1 w 241"/>
                <a:gd name="T41" fmla="*/ 0 h 161"/>
                <a:gd name="T42" fmla="*/ 1 w 241"/>
                <a:gd name="T43" fmla="*/ 1 h 161"/>
                <a:gd name="T44" fmla="*/ 1 w 241"/>
                <a:gd name="T45" fmla="*/ 1 h 161"/>
                <a:gd name="T46" fmla="*/ 1 w 241"/>
                <a:gd name="T47" fmla="*/ 1 h 161"/>
                <a:gd name="T48" fmla="*/ 1 w 241"/>
                <a:gd name="T49" fmla="*/ 1 h 161"/>
                <a:gd name="T50" fmla="*/ 1 w 241"/>
                <a:gd name="T51" fmla="*/ 1 h 161"/>
                <a:gd name="T52" fmla="*/ 1 w 241"/>
                <a:gd name="T53" fmla="*/ 1 h 161"/>
                <a:gd name="T54" fmla="*/ 1 w 241"/>
                <a:gd name="T55" fmla="*/ 1 h 161"/>
                <a:gd name="T56" fmla="*/ 1 w 241"/>
                <a:gd name="T57" fmla="*/ 1 h 161"/>
                <a:gd name="T58" fmla="*/ 1 w 241"/>
                <a:gd name="T59" fmla="*/ 1 h 161"/>
                <a:gd name="T60" fmla="*/ 1 w 241"/>
                <a:gd name="T61" fmla="*/ 1 h 161"/>
                <a:gd name="T62" fmla="*/ 1 w 241"/>
                <a:gd name="T63" fmla="*/ 1 h 161"/>
                <a:gd name="T64" fmla="*/ 1 w 241"/>
                <a:gd name="T65" fmla="*/ 1 h 161"/>
                <a:gd name="T66" fmla="*/ 1 w 241"/>
                <a:gd name="T67" fmla="*/ 1 h 161"/>
                <a:gd name="T68" fmla="*/ 1 w 241"/>
                <a:gd name="T69" fmla="*/ 1 h 161"/>
                <a:gd name="T70" fmla="*/ 1 w 241"/>
                <a:gd name="T71" fmla="*/ 1 h 16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1"/>
                <a:gd name="T109" fmla="*/ 0 h 161"/>
                <a:gd name="T110" fmla="*/ 241 w 241"/>
                <a:gd name="T111" fmla="*/ 161 h 16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1" h="161">
                  <a:moveTo>
                    <a:pt x="222" y="142"/>
                  </a:moveTo>
                  <a:lnTo>
                    <a:pt x="222" y="161"/>
                  </a:lnTo>
                  <a:lnTo>
                    <a:pt x="201" y="161"/>
                  </a:lnTo>
                  <a:lnTo>
                    <a:pt x="140" y="161"/>
                  </a:lnTo>
                  <a:lnTo>
                    <a:pt x="119" y="142"/>
                  </a:lnTo>
                  <a:lnTo>
                    <a:pt x="80" y="142"/>
                  </a:lnTo>
                  <a:lnTo>
                    <a:pt x="59" y="142"/>
                  </a:lnTo>
                  <a:lnTo>
                    <a:pt x="59" y="109"/>
                  </a:lnTo>
                  <a:lnTo>
                    <a:pt x="40" y="109"/>
                  </a:lnTo>
                  <a:lnTo>
                    <a:pt x="59" y="109"/>
                  </a:lnTo>
                  <a:lnTo>
                    <a:pt x="80" y="90"/>
                  </a:lnTo>
                  <a:lnTo>
                    <a:pt x="99" y="73"/>
                  </a:lnTo>
                  <a:lnTo>
                    <a:pt x="80" y="73"/>
                  </a:lnTo>
                  <a:lnTo>
                    <a:pt x="59" y="73"/>
                  </a:lnTo>
                  <a:lnTo>
                    <a:pt x="40" y="73"/>
                  </a:lnTo>
                  <a:lnTo>
                    <a:pt x="40" y="56"/>
                  </a:lnTo>
                  <a:lnTo>
                    <a:pt x="0" y="56"/>
                  </a:lnTo>
                  <a:lnTo>
                    <a:pt x="40" y="36"/>
                  </a:lnTo>
                  <a:lnTo>
                    <a:pt x="59" y="0"/>
                  </a:lnTo>
                  <a:lnTo>
                    <a:pt x="80" y="0"/>
                  </a:lnTo>
                  <a:lnTo>
                    <a:pt x="119" y="0"/>
                  </a:lnTo>
                  <a:lnTo>
                    <a:pt x="140" y="19"/>
                  </a:lnTo>
                  <a:lnTo>
                    <a:pt x="159" y="36"/>
                  </a:lnTo>
                  <a:lnTo>
                    <a:pt x="140" y="36"/>
                  </a:lnTo>
                  <a:lnTo>
                    <a:pt x="140" y="56"/>
                  </a:lnTo>
                  <a:lnTo>
                    <a:pt x="140" y="73"/>
                  </a:lnTo>
                  <a:lnTo>
                    <a:pt x="119" y="73"/>
                  </a:lnTo>
                  <a:lnTo>
                    <a:pt x="140" y="73"/>
                  </a:lnTo>
                  <a:lnTo>
                    <a:pt x="159" y="73"/>
                  </a:lnTo>
                  <a:lnTo>
                    <a:pt x="180" y="90"/>
                  </a:lnTo>
                  <a:lnTo>
                    <a:pt x="201" y="90"/>
                  </a:lnTo>
                  <a:lnTo>
                    <a:pt x="222" y="90"/>
                  </a:lnTo>
                  <a:lnTo>
                    <a:pt x="241" y="109"/>
                  </a:lnTo>
                  <a:lnTo>
                    <a:pt x="222" y="109"/>
                  </a:lnTo>
                  <a:lnTo>
                    <a:pt x="222" y="127"/>
                  </a:lnTo>
                  <a:lnTo>
                    <a:pt x="222" y="142"/>
                  </a:lnTo>
                  <a:close/>
                </a:path>
              </a:pathLst>
            </a:custGeom>
            <a:solidFill>
              <a:srgbClr val="C0C0C0"/>
            </a:solidFill>
            <a:ln w="9525">
              <a:solidFill>
                <a:srgbClr val="C0C0C0"/>
              </a:solidFill>
              <a:round/>
              <a:headEnd/>
              <a:tailEnd/>
            </a:ln>
          </p:spPr>
          <p:txBody>
            <a:bodyPr/>
            <a:lstStyle/>
            <a:p>
              <a:endParaRPr lang="en-US"/>
            </a:p>
          </p:txBody>
        </p:sp>
        <p:sp>
          <p:nvSpPr>
            <p:cNvPr id="9379" name="Freeform 70"/>
            <p:cNvSpPr>
              <a:spLocks/>
            </p:cNvSpPr>
            <p:nvPr/>
          </p:nvSpPr>
          <p:spPr bwMode="auto">
            <a:xfrm>
              <a:off x="4386" y="1366"/>
              <a:ext cx="19" cy="17"/>
            </a:xfrm>
            <a:custGeom>
              <a:avLst/>
              <a:gdLst>
                <a:gd name="T0" fmla="*/ 0 w 39"/>
                <a:gd name="T1" fmla="*/ 0 h 35"/>
                <a:gd name="T2" fmla="*/ 0 w 39"/>
                <a:gd name="T3" fmla="*/ 0 h 35"/>
                <a:gd name="T4" fmla="*/ 0 w 39"/>
                <a:gd name="T5" fmla="*/ 0 h 35"/>
                <a:gd name="T6" fmla="*/ 0 w 39"/>
                <a:gd name="T7" fmla="*/ 0 h 35"/>
                <a:gd name="T8" fmla="*/ 0 w 39"/>
                <a:gd name="T9" fmla="*/ 0 h 35"/>
                <a:gd name="T10" fmla="*/ 0 w 39"/>
                <a:gd name="T11" fmla="*/ 0 h 35"/>
                <a:gd name="T12" fmla="*/ 0 w 39"/>
                <a:gd name="T13" fmla="*/ 0 h 35"/>
                <a:gd name="T14" fmla="*/ 0 w 39"/>
                <a:gd name="T15" fmla="*/ 0 h 35"/>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35"/>
                <a:gd name="T26" fmla="*/ 39 w 39"/>
                <a:gd name="T27" fmla="*/ 35 h 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35">
                  <a:moveTo>
                    <a:pt x="0" y="18"/>
                  </a:moveTo>
                  <a:lnTo>
                    <a:pt x="19" y="18"/>
                  </a:lnTo>
                  <a:lnTo>
                    <a:pt x="19" y="0"/>
                  </a:lnTo>
                  <a:lnTo>
                    <a:pt x="39" y="0"/>
                  </a:lnTo>
                  <a:lnTo>
                    <a:pt x="39" y="18"/>
                  </a:lnTo>
                  <a:lnTo>
                    <a:pt x="19" y="35"/>
                  </a:lnTo>
                  <a:lnTo>
                    <a:pt x="19" y="18"/>
                  </a:lnTo>
                  <a:lnTo>
                    <a:pt x="0" y="18"/>
                  </a:lnTo>
                  <a:close/>
                </a:path>
              </a:pathLst>
            </a:custGeom>
            <a:solidFill>
              <a:srgbClr val="C0C0C0"/>
            </a:solidFill>
            <a:ln w="9525">
              <a:solidFill>
                <a:srgbClr val="C0C0C0"/>
              </a:solidFill>
              <a:round/>
              <a:headEnd/>
              <a:tailEnd/>
            </a:ln>
          </p:spPr>
          <p:txBody>
            <a:bodyPr/>
            <a:lstStyle/>
            <a:p>
              <a:endParaRPr lang="en-US"/>
            </a:p>
          </p:txBody>
        </p:sp>
        <p:sp>
          <p:nvSpPr>
            <p:cNvPr id="9380" name="Freeform 71"/>
            <p:cNvSpPr>
              <a:spLocks/>
            </p:cNvSpPr>
            <p:nvPr/>
          </p:nvSpPr>
          <p:spPr bwMode="auto">
            <a:xfrm>
              <a:off x="4325" y="1240"/>
              <a:ext cx="10" cy="0"/>
            </a:xfrm>
            <a:custGeom>
              <a:avLst/>
              <a:gdLst>
                <a:gd name="T0" fmla="*/ 1 w 19"/>
                <a:gd name="T1" fmla="*/ 0 w 19"/>
                <a:gd name="T2" fmla="*/ 1 w 19"/>
                <a:gd name="T3" fmla="*/ 0 60000 65536"/>
                <a:gd name="T4" fmla="*/ 0 60000 65536"/>
                <a:gd name="T5" fmla="*/ 0 60000 65536"/>
                <a:gd name="T6" fmla="*/ 0 w 19"/>
                <a:gd name="T7" fmla="*/ 19 w 19"/>
              </a:gdLst>
              <a:ahLst/>
              <a:cxnLst>
                <a:cxn ang="T3">
                  <a:pos x="T0" y="0"/>
                </a:cxn>
                <a:cxn ang="T4">
                  <a:pos x="T1" y="0"/>
                </a:cxn>
                <a:cxn ang="T5">
                  <a:pos x="T2" y="0"/>
                </a:cxn>
              </a:cxnLst>
              <a:rect l="T6" t="0" r="T7" b="0"/>
              <a:pathLst>
                <a:path w="19">
                  <a:moveTo>
                    <a:pt x="19" y="0"/>
                  </a:moveTo>
                  <a:lnTo>
                    <a:pt x="0" y="0"/>
                  </a:lnTo>
                  <a:lnTo>
                    <a:pt x="19" y="0"/>
                  </a:lnTo>
                  <a:close/>
                </a:path>
              </a:pathLst>
            </a:custGeom>
            <a:solidFill>
              <a:srgbClr val="C0C0C0"/>
            </a:solidFill>
            <a:ln w="9525">
              <a:solidFill>
                <a:srgbClr val="C0C0C0"/>
              </a:solidFill>
              <a:round/>
              <a:headEnd/>
              <a:tailEnd/>
            </a:ln>
          </p:spPr>
          <p:txBody>
            <a:bodyPr/>
            <a:lstStyle/>
            <a:p>
              <a:endParaRPr lang="en-US"/>
            </a:p>
          </p:txBody>
        </p:sp>
        <p:sp>
          <p:nvSpPr>
            <p:cNvPr id="9381" name="Freeform 72"/>
            <p:cNvSpPr>
              <a:spLocks/>
            </p:cNvSpPr>
            <p:nvPr/>
          </p:nvSpPr>
          <p:spPr bwMode="auto">
            <a:xfrm>
              <a:off x="3602" y="1259"/>
              <a:ext cx="110" cy="27"/>
            </a:xfrm>
            <a:custGeom>
              <a:avLst/>
              <a:gdLst>
                <a:gd name="T0" fmla="*/ 1 w 219"/>
                <a:gd name="T1" fmla="*/ 1 h 54"/>
                <a:gd name="T2" fmla="*/ 1 w 219"/>
                <a:gd name="T3" fmla="*/ 1 h 54"/>
                <a:gd name="T4" fmla="*/ 1 w 219"/>
                <a:gd name="T5" fmla="*/ 1 h 54"/>
                <a:gd name="T6" fmla="*/ 1 w 219"/>
                <a:gd name="T7" fmla="*/ 1 h 54"/>
                <a:gd name="T8" fmla="*/ 1 w 219"/>
                <a:gd name="T9" fmla="*/ 1 h 54"/>
                <a:gd name="T10" fmla="*/ 1 w 219"/>
                <a:gd name="T11" fmla="*/ 1 h 54"/>
                <a:gd name="T12" fmla="*/ 1 w 219"/>
                <a:gd name="T13" fmla="*/ 1 h 54"/>
                <a:gd name="T14" fmla="*/ 1 w 219"/>
                <a:gd name="T15" fmla="*/ 1 h 54"/>
                <a:gd name="T16" fmla="*/ 1 w 219"/>
                <a:gd name="T17" fmla="*/ 1 h 54"/>
                <a:gd name="T18" fmla="*/ 1 w 219"/>
                <a:gd name="T19" fmla="*/ 1 h 54"/>
                <a:gd name="T20" fmla="*/ 1 w 219"/>
                <a:gd name="T21" fmla="*/ 1 h 54"/>
                <a:gd name="T22" fmla="*/ 1 w 219"/>
                <a:gd name="T23" fmla="*/ 1 h 54"/>
                <a:gd name="T24" fmla="*/ 1 w 219"/>
                <a:gd name="T25" fmla="*/ 1 h 54"/>
                <a:gd name="T26" fmla="*/ 1 w 219"/>
                <a:gd name="T27" fmla="*/ 0 h 54"/>
                <a:gd name="T28" fmla="*/ 1 w 219"/>
                <a:gd name="T29" fmla="*/ 1 h 54"/>
                <a:gd name="T30" fmla="*/ 1 w 219"/>
                <a:gd name="T31" fmla="*/ 1 h 54"/>
                <a:gd name="T32" fmla="*/ 1 w 219"/>
                <a:gd name="T33" fmla="*/ 1 h 54"/>
                <a:gd name="T34" fmla="*/ 0 w 219"/>
                <a:gd name="T35" fmla="*/ 1 h 54"/>
                <a:gd name="T36" fmla="*/ 1 w 219"/>
                <a:gd name="T37" fmla="*/ 0 h 54"/>
                <a:gd name="T38" fmla="*/ 1 w 219"/>
                <a:gd name="T39" fmla="*/ 0 h 54"/>
                <a:gd name="T40" fmla="*/ 1 w 219"/>
                <a:gd name="T41" fmla="*/ 0 h 54"/>
                <a:gd name="T42" fmla="*/ 1 w 219"/>
                <a:gd name="T43" fmla="*/ 0 h 54"/>
                <a:gd name="T44" fmla="*/ 1 w 219"/>
                <a:gd name="T45" fmla="*/ 0 h 54"/>
                <a:gd name="T46" fmla="*/ 1 w 219"/>
                <a:gd name="T47" fmla="*/ 0 h 54"/>
                <a:gd name="T48" fmla="*/ 1 w 219"/>
                <a:gd name="T49" fmla="*/ 0 h 54"/>
                <a:gd name="T50" fmla="*/ 1 w 219"/>
                <a:gd name="T51" fmla="*/ 0 h 54"/>
                <a:gd name="T52" fmla="*/ 1 w 219"/>
                <a:gd name="T53" fmla="*/ 1 h 54"/>
                <a:gd name="T54" fmla="*/ 1 w 219"/>
                <a:gd name="T55" fmla="*/ 1 h 54"/>
                <a:gd name="T56" fmla="*/ 1 w 219"/>
                <a:gd name="T57" fmla="*/ 1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9"/>
                <a:gd name="T88" fmla="*/ 0 h 54"/>
                <a:gd name="T89" fmla="*/ 219 w 219"/>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9" h="54">
                  <a:moveTo>
                    <a:pt x="180" y="18"/>
                  </a:moveTo>
                  <a:lnTo>
                    <a:pt x="159" y="18"/>
                  </a:lnTo>
                  <a:lnTo>
                    <a:pt x="140" y="18"/>
                  </a:lnTo>
                  <a:lnTo>
                    <a:pt x="140" y="37"/>
                  </a:lnTo>
                  <a:lnTo>
                    <a:pt x="119" y="54"/>
                  </a:lnTo>
                  <a:lnTo>
                    <a:pt x="119" y="37"/>
                  </a:lnTo>
                  <a:lnTo>
                    <a:pt x="100" y="37"/>
                  </a:lnTo>
                  <a:lnTo>
                    <a:pt x="78" y="18"/>
                  </a:lnTo>
                  <a:lnTo>
                    <a:pt x="100" y="18"/>
                  </a:lnTo>
                  <a:lnTo>
                    <a:pt x="119" y="18"/>
                  </a:lnTo>
                  <a:lnTo>
                    <a:pt x="100" y="18"/>
                  </a:lnTo>
                  <a:lnTo>
                    <a:pt x="78" y="18"/>
                  </a:lnTo>
                  <a:lnTo>
                    <a:pt x="100" y="18"/>
                  </a:lnTo>
                  <a:lnTo>
                    <a:pt x="78" y="0"/>
                  </a:lnTo>
                  <a:lnTo>
                    <a:pt x="59" y="18"/>
                  </a:lnTo>
                  <a:lnTo>
                    <a:pt x="40" y="18"/>
                  </a:lnTo>
                  <a:lnTo>
                    <a:pt x="19" y="18"/>
                  </a:lnTo>
                  <a:lnTo>
                    <a:pt x="0" y="18"/>
                  </a:lnTo>
                  <a:lnTo>
                    <a:pt x="19" y="0"/>
                  </a:lnTo>
                  <a:lnTo>
                    <a:pt x="59" y="0"/>
                  </a:lnTo>
                  <a:lnTo>
                    <a:pt x="100" y="0"/>
                  </a:lnTo>
                  <a:lnTo>
                    <a:pt x="119" y="0"/>
                  </a:lnTo>
                  <a:lnTo>
                    <a:pt x="159" y="0"/>
                  </a:lnTo>
                  <a:lnTo>
                    <a:pt x="180" y="0"/>
                  </a:lnTo>
                  <a:lnTo>
                    <a:pt x="199" y="0"/>
                  </a:lnTo>
                  <a:lnTo>
                    <a:pt x="219" y="0"/>
                  </a:lnTo>
                  <a:lnTo>
                    <a:pt x="219" y="18"/>
                  </a:lnTo>
                  <a:lnTo>
                    <a:pt x="199" y="18"/>
                  </a:lnTo>
                  <a:lnTo>
                    <a:pt x="180" y="18"/>
                  </a:lnTo>
                  <a:close/>
                </a:path>
              </a:pathLst>
            </a:custGeom>
            <a:solidFill>
              <a:srgbClr val="C0C0C0"/>
            </a:solidFill>
            <a:ln w="9525">
              <a:solidFill>
                <a:srgbClr val="C0C0C0"/>
              </a:solidFill>
              <a:round/>
              <a:headEnd/>
              <a:tailEnd/>
            </a:ln>
          </p:spPr>
          <p:txBody>
            <a:bodyPr/>
            <a:lstStyle/>
            <a:p>
              <a:endParaRPr lang="en-US"/>
            </a:p>
          </p:txBody>
        </p:sp>
        <p:sp>
          <p:nvSpPr>
            <p:cNvPr id="9382" name="Freeform 73"/>
            <p:cNvSpPr>
              <a:spLocks/>
            </p:cNvSpPr>
            <p:nvPr/>
          </p:nvSpPr>
          <p:spPr bwMode="auto">
            <a:xfrm>
              <a:off x="3893" y="1240"/>
              <a:ext cx="30" cy="19"/>
            </a:xfrm>
            <a:custGeom>
              <a:avLst/>
              <a:gdLst>
                <a:gd name="T0" fmla="*/ 0 w 60"/>
                <a:gd name="T1" fmla="*/ 1 h 36"/>
                <a:gd name="T2" fmla="*/ 0 w 60"/>
                <a:gd name="T3" fmla="*/ 1 h 36"/>
                <a:gd name="T4" fmla="*/ 0 w 60"/>
                <a:gd name="T5" fmla="*/ 0 h 36"/>
                <a:gd name="T6" fmla="*/ 1 w 60"/>
                <a:gd name="T7" fmla="*/ 0 h 36"/>
                <a:gd name="T8" fmla="*/ 1 w 60"/>
                <a:gd name="T9" fmla="*/ 0 h 36"/>
                <a:gd name="T10" fmla="*/ 1 w 60"/>
                <a:gd name="T11" fmla="*/ 1 h 36"/>
                <a:gd name="T12" fmla="*/ 1 w 60"/>
                <a:gd name="T13" fmla="*/ 1 h 36"/>
                <a:gd name="T14" fmla="*/ 0 w 60"/>
                <a:gd name="T15" fmla="*/ 1 h 36"/>
                <a:gd name="T16" fmla="*/ 0 60000 65536"/>
                <a:gd name="T17" fmla="*/ 0 60000 65536"/>
                <a:gd name="T18" fmla="*/ 0 60000 65536"/>
                <a:gd name="T19" fmla="*/ 0 60000 65536"/>
                <a:gd name="T20" fmla="*/ 0 60000 65536"/>
                <a:gd name="T21" fmla="*/ 0 60000 65536"/>
                <a:gd name="T22" fmla="*/ 0 60000 65536"/>
                <a:gd name="T23" fmla="*/ 0 60000 65536"/>
                <a:gd name="T24" fmla="*/ 0 w 60"/>
                <a:gd name="T25" fmla="*/ 0 h 36"/>
                <a:gd name="T26" fmla="*/ 60 w 60"/>
                <a:gd name="T27" fmla="*/ 36 h 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0" h="36">
                  <a:moveTo>
                    <a:pt x="0" y="36"/>
                  </a:moveTo>
                  <a:lnTo>
                    <a:pt x="0" y="19"/>
                  </a:lnTo>
                  <a:lnTo>
                    <a:pt x="0" y="0"/>
                  </a:lnTo>
                  <a:lnTo>
                    <a:pt x="41" y="0"/>
                  </a:lnTo>
                  <a:lnTo>
                    <a:pt x="60" y="0"/>
                  </a:lnTo>
                  <a:lnTo>
                    <a:pt x="60" y="19"/>
                  </a:lnTo>
                  <a:lnTo>
                    <a:pt x="41" y="36"/>
                  </a:lnTo>
                  <a:lnTo>
                    <a:pt x="0" y="36"/>
                  </a:lnTo>
                  <a:close/>
                </a:path>
              </a:pathLst>
            </a:custGeom>
            <a:solidFill>
              <a:srgbClr val="C0C0C0"/>
            </a:solidFill>
            <a:ln w="9525">
              <a:solidFill>
                <a:srgbClr val="C0C0C0"/>
              </a:solidFill>
              <a:round/>
              <a:headEnd/>
              <a:tailEnd/>
            </a:ln>
          </p:spPr>
          <p:txBody>
            <a:bodyPr/>
            <a:lstStyle/>
            <a:p>
              <a:endParaRPr lang="en-US"/>
            </a:p>
          </p:txBody>
        </p:sp>
        <p:sp>
          <p:nvSpPr>
            <p:cNvPr id="9383" name="Freeform 74"/>
            <p:cNvSpPr>
              <a:spLocks/>
            </p:cNvSpPr>
            <p:nvPr/>
          </p:nvSpPr>
          <p:spPr bwMode="auto">
            <a:xfrm>
              <a:off x="3843" y="1250"/>
              <a:ext cx="41" cy="17"/>
            </a:xfrm>
            <a:custGeom>
              <a:avLst/>
              <a:gdLst>
                <a:gd name="T0" fmla="*/ 1 w 80"/>
                <a:gd name="T1" fmla="*/ 0 h 35"/>
                <a:gd name="T2" fmla="*/ 1 w 80"/>
                <a:gd name="T3" fmla="*/ 0 h 35"/>
                <a:gd name="T4" fmla="*/ 1 w 80"/>
                <a:gd name="T5" fmla="*/ 0 h 35"/>
                <a:gd name="T6" fmla="*/ 1 w 80"/>
                <a:gd name="T7" fmla="*/ 0 h 35"/>
                <a:gd name="T8" fmla="*/ 1 w 80"/>
                <a:gd name="T9" fmla="*/ 0 h 35"/>
                <a:gd name="T10" fmla="*/ 1 w 80"/>
                <a:gd name="T11" fmla="*/ 0 h 35"/>
                <a:gd name="T12" fmla="*/ 1 w 80"/>
                <a:gd name="T13" fmla="*/ 0 h 35"/>
                <a:gd name="T14" fmla="*/ 0 w 80"/>
                <a:gd name="T15" fmla="*/ 0 h 35"/>
                <a:gd name="T16" fmla="*/ 0 w 80"/>
                <a:gd name="T17" fmla="*/ 0 h 35"/>
                <a:gd name="T18" fmla="*/ 1 w 80"/>
                <a:gd name="T19" fmla="*/ 0 h 35"/>
                <a:gd name="T20" fmla="*/ 1 w 80"/>
                <a:gd name="T21" fmla="*/ 0 h 35"/>
                <a:gd name="T22" fmla="*/ 1 w 80"/>
                <a:gd name="T23" fmla="*/ 0 h 35"/>
                <a:gd name="T24" fmla="*/ 1 w 80"/>
                <a:gd name="T25" fmla="*/ 0 h 35"/>
                <a:gd name="T26" fmla="*/ 1 w 80"/>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0"/>
                <a:gd name="T43" fmla="*/ 0 h 35"/>
                <a:gd name="T44" fmla="*/ 80 w 80"/>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0" h="35">
                  <a:moveTo>
                    <a:pt x="80" y="0"/>
                  </a:moveTo>
                  <a:lnTo>
                    <a:pt x="80" y="17"/>
                  </a:lnTo>
                  <a:lnTo>
                    <a:pt x="59" y="35"/>
                  </a:lnTo>
                  <a:lnTo>
                    <a:pt x="40" y="35"/>
                  </a:lnTo>
                  <a:lnTo>
                    <a:pt x="59" y="35"/>
                  </a:lnTo>
                  <a:lnTo>
                    <a:pt x="40" y="35"/>
                  </a:lnTo>
                  <a:lnTo>
                    <a:pt x="19" y="35"/>
                  </a:lnTo>
                  <a:lnTo>
                    <a:pt x="0" y="35"/>
                  </a:lnTo>
                  <a:lnTo>
                    <a:pt x="0" y="17"/>
                  </a:lnTo>
                  <a:lnTo>
                    <a:pt x="19" y="17"/>
                  </a:lnTo>
                  <a:lnTo>
                    <a:pt x="19" y="0"/>
                  </a:lnTo>
                  <a:lnTo>
                    <a:pt x="40" y="0"/>
                  </a:lnTo>
                  <a:lnTo>
                    <a:pt x="59" y="0"/>
                  </a:lnTo>
                  <a:lnTo>
                    <a:pt x="80" y="0"/>
                  </a:lnTo>
                  <a:close/>
                </a:path>
              </a:pathLst>
            </a:custGeom>
            <a:solidFill>
              <a:srgbClr val="C0C0C0"/>
            </a:solidFill>
            <a:ln w="9525">
              <a:solidFill>
                <a:srgbClr val="C0C0C0"/>
              </a:solidFill>
              <a:round/>
              <a:headEnd/>
              <a:tailEnd/>
            </a:ln>
          </p:spPr>
          <p:txBody>
            <a:bodyPr/>
            <a:lstStyle/>
            <a:p>
              <a:endParaRPr lang="en-US"/>
            </a:p>
          </p:txBody>
        </p:sp>
        <p:sp>
          <p:nvSpPr>
            <p:cNvPr id="9384" name="Freeform 75"/>
            <p:cNvSpPr>
              <a:spLocks/>
            </p:cNvSpPr>
            <p:nvPr/>
          </p:nvSpPr>
          <p:spPr bwMode="auto">
            <a:xfrm>
              <a:off x="3793" y="1267"/>
              <a:ext cx="30" cy="10"/>
            </a:xfrm>
            <a:custGeom>
              <a:avLst/>
              <a:gdLst>
                <a:gd name="T0" fmla="*/ 1 w 59"/>
                <a:gd name="T1" fmla="*/ 1 h 19"/>
                <a:gd name="T2" fmla="*/ 1 w 59"/>
                <a:gd name="T3" fmla="*/ 1 h 19"/>
                <a:gd name="T4" fmla="*/ 0 w 59"/>
                <a:gd name="T5" fmla="*/ 1 h 19"/>
                <a:gd name="T6" fmla="*/ 0 w 59"/>
                <a:gd name="T7" fmla="*/ 0 h 19"/>
                <a:gd name="T8" fmla="*/ 1 w 59"/>
                <a:gd name="T9" fmla="*/ 0 h 19"/>
                <a:gd name="T10" fmla="*/ 1 w 59"/>
                <a:gd name="T11" fmla="*/ 0 h 19"/>
                <a:gd name="T12" fmla="*/ 1 w 59"/>
                <a:gd name="T13" fmla="*/ 0 h 19"/>
                <a:gd name="T14" fmla="*/ 1 w 59"/>
                <a:gd name="T15" fmla="*/ 1 h 19"/>
                <a:gd name="T16" fmla="*/ 1 w 59"/>
                <a:gd name="T17" fmla="*/ 1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19"/>
                <a:gd name="T29" fmla="*/ 59 w 59"/>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19">
                  <a:moveTo>
                    <a:pt x="40" y="19"/>
                  </a:moveTo>
                  <a:lnTo>
                    <a:pt x="19" y="19"/>
                  </a:lnTo>
                  <a:lnTo>
                    <a:pt x="0" y="19"/>
                  </a:lnTo>
                  <a:lnTo>
                    <a:pt x="0" y="0"/>
                  </a:lnTo>
                  <a:lnTo>
                    <a:pt x="19" y="0"/>
                  </a:lnTo>
                  <a:lnTo>
                    <a:pt x="40" y="0"/>
                  </a:lnTo>
                  <a:lnTo>
                    <a:pt x="59" y="0"/>
                  </a:lnTo>
                  <a:lnTo>
                    <a:pt x="59" y="19"/>
                  </a:lnTo>
                  <a:lnTo>
                    <a:pt x="40" y="19"/>
                  </a:lnTo>
                  <a:close/>
                </a:path>
              </a:pathLst>
            </a:custGeom>
            <a:solidFill>
              <a:srgbClr val="C0C0C0"/>
            </a:solidFill>
            <a:ln w="9525">
              <a:solidFill>
                <a:srgbClr val="C0C0C0"/>
              </a:solidFill>
              <a:round/>
              <a:headEnd/>
              <a:tailEnd/>
            </a:ln>
          </p:spPr>
          <p:txBody>
            <a:bodyPr/>
            <a:lstStyle/>
            <a:p>
              <a:endParaRPr lang="en-US"/>
            </a:p>
          </p:txBody>
        </p:sp>
        <p:sp>
          <p:nvSpPr>
            <p:cNvPr id="9385" name="Freeform 76"/>
            <p:cNvSpPr>
              <a:spLocks/>
            </p:cNvSpPr>
            <p:nvPr/>
          </p:nvSpPr>
          <p:spPr bwMode="auto">
            <a:xfrm>
              <a:off x="3764" y="1223"/>
              <a:ext cx="59" cy="44"/>
            </a:xfrm>
            <a:custGeom>
              <a:avLst/>
              <a:gdLst>
                <a:gd name="T0" fmla="*/ 0 w 119"/>
                <a:gd name="T1" fmla="*/ 0 h 89"/>
                <a:gd name="T2" fmla="*/ 0 w 119"/>
                <a:gd name="T3" fmla="*/ 0 h 89"/>
                <a:gd name="T4" fmla="*/ 0 w 119"/>
                <a:gd name="T5" fmla="*/ 0 h 89"/>
                <a:gd name="T6" fmla="*/ 0 w 119"/>
                <a:gd name="T7" fmla="*/ 0 h 89"/>
                <a:gd name="T8" fmla="*/ 0 w 119"/>
                <a:gd name="T9" fmla="*/ 0 h 89"/>
                <a:gd name="T10" fmla="*/ 0 w 119"/>
                <a:gd name="T11" fmla="*/ 0 h 89"/>
                <a:gd name="T12" fmla="*/ 0 w 119"/>
                <a:gd name="T13" fmla="*/ 0 h 89"/>
                <a:gd name="T14" fmla="*/ 0 w 119"/>
                <a:gd name="T15" fmla="*/ 0 h 89"/>
                <a:gd name="T16" fmla="*/ 0 w 119"/>
                <a:gd name="T17" fmla="*/ 0 h 89"/>
                <a:gd name="T18" fmla="*/ 0 w 119"/>
                <a:gd name="T19" fmla="*/ 0 h 89"/>
                <a:gd name="T20" fmla="*/ 0 w 119"/>
                <a:gd name="T21" fmla="*/ 0 h 89"/>
                <a:gd name="T22" fmla="*/ 0 w 119"/>
                <a:gd name="T23" fmla="*/ 0 h 89"/>
                <a:gd name="T24" fmla="*/ 0 w 119"/>
                <a:gd name="T25" fmla="*/ 0 h 89"/>
                <a:gd name="T26" fmla="*/ 0 w 119"/>
                <a:gd name="T27" fmla="*/ 0 h 89"/>
                <a:gd name="T28" fmla="*/ 0 w 119"/>
                <a:gd name="T29" fmla="*/ 0 h 89"/>
                <a:gd name="T30" fmla="*/ 0 w 119"/>
                <a:gd name="T31" fmla="*/ 0 h 89"/>
                <a:gd name="T32" fmla="*/ 0 w 119"/>
                <a:gd name="T33" fmla="*/ 0 h 89"/>
                <a:gd name="T34" fmla="*/ 0 w 119"/>
                <a:gd name="T35" fmla="*/ 0 h 89"/>
                <a:gd name="T36" fmla="*/ 0 w 119"/>
                <a:gd name="T37" fmla="*/ 0 h 89"/>
                <a:gd name="T38" fmla="*/ 0 w 119"/>
                <a:gd name="T39" fmla="*/ 0 h 89"/>
                <a:gd name="T40" fmla="*/ 0 w 119"/>
                <a:gd name="T41" fmla="*/ 0 h 89"/>
                <a:gd name="T42" fmla="*/ 0 w 119"/>
                <a:gd name="T43" fmla="*/ 0 h 89"/>
                <a:gd name="T44" fmla="*/ 0 w 119"/>
                <a:gd name="T45" fmla="*/ 0 h 89"/>
                <a:gd name="T46" fmla="*/ 0 w 119"/>
                <a:gd name="T47" fmla="*/ 0 h 89"/>
                <a:gd name="T48" fmla="*/ 0 w 119"/>
                <a:gd name="T49" fmla="*/ 0 h 8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9"/>
                <a:gd name="T76" fmla="*/ 0 h 89"/>
                <a:gd name="T77" fmla="*/ 119 w 119"/>
                <a:gd name="T78" fmla="*/ 89 h 8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9" h="89">
                  <a:moveTo>
                    <a:pt x="100" y="71"/>
                  </a:moveTo>
                  <a:lnTo>
                    <a:pt x="79" y="71"/>
                  </a:lnTo>
                  <a:lnTo>
                    <a:pt x="60" y="89"/>
                  </a:lnTo>
                  <a:lnTo>
                    <a:pt x="39" y="89"/>
                  </a:lnTo>
                  <a:lnTo>
                    <a:pt x="0" y="71"/>
                  </a:lnTo>
                  <a:lnTo>
                    <a:pt x="0" y="54"/>
                  </a:lnTo>
                  <a:lnTo>
                    <a:pt x="19" y="54"/>
                  </a:lnTo>
                  <a:lnTo>
                    <a:pt x="60" y="54"/>
                  </a:lnTo>
                  <a:lnTo>
                    <a:pt x="60" y="35"/>
                  </a:lnTo>
                  <a:lnTo>
                    <a:pt x="39" y="54"/>
                  </a:lnTo>
                  <a:lnTo>
                    <a:pt x="39" y="35"/>
                  </a:lnTo>
                  <a:lnTo>
                    <a:pt x="60" y="35"/>
                  </a:lnTo>
                  <a:lnTo>
                    <a:pt x="79" y="35"/>
                  </a:lnTo>
                  <a:lnTo>
                    <a:pt x="100" y="18"/>
                  </a:lnTo>
                  <a:lnTo>
                    <a:pt x="119" y="18"/>
                  </a:lnTo>
                  <a:lnTo>
                    <a:pt x="119" y="0"/>
                  </a:lnTo>
                  <a:lnTo>
                    <a:pt x="119" y="18"/>
                  </a:lnTo>
                  <a:lnTo>
                    <a:pt x="119" y="35"/>
                  </a:lnTo>
                  <a:lnTo>
                    <a:pt x="100" y="35"/>
                  </a:lnTo>
                  <a:lnTo>
                    <a:pt x="79" y="35"/>
                  </a:lnTo>
                  <a:lnTo>
                    <a:pt x="60" y="54"/>
                  </a:lnTo>
                  <a:lnTo>
                    <a:pt x="79" y="54"/>
                  </a:lnTo>
                  <a:lnTo>
                    <a:pt x="119" y="54"/>
                  </a:lnTo>
                  <a:lnTo>
                    <a:pt x="119" y="71"/>
                  </a:lnTo>
                  <a:lnTo>
                    <a:pt x="100" y="71"/>
                  </a:lnTo>
                  <a:close/>
                </a:path>
              </a:pathLst>
            </a:custGeom>
            <a:solidFill>
              <a:srgbClr val="C0C0C0"/>
            </a:solidFill>
            <a:ln w="9525">
              <a:solidFill>
                <a:srgbClr val="C0C0C0"/>
              </a:solidFill>
              <a:round/>
              <a:headEnd/>
              <a:tailEnd/>
            </a:ln>
          </p:spPr>
          <p:txBody>
            <a:bodyPr/>
            <a:lstStyle/>
            <a:p>
              <a:endParaRPr lang="en-US"/>
            </a:p>
          </p:txBody>
        </p:sp>
        <p:sp>
          <p:nvSpPr>
            <p:cNvPr id="9386" name="Freeform 77"/>
            <p:cNvSpPr>
              <a:spLocks/>
            </p:cNvSpPr>
            <p:nvPr/>
          </p:nvSpPr>
          <p:spPr bwMode="auto">
            <a:xfrm>
              <a:off x="3421" y="2215"/>
              <a:ext cx="40" cy="19"/>
            </a:xfrm>
            <a:custGeom>
              <a:avLst/>
              <a:gdLst>
                <a:gd name="T0" fmla="*/ 0 w 81"/>
                <a:gd name="T1" fmla="*/ 1 h 36"/>
                <a:gd name="T2" fmla="*/ 0 w 81"/>
                <a:gd name="T3" fmla="*/ 1 h 36"/>
                <a:gd name="T4" fmla="*/ 0 w 81"/>
                <a:gd name="T5" fmla="*/ 1 h 36"/>
                <a:gd name="T6" fmla="*/ 0 w 81"/>
                <a:gd name="T7" fmla="*/ 0 h 36"/>
                <a:gd name="T8" fmla="*/ 0 w 81"/>
                <a:gd name="T9" fmla="*/ 1 h 36"/>
                <a:gd name="T10" fmla="*/ 0 w 81"/>
                <a:gd name="T11" fmla="*/ 1 h 36"/>
                <a:gd name="T12" fmla="*/ 0 w 81"/>
                <a:gd name="T13" fmla="*/ 1 h 36"/>
                <a:gd name="T14" fmla="*/ 0 w 81"/>
                <a:gd name="T15" fmla="*/ 1 h 36"/>
                <a:gd name="T16" fmla="*/ 0 w 81"/>
                <a:gd name="T17" fmla="*/ 1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
                <a:gd name="T28" fmla="*/ 0 h 36"/>
                <a:gd name="T29" fmla="*/ 81 w 81"/>
                <a:gd name="T30" fmla="*/ 36 h 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 h="36">
                  <a:moveTo>
                    <a:pt x="0" y="36"/>
                  </a:moveTo>
                  <a:lnTo>
                    <a:pt x="21" y="17"/>
                  </a:lnTo>
                  <a:lnTo>
                    <a:pt x="40" y="17"/>
                  </a:lnTo>
                  <a:lnTo>
                    <a:pt x="81" y="0"/>
                  </a:lnTo>
                  <a:lnTo>
                    <a:pt x="61" y="17"/>
                  </a:lnTo>
                  <a:lnTo>
                    <a:pt x="61" y="36"/>
                  </a:lnTo>
                  <a:lnTo>
                    <a:pt x="40" y="36"/>
                  </a:lnTo>
                  <a:lnTo>
                    <a:pt x="21" y="36"/>
                  </a:lnTo>
                  <a:lnTo>
                    <a:pt x="0" y="36"/>
                  </a:lnTo>
                  <a:close/>
                </a:path>
              </a:pathLst>
            </a:custGeom>
            <a:solidFill>
              <a:srgbClr val="C0C0C0"/>
            </a:solidFill>
            <a:ln w="9525">
              <a:solidFill>
                <a:srgbClr val="C0C0C0"/>
              </a:solidFill>
              <a:round/>
              <a:headEnd/>
              <a:tailEnd/>
            </a:ln>
          </p:spPr>
          <p:txBody>
            <a:bodyPr/>
            <a:lstStyle/>
            <a:p>
              <a:endParaRPr lang="en-US"/>
            </a:p>
          </p:txBody>
        </p:sp>
        <p:sp>
          <p:nvSpPr>
            <p:cNvPr id="9387" name="Freeform 78"/>
            <p:cNvSpPr>
              <a:spLocks/>
            </p:cNvSpPr>
            <p:nvPr/>
          </p:nvSpPr>
          <p:spPr bwMode="auto">
            <a:xfrm>
              <a:off x="3662" y="1572"/>
              <a:ext cx="31" cy="18"/>
            </a:xfrm>
            <a:custGeom>
              <a:avLst/>
              <a:gdLst>
                <a:gd name="T0" fmla="*/ 1 w 61"/>
                <a:gd name="T1" fmla="*/ 0 h 37"/>
                <a:gd name="T2" fmla="*/ 1 w 61"/>
                <a:gd name="T3" fmla="*/ 0 h 37"/>
                <a:gd name="T4" fmla="*/ 1 w 61"/>
                <a:gd name="T5" fmla="*/ 0 h 37"/>
                <a:gd name="T6" fmla="*/ 1 w 61"/>
                <a:gd name="T7" fmla="*/ 0 h 37"/>
                <a:gd name="T8" fmla="*/ 1 w 61"/>
                <a:gd name="T9" fmla="*/ 0 h 37"/>
                <a:gd name="T10" fmla="*/ 1 w 61"/>
                <a:gd name="T11" fmla="*/ 0 h 37"/>
                <a:gd name="T12" fmla="*/ 1 w 61"/>
                <a:gd name="T13" fmla="*/ 0 h 37"/>
                <a:gd name="T14" fmla="*/ 0 w 61"/>
                <a:gd name="T15" fmla="*/ 0 h 37"/>
                <a:gd name="T16" fmla="*/ 0 w 61"/>
                <a:gd name="T17" fmla="*/ 0 h 37"/>
                <a:gd name="T18" fmla="*/ 1 w 61"/>
                <a:gd name="T19" fmla="*/ 0 h 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37"/>
                <a:gd name="T32" fmla="*/ 61 w 61"/>
                <a:gd name="T33" fmla="*/ 37 h 3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37">
                  <a:moveTo>
                    <a:pt x="21" y="17"/>
                  </a:moveTo>
                  <a:lnTo>
                    <a:pt x="21" y="0"/>
                  </a:lnTo>
                  <a:lnTo>
                    <a:pt x="40" y="17"/>
                  </a:lnTo>
                  <a:lnTo>
                    <a:pt x="61" y="17"/>
                  </a:lnTo>
                  <a:lnTo>
                    <a:pt x="61" y="37"/>
                  </a:lnTo>
                  <a:lnTo>
                    <a:pt x="40" y="37"/>
                  </a:lnTo>
                  <a:lnTo>
                    <a:pt x="21" y="37"/>
                  </a:lnTo>
                  <a:lnTo>
                    <a:pt x="0" y="37"/>
                  </a:lnTo>
                  <a:lnTo>
                    <a:pt x="0" y="17"/>
                  </a:lnTo>
                  <a:lnTo>
                    <a:pt x="21" y="17"/>
                  </a:lnTo>
                  <a:close/>
                </a:path>
              </a:pathLst>
            </a:custGeom>
            <a:solidFill>
              <a:srgbClr val="C0C0C0"/>
            </a:solidFill>
            <a:ln w="9525">
              <a:solidFill>
                <a:srgbClr val="C0C0C0"/>
              </a:solidFill>
              <a:round/>
              <a:headEnd/>
              <a:tailEnd/>
            </a:ln>
          </p:spPr>
          <p:txBody>
            <a:bodyPr/>
            <a:lstStyle/>
            <a:p>
              <a:endParaRPr lang="en-US"/>
            </a:p>
          </p:txBody>
        </p:sp>
        <p:sp>
          <p:nvSpPr>
            <p:cNvPr id="9388" name="Freeform 79"/>
            <p:cNvSpPr>
              <a:spLocks/>
            </p:cNvSpPr>
            <p:nvPr/>
          </p:nvSpPr>
          <p:spPr bwMode="auto">
            <a:xfrm>
              <a:off x="3823" y="1553"/>
              <a:ext cx="30" cy="19"/>
            </a:xfrm>
            <a:custGeom>
              <a:avLst/>
              <a:gdLst>
                <a:gd name="T0" fmla="*/ 1 w 60"/>
                <a:gd name="T1" fmla="*/ 1 h 36"/>
                <a:gd name="T2" fmla="*/ 1 w 60"/>
                <a:gd name="T3" fmla="*/ 1 h 36"/>
                <a:gd name="T4" fmla="*/ 1 w 60"/>
                <a:gd name="T5" fmla="*/ 1 h 36"/>
                <a:gd name="T6" fmla="*/ 1 w 60"/>
                <a:gd name="T7" fmla="*/ 1 h 36"/>
                <a:gd name="T8" fmla="*/ 0 w 60"/>
                <a:gd name="T9" fmla="*/ 1 h 36"/>
                <a:gd name="T10" fmla="*/ 1 w 60"/>
                <a:gd name="T11" fmla="*/ 0 h 36"/>
                <a:gd name="T12" fmla="*/ 1 w 60"/>
                <a:gd name="T13" fmla="*/ 1 h 36"/>
                <a:gd name="T14" fmla="*/ 1 w 60"/>
                <a:gd name="T15" fmla="*/ 1 h 36"/>
                <a:gd name="T16" fmla="*/ 0 60000 65536"/>
                <a:gd name="T17" fmla="*/ 0 60000 65536"/>
                <a:gd name="T18" fmla="*/ 0 60000 65536"/>
                <a:gd name="T19" fmla="*/ 0 60000 65536"/>
                <a:gd name="T20" fmla="*/ 0 60000 65536"/>
                <a:gd name="T21" fmla="*/ 0 60000 65536"/>
                <a:gd name="T22" fmla="*/ 0 60000 65536"/>
                <a:gd name="T23" fmla="*/ 0 60000 65536"/>
                <a:gd name="T24" fmla="*/ 0 w 60"/>
                <a:gd name="T25" fmla="*/ 0 h 36"/>
                <a:gd name="T26" fmla="*/ 60 w 60"/>
                <a:gd name="T27" fmla="*/ 36 h 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0" h="36">
                  <a:moveTo>
                    <a:pt x="60" y="19"/>
                  </a:moveTo>
                  <a:lnTo>
                    <a:pt x="60" y="36"/>
                  </a:lnTo>
                  <a:lnTo>
                    <a:pt x="41" y="36"/>
                  </a:lnTo>
                  <a:lnTo>
                    <a:pt x="19" y="36"/>
                  </a:lnTo>
                  <a:lnTo>
                    <a:pt x="0" y="19"/>
                  </a:lnTo>
                  <a:lnTo>
                    <a:pt x="19" y="0"/>
                  </a:lnTo>
                  <a:lnTo>
                    <a:pt x="41" y="19"/>
                  </a:lnTo>
                  <a:lnTo>
                    <a:pt x="60" y="19"/>
                  </a:lnTo>
                  <a:close/>
                </a:path>
              </a:pathLst>
            </a:custGeom>
            <a:solidFill>
              <a:srgbClr val="C0C0C0"/>
            </a:solidFill>
            <a:ln w="9525">
              <a:solidFill>
                <a:srgbClr val="C0C0C0"/>
              </a:solidFill>
              <a:round/>
              <a:headEnd/>
              <a:tailEnd/>
            </a:ln>
          </p:spPr>
          <p:txBody>
            <a:bodyPr/>
            <a:lstStyle/>
            <a:p>
              <a:endParaRPr lang="en-US"/>
            </a:p>
          </p:txBody>
        </p:sp>
        <p:sp>
          <p:nvSpPr>
            <p:cNvPr id="9389" name="Freeform 80"/>
            <p:cNvSpPr>
              <a:spLocks/>
            </p:cNvSpPr>
            <p:nvPr/>
          </p:nvSpPr>
          <p:spPr bwMode="auto">
            <a:xfrm>
              <a:off x="4005" y="1474"/>
              <a:ext cx="20" cy="7"/>
            </a:xfrm>
            <a:custGeom>
              <a:avLst/>
              <a:gdLst>
                <a:gd name="T0" fmla="*/ 0 w 40"/>
                <a:gd name="T1" fmla="*/ 0 h 16"/>
                <a:gd name="T2" fmla="*/ 1 w 40"/>
                <a:gd name="T3" fmla="*/ 0 h 16"/>
                <a:gd name="T4" fmla="*/ 1 w 40"/>
                <a:gd name="T5" fmla="*/ 0 h 16"/>
                <a:gd name="T6" fmla="*/ 1 w 40"/>
                <a:gd name="T7" fmla="*/ 0 h 16"/>
                <a:gd name="T8" fmla="*/ 1 w 40"/>
                <a:gd name="T9" fmla="*/ 0 h 16"/>
                <a:gd name="T10" fmla="*/ 0 w 40"/>
                <a:gd name="T11" fmla="*/ 0 h 16"/>
                <a:gd name="T12" fmla="*/ 0 w 40"/>
                <a:gd name="T13" fmla="*/ 0 h 16"/>
                <a:gd name="T14" fmla="*/ 0 60000 65536"/>
                <a:gd name="T15" fmla="*/ 0 60000 65536"/>
                <a:gd name="T16" fmla="*/ 0 60000 65536"/>
                <a:gd name="T17" fmla="*/ 0 60000 65536"/>
                <a:gd name="T18" fmla="*/ 0 60000 65536"/>
                <a:gd name="T19" fmla="*/ 0 60000 65536"/>
                <a:gd name="T20" fmla="*/ 0 60000 65536"/>
                <a:gd name="T21" fmla="*/ 0 w 40"/>
                <a:gd name="T22" fmla="*/ 0 h 16"/>
                <a:gd name="T23" fmla="*/ 40 w 40"/>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16">
                  <a:moveTo>
                    <a:pt x="0" y="16"/>
                  </a:moveTo>
                  <a:lnTo>
                    <a:pt x="19" y="16"/>
                  </a:lnTo>
                  <a:lnTo>
                    <a:pt x="40" y="16"/>
                  </a:lnTo>
                  <a:lnTo>
                    <a:pt x="40" y="0"/>
                  </a:lnTo>
                  <a:lnTo>
                    <a:pt x="19" y="0"/>
                  </a:lnTo>
                  <a:lnTo>
                    <a:pt x="0" y="0"/>
                  </a:lnTo>
                  <a:lnTo>
                    <a:pt x="0" y="16"/>
                  </a:lnTo>
                  <a:close/>
                </a:path>
              </a:pathLst>
            </a:custGeom>
            <a:solidFill>
              <a:srgbClr val="C0C0C0"/>
            </a:solidFill>
            <a:ln w="9525">
              <a:solidFill>
                <a:srgbClr val="C0C0C0"/>
              </a:solidFill>
              <a:round/>
              <a:headEnd/>
              <a:tailEnd/>
            </a:ln>
          </p:spPr>
          <p:txBody>
            <a:bodyPr/>
            <a:lstStyle/>
            <a:p>
              <a:endParaRPr lang="en-US"/>
            </a:p>
          </p:txBody>
        </p:sp>
        <p:sp>
          <p:nvSpPr>
            <p:cNvPr id="9390" name="Freeform 81"/>
            <p:cNvSpPr>
              <a:spLocks/>
            </p:cNvSpPr>
            <p:nvPr/>
          </p:nvSpPr>
          <p:spPr bwMode="auto">
            <a:xfrm>
              <a:off x="3100" y="1286"/>
              <a:ext cx="201" cy="97"/>
            </a:xfrm>
            <a:custGeom>
              <a:avLst/>
              <a:gdLst>
                <a:gd name="T0" fmla="*/ 1 w 401"/>
                <a:gd name="T1" fmla="*/ 0 h 196"/>
                <a:gd name="T2" fmla="*/ 1 w 401"/>
                <a:gd name="T3" fmla="*/ 0 h 196"/>
                <a:gd name="T4" fmla="*/ 1 w 401"/>
                <a:gd name="T5" fmla="*/ 0 h 196"/>
                <a:gd name="T6" fmla="*/ 1 w 401"/>
                <a:gd name="T7" fmla="*/ 0 h 196"/>
                <a:gd name="T8" fmla="*/ 1 w 401"/>
                <a:gd name="T9" fmla="*/ 0 h 196"/>
                <a:gd name="T10" fmla="*/ 1 w 401"/>
                <a:gd name="T11" fmla="*/ 0 h 196"/>
                <a:gd name="T12" fmla="*/ 1 w 401"/>
                <a:gd name="T13" fmla="*/ 0 h 196"/>
                <a:gd name="T14" fmla="*/ 1 w 401"/>
                <a:gd name="T15" fmla="*/ 0 h 196"/>
                <a:gd name="T16" fmla="*/ 1 w 401"/>
                <a:gd name="T17" fmla="*/ 0 h 196"/>
                <a:gd name="T18" fmla="*/ 1 w 401"/>
                <a:gd name="T19" fmla="*/ 0 h 196"/>
                <a:gd name="T20" fmla="*/ 1 w 401"/>
                <a:gd name="T21" fmla="*/ 0 h 196"/>
                <a:gd name="T22" fmla="*/ 1 w 401"/>
                <a:gd name="T23" fmla="*/ 0 h 196"/>
                <a:gd name="T24" fmla="*/ 1 w 401"/>
                <a:gd name="T25" fmla="*/ 0 h 196"/>
                <a:gd name="T26" fmla="*/ 1 w 401"/>
                <a:gd name="T27" fmla="*/ 0 h 196"/>
                <a:gd name="T28" fmla="*/ 1 w 401"/>
                <a:gd name="T29" fmla="*/ 0 h 196"/>
                <a:gd name="T30" fmla="*/ 1 w 401"/>
                <a:gd name="T31" fmla="*/ 0 h 196"/>
                <a:gd name="T32" fmla="*/ 1 w 401"/>
                <a:gd name="T33" fmla="*/ 0 h 196"/>
                <a:gd name="T34" fmla="*/ 1 w 401"/>
                <a:gd name="T35" fmla="*/ 0 h 196"/>
                <a:gd name="T36" fmla="*/ 1 w 401"/>
                <a:gd name="T37" fmla="*/ 0 h 196"/>
                <a:gd name="T38" fmla="*/ 1 w 401"/>
                <a:gd name="T39" fmla="*/ 0 h 196"/>
                <a:gd name="T40" fmla="*/ 1 w 401"/>
                <a:gd name="T41" fmla="*/ 0 h 196"/>
                <a:gd name="T42" fmla="*/ 1 w 401"/>
                <a:gd name="T43" fmla="*/ 0 h 196"/>
                <a:gd name="T44" fmla="*/ 0 w 401"/>
                <a:gd name="T45" fmla="*/ 0 h 196"/>
                <a:gd name="T46" fmla="*/ 0 w 401"/>
                <a:gd name="T47" fmla="*/ 0 h 196"/>
                <a:gd name="T48" fmla="*/ 1 w 401"/>
                <a:gd name="T49" fmla="*/ 0 h 196"/>
                <a:gd name="T50" fmla="*/ 1 w 401"/>
                <a:gd name="T51" fmla="*/ 0 h 196"/>
                <a:gd name="T52" fmla="*/ 1 w 401"/>
                <a:gd name="T53" fmla="*/ 0 h 196"/>
                <a:gd name="T54" fmla="*/ 1 w 401"/>
                <a:gd name="T55" fmla="*/ 0 h 196"/>
                <a:gd name="T56" fmla="*/ 1 w 401"/>
                <a:gd name="T57" fmla="*/ 0 h 196"/>
                <a:gd name="T58" fmla="*/ 1 w 401"/>
                <a:gd name="T59" fmla="*/ 0 h 196"/>
                <a:gd name="T60" fmla="*/ 1 w 401"/>
                <a:gd name="T61" fmla="*/ 0 h 196"/>
                <a:gd name="T62" fmla="*/ 1 w 401"/>
                <a:gd name="T63" fmla="*/ 0 h 196"/>
                <a:gd name="T64" fmla="*/ 1 w 401"/>
                <a:gd name="T65" fmla="*/ 0 h 196"/>
                <a:gd name="T66" fmla="*/ 1 w 401"/>
                <a:gd name="T67" fmla="*/ 0 h 196"/>
                <a:gd name="T68" fmla="*/ 1 w 401"/>
                <a:gd name="T69" fmla="*/ 0 h 196"/>
                <a:gd name="T70" fmla="*/ 1 w 401"/>
                <a:gd name="T71" fmla="*/ 0 h 196"/>
                <a:gd name="T72" fmla="*/ 1 w 401"/>
                <a:gd name="T73" fmla="*/ 0 h 196"/>
                <a:gd name="T74" fmla="*/ 1 w 401"/>
                <a:gd name="T75" fmla="*/ 0 h 196"/>
                <a:gd name="T76" fmla="*/ 1 w 401"/>
                <a:gd name="T77" fmla="*/ 0 h 196"/>
                <a:gd name="T78" fmla="*/ 1 w 401"/>
                <a:gd name="T79" fmla="*/ 0 h 1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01"/>
                <a:gd name="T121" fmla="*/ 0 h 196"/>
                <a:gd name="T122" fmla="*/ 401 w 401"/>
                <a:gd name="T123" fmla="*/ 196 h 19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01" h="196">
                  <a:moveTo>
                    <a:pt x="322" y="161"/>
                  </a:moveTo>
                  <a:lnTo>
                    <a:pt x="322" y="142"/>
                  </a:lnTo>
                  <a:lnTo>
                    <a:pt x="301" y="142"/>
                  </a:lnTo>
                  <a:lnTo>
                    <a:pt x="282" y="142"/>
                  </a:lnTo>
                  <a:lnTo>
                    <a:pt x="301" y="142"/>
                  </a:lnTo>
                  <a:lnTo>
                    <a:pt x="301" y="125"/>
                  </a:lnTo>
                  <a:lnTo>
                    <a:pt x="282" y="106"/>
                  </a:lnTo>
                  <a:lnTo>
                    <a:pt x="282" y="88"/>
                  </a:lnTo>
                  <a:lnTo>
                    <a:pt x="301" y="88"/>
                  </a:lnTo>
                  <a:lnTo>
                    <a:pt x="282" y="88"/>
                  </a:lnTo>
                  <a:lnTo>
                    <a:pt x="259" y="88"/>
                  </a:lnTo>
                  <a:lnTo>
                    <a:pt x="240" y="88"/>
                  </a:lnTo>
                  <a:lnTo>
                    <a:pt x="240" y="125"/>
                  </a:lnTo>
                  <a:lnTo>
                    <a:pt x="219" y="142"/>
                  </a:lnTo>
                  <a:lnTo>
                    <a:pt x="199" y="142"/>
                  </a:lnTo>
                  <a:lnTo>
                    <a:pt x="199" y="179"/>
                  </a:lnTo>
                  <a:lnTo>
                    <a:pt x="199" y="196"/>
                  </a:lnTo>
                  <a:lnTo>
                    <a:pt x="180" y="196"/>
                  </a:lnTo>
                  <a:lnTo>
                    <a:pt x="140" y="196"/>
                  </a:lnTo>
                  <a:lnTo>
                    <a:pt x="119" y="179"/>
                  </a:lnTo>
                  <a:lnTo>
                    <a:pt x="80" y="142"/>
                  </a:lnTo>
                  <a:lnTo>
                    <a:pt x="119" y="142"/>
                  </a:lnTo>
                  <a:lnTo>
                    <a:pt x="140" y="142"/>
                  </a:lnTo>
                  <a:lnTo>
                    <a:pt x="159" y="142"/>
                  </a:lnTo>
                  <a:lnTo>
                    <a:pt x="140" y="142"/>
                  </a:lnTo>
                  <a:lnTo>
                    <a:pt x="119" y="142"/>
                  </a:lnTo>
                  <a:lnTo>
                    <a:pt x="100" y="142"/>
                  </a:lnTo>
                  <a:lnTo>
                    <a:pt x="80" y="142"/>
                  </a:lnTo>
                  <a:lnTo>
                    <a:pt x="80" y="125"/>
                  </a:lnTo>
                  <a:lnTo>
                    <a:pt x="100" y="106"/>
                  </a:lnTo>
                  <a:lnTo>
                    <a:pt x="119" y="106"/>
                  </a:lnTo>
                  <a:lnTo>
                    <a:pt x="140" y="106"/>
                  </a:lnTo>
                  <a:lnTo>
                    <a:pt x="140" y="88"/>
                  </a:lnTo>
                  <a:lnTo>
                    <a:pt x="159" y="88"/>
                  </a:lnTo>
                  <a:lnTo>
                    <a:pt x="140" y="88"/>
                  </a:lnTo>
                  <a:lnTo>
                    <a:pt x="119" y="88"/>
                  </a:lnTo>
                  <a:lnTo>
                    <a:pt x="100" y="88"/>
                  </a:lnTo>
                  <a:lnTo>
                    <a:pt x="80" y="106"/>
                  </a:lnTo>
                  <a:lnTo>
                    <a:pt x="59" y="106"/>
                  </a:lnTo>
                  <a:lnTo>
                    <a:pt x="59" y="88"/>
                  </a:lnTo>
                  <a:lnTo>
                    <a:pt x="40" y="88"/>
                  </a:lnTo>
                  <a:lnTo>
                    <a:pt x="59" y="88"/>
                  </a:lnTo>
                  <a:lnTo>
                    <a:pt x="40" y="88"/>
                  </a:lnTo>
                  <a:lnTo>
                    <a:pt x="19" y="71"/>
                  </a:lnTo>
                  <a:lnTo>
                    <a:pt x="19" y="52"/>
                  </a:lnTo>
                  <a:lnTo>
                    <a:pt x="0" y="52"/>
                  </a:lnTo>
                  <a:lnTo>
                    <a:pt x="0" y="37"/>
                  </a:lnTo>
                  <a:lnTo>
                    <a:pt x="0" y="19"/>
                  </a:lnTo>
                  <a:lnTo>
                    <a:pt x="19" y="19"/>
                  </a:lnTo>
                  <a:lnTo>
                    <a:pt x="40" y="19"/>
                  </a:lnTo>
                  <a:lnTo>
                    <a:pt x="59" y="19"/>
                  </a:lnTo>
                  <a:lnTo>
                    <a:pt x="80" y="19"/>
                  </a:lnTo>
                  <a:lnTo>
                    <a:pt x="59" y="19"/>
                  </a:lnTo>
                  <a:lnTo>
                    <a:pt x="80" y="19"/>
                  </a:lnTo>
                  <a:lnTo>
                    <a:pt x="100" y="37"/>
                  </a:lnTo>
                  <a:lnTo>
                    <a:pt x="80" y="37"/>
                  </a:lnTo>
                  <a:lnTo>
                    <a:pt x="80" y="19"/>
                  </a:lnTo>
                  <a:lnTo>
                    <a:pt x="100" y="19"/>
                  </a:lnTo>
                  <a:lnTo>
                    <a:pt x="140" y="19"/>
                  </a:lnTo>
                  <a:lnTo>
                    <a:pt x="140" y="37"/>
                  </a:lnTo>
                  <a:lnTo>
                    <a:pt x="159" y="52"/>
                  </a:lnTo>
                  <a:lnTo>
                    <a:pt x="140" y="37"/>
                  </a:lnTo>
                  <a:lnTo>
                    <a:pt x="140" y="19"/>
                  </a:lnTo>
                  <a:lnTo>
                    <a:pt x="140" y="0"/>
                  </a:lnTo>
                  <a:lnTo>
                    <a:pt x="159" y="0"/>
                  </a:lnTo>
                  <a:lnTo>
                    <a:pt x="180" y="0"/>
                  </a:lnTo>
                  <a:lnTo>
                    <a:pt x="199" y="0"/>
                  </a:lnTo>
                  <a:lnTo>
                    <a:pt x="199" y="19"/>
                  </a:lnTo>
                  <a:lnTo>
                    <a:pt x="219" y="19"/>
                  </a:lnTo>
                  <a:lnTo>
                    <a:pt x="240" y="19"/>
                  </a:lnTo>
                  <a:lnTo>
                    <a:pt x="240" y="37"/>
                  </a:lnTo>
                  <a:lnTo>
                    <a:pt x="240" y="52"/>
                  </a:lnTo>
                  <a:lnTo>
                    <a:pt x="301" y="71"/>
                  </a:lnTo>
                  <a:lnTo>
                    <a:pt x="322" y="88"/>
                  </a:lnTo>
                  <a:lnTo>
                    <a:pt x="341" y="88"/>
                  </a:lnTo>
                  <a:lnTo>
                    <a:pt x="361" y="88"/>
                  </a:lnTo>
                  <a:lnTo>
                    <a:pt x="382" y="125"/>
                  </a:lnTo>
                  <a:lnTo>
                    <a:pt x="401" y="142"/>
                  </a:lnTo>
                  <a:lnTo>
                    <a:pt x="382" y="142"/>
                  </a:lnTo>
                  <a:lnTo>
                    <a:pt x="361" y="161"/>
                  </a:lnTo>
                  <a:lnTo>
                    <a:pt x="322" y="161"/>
                  </a:lnTo>
                  <a:close/>
                </a:path>
              </a:pathLst>
            </a:custGeom>
            <a:solidFill>
              <a:srgbClr val="C0C0C0"/>
            </a:solidFill>
            <a:ln w="9525">
              <a:solidFill>
                <a:srgbClr val="C0C0C0"/>
              </a:solidFill>
              <a:round/>
              <a:headEnd/>
              <a:tailEnd/>
            </a:ln>
          </p:spPr>
          <p:txBody>
            <a:bodyPr/>
            <a:lstStyle/>
            <a:p>
              <a:endParaRPr lang="en-US"/>
            </a:p>
          </p:txBody>
        </p:sp>
        <p:sp>
          <p:nvSpPr>
            <p:cNvPr id="9391" name="Freeform 82"/>
            <p:cNvSpPr>
              <a:spLocks/>
            </p:cNvSpPr>
            <p:nvPr/>
          </p:nvSpPr>
          <p:spPr bwMode="auto">
            <a:xfrm>
              <a:off x="3200" y="1267"/>
              <a:ext cx="141" cy="45"/>
            </a:xfrm>
            <a:custGeom>
              <a:avLst/>
              <a:gdLst>
                <a:gd name="T0" fmla="*/ 0 w 283"/>
                <a:gd name="T1" fmla="*/ 1 h 88"/>
                <a:gd name="T2" fmla="*/ 0 w 283"/>
                <a:gd name="T3" fmla="*/ 1 h 88"/>
                <a:gd name="T4" fmla="*/ 0 w 283"/>
                <a:gd name="T5" fmla="*/ 1 h 88"/>
                <a:gd name="T6" fmla="*/ 0 w 283"/>
                <a:gd name="T7" fmla="*/ 1 h 88"/>
                <a:gd name="T8" fmla="*/ 0 w 283"/>
                <a:gd name="T9" fmla="*/ 1 h 88"/>
                <a:gd name="T10" fmla="*/ 0 w 283"/>
                <a:gd name="T11" fmla="*/ 1 h 88"/>
                <a:gd name="T12" fmla="*/ 0 w 283"/>
                <a:gd name="T13" fmla="*/ 1 h 88"/>
                <a:gd name="T14" fmla="*/ 0 w 283"/>
                <a:gd name="T15" fmla="*/ 1 h 88"/>
                <a:gd name="T16" fmla="*/ 0 w 283"/>
                <a:gd name="T17" fmla="*/ 1 h 88"/>
                <a:gd name="T18" fmla="*/ 0 w 283"/>
                <a:gd name="T19" fmla="*/ 1 h 88"/>
                <a:gd name="T20" fmla="*/ 0 w 283"/>
                <a:gd name="T21" fmla="*/ 1 h 88"/>
                <a:gd name="T22" fmla="*/ 0 w 283"/>
                <a:gd name="T23" fmla="*/ 1 h 88"/>
                <a:gd name="T24" fmla="*/ 0 w 283"/>
                <a:gd name="T25" fmla="*/ 1 h 88"/>
                <a:gd name="T26" fmla="*/ 0 w 283"/>
                <a:gd name="T27" fmla="*/ 1 h 88"/>
                <a:gd name="T28" fmla="*/ 0 w 283"/>
                <a:gd name="T29" fmla="*/ 1 h 88"/>
                <a:gd name="T30" fmla="*/ 0 w 283"/>
                <a:gd name="T31" fmla="*/ 1 h 88"/>
                <a:gd name="T32" fmla="*/ 0 w 283"/>
                <a:gd name="T33" fmla="*/ 1 h 88"/>
                <a:gd name="T34" fmla="*/ 0 w 283"/>
                <a:gd name="T35" fmla="*/ 1 h 88"/>
                <a:gd name="T36" fmla="*/ 0 w 283"/>
                <a:gd name="T37" fmla="*/ 0 h 88"/>
                <a:gd name="T38" fmla="*/ 0 w 283"/>
                <a:gd name="T39" fmla="*/ 0 h 88"/>
                <a:gd name="T40" fmla="*/ 0 w 283"/>
                <a:gd name="T41" fmla="*/ 1 h 88"/>
                <a:gd name="T42" fmla="*/ 0 w 283"/>
                <a:gd name="T43" fmla="*/ 0 h 88"/>
                <a:gd name="T44" fmla="*/ 0 w 283"/>
                <a:gd name="T45" fmla="*/ 0 h 88"/>
                <a:gd name="T46" fmla="*/ 0 w 283"/>
                <a:gd name="T47" fmla="*/ 0 h 88"/>
                <a:gd name="T48" fmla="*/ 0 w 283"/>
                <a:gd name="T49" fmla="*/ 1 h 88"/>
                <a:gd name="T50" fmla="*/ 0 w 283"/>
                <a:gd name="T51" fmla="*/ 0 h 88"/>
                <a:gd name="T52" fmla="*/ 0 w 283"/>
                <a:gd name="T53" fmla="*/ 0 h 88"/>
                <a:gd name="T54" fmla="*/ 0 w 283"/>
                <a:gd name="T55" fmla="*/ 1 h 88"/>
                <a:gd name="T56" fmla="*/ 0 w 283"/>
                <a:gd name="T57" fmla="*/ 1 h 88"/>
                <a:gd name="T58" fmla="*/ 0 w 283"/>
                <a:gd name="T59" fmla="*/ 0 h 88"/>
                <a:gd name="T60" fmla="*/ 0 w 283"/>
                <a:gd name="T61" fmla="*/ 0 h 88"/>
                <a:gd name="T62" fmla="*/ 0 w 283"/>
                <a:gd name="T63" fmla="*/ 0 h 88"/>
                <a:gd name="T64" fmla="*/ 0 w 283"/>
                <a:gd name="T65" fmla="*/ 0 h 88"/>
                <a:gd name="T66" fmla="*/ 0 w 283"/>
                <a:gd name="T67" fmla="*/ 1 h 88"/>
                <a:gd name="T68" fmla="*/ 0 w 283"/>
                <a:gd name="T69" fmla="*/ 1 h 88"/>
                <a:gd name="T70" fmla="*/ 0 w 283"/>
                <a:gd name="T71" fmla="*/ 1 h 8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3"/>
                <a:gd name="T109" fmla="*/ 0 h 88"/>
                <a:gd name="T110" fmla="*/ 283 w 283"/>
                <a:gd name="T111" fmla="*/ 88 h 8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3" h="88">
                  <a:moveTo>
                    <a:pt x="283" y="36"/>
                  </a:moveTo>
                  <a:lnTo>
                    <a:pt x="242" y="55"/>
                  </a:lnTo>
                  <a:lnTo>
                    <a:pt x="202" y="73"/>
                  </a:lnTo>
                  <a:lnTo>
                    <a:pt x="162" y="88"/>
                  </a:lnTo>
                  <a:lnTo>
                    <a:pt x="142" y="88"/>
                  </a:lnTo>
                  <a:lnTo>
                    <a:pt x="142" y="73"/>
                  </a:lnTo>
                  <a:lnTo>
                    <a:pt x="123" y="73"/>
                  </a:lnTo>
                  <a:lnTo>
                    <a:pt x="83" y="73"/>
                  </a:lnTo>
                  <a:lnTo>
                    <a:pt x="60" y="73"/>
                  </a:lnTo>
                  <a:lnTo>
                    <a:pt x="41" y="55"/>
                  </a:lnTo>
                  <a:lnTo>
                    <a:pt x="60" y="55"/>
                  </a:lnTo>
                  <a:lnTo>
                    <a:pt x="83" y="55"/>
                  </a:lnTo>
                  <a:lnTo>
                    <a:pt x="102" y="55"/>
                  </a:lnTo>
                  <a:lnTo>
                    <a:pt x="83" y="55"/>
                  </a:lnTo>
                  <a:lnTo>
                    <a:pt x="60" y="55"/>
                  </a:lnTo>
                  <a:lnTo>
                    <a:pt x="41" y="55"/>
                  </a:lnTo>
                  <a:lnTo>
                    <a:pt x="20" y="36"/>
                  </a:lnTo>
                  <a:lnTo>
                    <a:pt x="0" y="19"/>
                  </a:lnTo>
                  <a:lnTo>
                    <a:pt x="0" y="0"/>
                  </a:lnTo>
                  <a:lnTo>
                    <a:pt x="20" y="0"/>
                  </a:lnTo>
                  <a:lnTo>
                    <a:pt x="41" y="19"/>
                  </a:lnTo>
                  <a:lnTo>
                    <a:pt x="41" y="0"/>
                  </a:lnTo>
                  <a:lnTo>
                    <a:pt x="60" y="0"/>
                  </a:lnTo>
                  <a:lnTo>
                    <a:pt x="83" y="0"/>
                  </a:lnTo>
                  <a:lnTo>
                    <a:pt x="123" y="19"/>
                  </a:lnTo>
                  <a:lnTo>
                    <a:pt x="142" y="0"/>
                  </a:lnTo>
                  <a:lnTo>
                    <a:pt x="162" y="0"/>
                  </a:lnTo>
                  <a:lnTo>
                    <a:pt x="162" y="19"/>
                  </a:lnTo>
                  <a:lnTo>
                    <a:pt x="183" y="19"/>
                  </a:lnTo>
                  <a:lnTo>
                    <a:pt x="183" y="0"/>
                  </a:lnTo>
                  <a:lnTo>
                    <a:pt x="202" y="0"/>
                  </a:lnTo>
                  <a:lnTo>
                    <a:pt x="223" y="0"/>
                  </a:lnTo>
                  <a:lnTo>
                    <a:pt x="242" y="0"/>
                  </a:lnTo>
                  <a:lnTo>
                    <a:pt x="242" y="19"/>
                  </a:lnTo>
                  <a:lnTo>
                    <a:pt x="263" y="19"/>
                  </a:lnTo>
                  <a:lnTo>
                    <a:pt x="283" y="36"/>
                  </a:lnTo>
                  <a:close/>
                </a:path>
              </a:pathLst>
            </a:custGeom>
            <a:solidFill>
              <a:srgbClr val="C0C0C0"/>
            </a:solidFill>
            <a:ln w="9525">
              <a:solidFill>
                <a:srgbClr val="C0C0C0"/>
              </a:solidFill>
              <a:round/>
              <a:headEnd/>
              <a:tailEnd/>
            </a:ln>
          </p:spPr>
          <p:txBody>
            <a:bodyPr/>
            <a:lstStyle/>
            <a:p>
              <a:endParaRPr lang="en-US"/>
            </a:p>
          </p:txBody>
        </p:sp>
        <p:sp>
          <p:nvSpPr>
            <p:cNvPr id="9392" name="Freeform 83"/>
            <p:cNvSpPr>
              <a:spLocks/>
            </p:cNvSpPr>
            <p:nvPr/>
          </p:nvSpPr>
          <p:spPr bwMode="auto">
            <a:xfrm>
              <a:off x="2769" y="1884"/>
              <a:ext cx="70" cy="64"/>
            </a:xfrm>
            <a:custGeom>
              <a:avLst/>
              <a:gdLst>
                <a:gd name="T0" fmla="*/ 0 w 141"/>
                <a:gd name="T1" fmla="*/ 1 h 126"/>
                <a:gd name="T2" fmla="*/ 0 w 141"/>
                <a:gd name="T3" fmla="*/ 1 h 126"/>
                <a:gd name="T4" fmla="*/ 0 w 141"/>
                <a:gd name="T5" fmla="*/ 1 h 126"/>
                <a:gd name="T6" fmla="*/ 0 w 141"/>
                <a:gd name="T7" fmla="*/ 0 h 126"/>
                <a:gd name="T8" fmla="*/ 0 w 141"/>
                <a:gd name="T9" fmla="*/ 0 h 126"/>
                <a:gd name="T10" fmla="*/ 0 w 141"/>
                <a:gd name="T11" fmla="*/ 0 h 126"/>
                <a:gd name="T12" fmla="*/ 0 w 141"/>
                <a:gd name="T13" fmla="*/ 0 h 126"/>
                <a:gd name="T14" fmla="*/ 0 w 141"/>
                <a:gd name="T15" fmla="*/ 0 h 126"/>
                <a:gd name="T16" fmla="*/ 0 w 141"/>
                <a:gd name="T17" fmla="*/ 1 h 126"/>
                <a:gd name="T18" fmla="*/ 0 w 141"/>
                <a:gd name="T19" fmla="*/ 1 h 126"/>
                <a:gd name="T20" fmla="*/ 0 w 141"/>
                <a:gd name="T21" fmla="*/ 1 h 126"/>
                <a:gd name="T22" fmla="*/ 0 w 141"/>
                <a:gd name="T23" fmla="*/ 1 h 126"/>
                <a:gd name="T24" fmla="*/ 0 w 141"/>
                <a:gd name="T25" fmla="*/ 1 h 126"/>
                <a:gd name="T26" fmla="*/ 0 w 141"/>
                <a:gd name="T27" fmla="*/ 1 h 126"/>
                <a:gd name="T28" fmla="*/ 0 w 141"/>
                <a:gd name="T29" fmla="*/ 1 h 126"/>
                <a:gd name="T30" fmla="*/ 0 w 141"/>
                <a:gd name="T31" fmla="*/ 1 h 126"/>
                <a:gd name="T32" fmla="*/ 0 w 141"/>
                <a:gd name="T33" fmla="*/ 1 h 126"/>
                <a:gd name="T34" fmla="*/ 0 w 141"/>
                <a:gd name="T35" fmla="*/ 1 h 126"/>
                <a:gd name="T36" fmla="*/ 0 w 141"/>
                <a:gd name="T37" fmla="*/ 1 h 126"/>
                <a:gd name="T38" fmla="*/ 0 w 141"/>
                <a:gd name="T39" fmla="*/ 1 h 126"/>
                <a:gd name="T40" fmla="*/ 0 w 141"/>
                <a:gd name="T41" fmla="*/ 1 h 126"/>
                <a:gd name="T42" fmla="*/ 0 w 141"/>
                <a:gd name="T43" fmla="*/ 1 h 126"/>
                <a:gd name="T44" fmla="*/ 0 w 141"/>
                <a:gd name="T45" fmla="*/ 1 h 126"/>
                <a:gd name="T46" fmla="*/ 0 w 141"/>
                <a:gd name="T47" fmla="*/ 1 h 126"/>
                <a:gd name="T48" fmla="*/ 0 w 141"/>
                <a:gd name="T49" fmla="*/ 1 h 126"/>
                <a:gd name="T50" fmla="*/ 0 w 141"/>
                <a:gd name="T51" fmla="*/ 1 h 1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1"/>
                <a:gd name="T79" fmla="*/ 0 h 126"/>
                <a:gd name="T80" fmla="*/ 141 w 141"/>
                <a:gd name="T81" fmla="*/ 126 h 12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1" h="126">
                  <a:moveTo>
                    <a:pt x="41" y="36"/>
                  </a:moveTo>
                  <a:lnTo>
                    <a:pt x="60" y="36"/>
                  </a:lnTo>
                  <a:lnTo>
                    <a:pt x="60" y="19"/>
                  </a:lnTo>
                  <a:lnTo>
                    <a:pt x="60" y="0"/>
                  </a:lnTo>
                  <a:lnTo>
                    <a:pt x="81" y="0"/>
                  </a:lnTo>
                  <a:lnTo>
                    <a:pt x="100" y="0"/>
                  </a:lnTo>
                  <a:lnTo>
                    <a:pt x="121" y="0"/>
                  </a:lnTo>
                  <a:lnTo>
                    <a:pt x="141" y="0"/>
                  </a:lnTo>
                  <a:lnTo>
                    <a:pt x="141" y="36"/>
                  </a:lnTo>
                  <a:lnTo>
                    <a:pt x="121" y="36"/>
                  </a:lnTo>
                  <a:lnTo>
                    <a:pt x="121" y="54"/>
                  </a:lnTo>
                  <a:lnTo>
                    <a:pt x="121" y="73"/>
                  </a:lnTo>
                  <a:lnTo>
                    <a:pt x="121" y="90"/>
                  </a:lnTo>
                  <a:lnTo>
                    <a:pt x="121" y="107"/>
                  </a:lnTo>
                  <a:lnTo>
                    <a:pt x="100" y="107"/>
                  </a:lnTo>
                  <a:lnTo>
                    <a:pt x="81" y="107"/>
                  </a:lnTo>
                  <a:lnTo>
                    <a:pt x="60" y="126"/>
                  </a:lnTo>
                  <a:lnTo>
                    <a:pt x="41" y="126"/>
                  </a:lnTo>
                  <a:lnTo>
                    <a:pt x="22" y="126"/>
                  </a:lnTo>
                  <a:lnTo>
                    <a:pt x="0" y="107"/>
                  </a:lnTo>
                  <a:lnTo>
                    <a:pt x="22" y="90"/>
                  </a:lnTo>
                  <a:lnTo>
                    <a:pt x="41" y="73"/>
                  </a:lnTo>
                  <a:lnTo>
                    <a:pt x="41" y="54"/>
                  </a:lnTo>
                  <a:lnTo>
                    <a:pt x="22" y="54"/>
                  </a:lnTo>
                  <a:lnTo>
                    <a:pt x="22" y="36"/>
                  </a:lnTo>
                  <a:lnTo>
                    <a:pt x="41" y="36"/>
                  </a:lnTo>
                  <a:close/>
                </a:path>
              </a:pathLst>
            </a:custGeom>
            <a:solidFill>
              <a:srgbClr val="C0C0C0"/>
            </a:solidFill>
            <a:ln w="9525">
              <a:solidFill>
                <a:srgbClr val="C0C0C0"/>
              </a:solidFill>
              <a:round/>
              <a:headEnd/>
              <a:tailEnd/>
            </a:ln>
          </p:spPr>
          <p:txBody>
            <a:bodyPr/>
            <a:lstStyle/>
            <a:p>
              <a:endParaRPr lang="en-US"/>
            </a:p>
          </p:txBody>
        </p:sp>
        <p:sp>
          <p:nvSpPr>
            <p:cNvPr id="9393" name="Freeform 84"/>
            <p:cNvSpPr>
              <a:spLocks/>
            </p:cNvSpPr>
            <p:nvPr/>
          </p:nvSpPr>
          <p:spPr bwMode="auto">
            <a:xfrm>
              <a:off x="2819" y="1823"/>
              <a:ext cx="11" cy="0"/>
            </a:xfrm>
            <a:custGeom>
              <a:avLst/>
              <a:gdLst>
                <a:gd name="T0" fmla="*/ 1 w 21"/>
                <a:gd name="T1" fmla="*/ 0 w 21"/>
                <a:gd name="T2" fmla="*/ 1 w 21"/>
                <a:gd name="T3" fmla="*/ 0 60000 65536"/>
                <a:gd name="T4" fmla="*/ 0 60000 65536"/>
                <a:gd name="T5" fmla="*/ 0 60000 65536"/>
                <a:gd name="T6" fmla="*/ 0 w 21"/>
                <a:gd name="T7" fmla="*/ 21 w 21"/>
              </a:gdLst>
              <a:ahLst/>
              <a:cxnLst>
                <a:cxn ang="T3">
                  <a:pos x="T0" y="0"/>
                </a:cxn>
                <a:cxn ang="T4">
                  <a:pos x="T1" y="0"/>
                </a:cxn>
                <a:cxn ang="T5">
                  <a:pos x="T2" y="0"/>
                </a:cxn>
              </a:cxnLst>
              <a:rect l="T6" t="0" r="T7" b="0"/>
              <a:pathLst>
                <a:path w="21">
                  <a:moveTo>
                    <a:pt x="21" y="0"/>
                  </a:moveTo>
                  <a:lnTo>
                    <a:pt x="0" y="0"/>
                  </a:lnTo>
                  <a:lnTo>
                    <a:pt x="21" y="0"/>
                  </a:lnTo>
                  <a:close/>
                </a:path>
              </a:pathLst>
            </a:custGeom>
            <a:solidFill>
              <a:srgbClr val="C0C0C0"/>
            </a:solidFill>
            <a:ln w="9525">
              <a:solidFill>
                <a:srgbClr val="C0C0C0"/>
              </a:solidFill>
              <a:round/>
              <a:headEnd/>
              <a:tailEnd/>
            </a:ln>
          </p:spPr>
          <p:txBody>
            <a:bodyPr/>
            <a:lstStyle/>
            <a:p>
              <a:endParaRPr lang="en-US"/>
            </a:p>
          </p:txBody>
        </p:sp>
        <p:sp>
          <p:nvSpPr>
            <p:cNvPr id="9394" name="Freeform 85"/>
            <p:cNvSpPr>
              <a:spLocks/>
            </p:cNvSpPr>
            <p:nvPr/>
          </p:nvSpPr>
          <p:spPr bwMode="auto">
            <a:xfrm>
              <a:off x="2830" y="1813"/>
              <a:ext cx="129" cy="162"/>
            </a:xfrm>
            <a:custGeom>
              <a:avLst/>
              <a:gdLst>
                <a:gd name="T0" fmla="*/ 0 w 260"/>
                <a:gd name="T1" fmla="*/ 1 h 322"/>
                <a:gd name="T2" fmla="*/ 0 w 260"/>
                <a:gd name="T3" fmla="*/ 1 h 322"/>
                <a:gd name="T4" fmla="*/ 0 w 260"/>
                <a:gd name="T5" fmla="*/ 1 h 322"/>
                <a:gd name="T6" fmla="*/ 0 w 260"/>
                <a:gd name="T7" fmla="*/ 1 h 322"/>
                <a:gd name="T8" fmla="*/ 0 w 260"/>
                <a:gd name="T9" fmla="*/ 1 h 322"/>
                <a:gd name="T10" fmla="*/ 0 w 260"/>
                <a:gd name="T11" fmla="*/ 1 h 322"/>
                <a:gd name="T12" fmla="*/ 0 w 260"/>
                <a:gd name="T13" fmla="*/ 1 h 322"/>
                <a:gd name="T14" fmla="*/ 0 w 260"/>
                <a:gd name="T15" fmla="*/ 1 h 322"/>
                <a:gd name="T16" fmla="*/ 0 w 260"/>
                <a:gd name="T17" fmla="*/ 1 h 322"/>
                <a:gd name="T18" fmla="*/ 0 w 260"/>
                <a:gd name="T19" fmla="*/ 1 h 322"/>
                <a:gd name="T20" fmla="*/ 0 w 260"/>
                <a:gd name="T21" fmla="*/ 1 h 322"/>
                <a:gd name="T22" fmla="*/ 0 w 260"/>
                <a:gd name="T23" fmla="*/ 1 h 322"/>
                <a:gd name="T24" fmla="*/ 0 w 260"/>
                <a:gd name="T25" fmla="*/ 1 h 322"/>
                <a:gd name="T26" fmla="*/ 0 w 260"/>
                <a:gd name="T27" fmla="*/ 1 h 322"/>
                <a:gd name="T28" fmla="*/ 0 w 260"/>
                <a:gd name="T29" fmla="*/ 1 h 322"/>
                <a:gd name="T30" fmla="*/ 0 w 260"/>
                <a:gd name="T31" fmla="*/ 1 h 322"/>
                <a:gd name="T32" fmla="*/ 0 w 260"/>
                <a:gd name="T33" fmla="*/ 1 h 322"/>
                <a:gd name="T34" fmla="*/ 0 w 260"/>
                <a:gd name="T35" fmla="*/ 1 h 322"/>
                <a:gd name="T36" fmla="*/ 0 w 260"/>
                <a:gd name="T37" fmla="*/ 1 h 322"/>
                <a:gd name="T38" fmla="*/ 0 w 260"/>
                <a:gd name="T39" fmla="*/ 1 h 322"/>
                <a:gd name="T40" fmla="*/ 0 w 260"/>
                <a:gd name="T41" fmla="*/ 1 h 322"/>
                <a:gd name="T42" fmla="*/ 0 w 260"/>
                <a:gd name="T43" fmla="*/ 1 h 322"/>
                <a:gd name="T44" fmla="*/ 0 w 260"/>
                <a:gd name="T45" fmla="*/ 1 h 322"/>
                <a:gd name="T46" fmla="*/ 0 w 260"/>
                <a:gd name="T47" fmla="*/ 1 h 322"/>
                <a:gd name="T48" fmla="*/ 0 w 260"/>
                <a:gd name="T49" fmla="*/ 1 h 322"/>
                <a:gd name="T50" fmla="*/ 0 w 260"/>
                <a:gd name="T51" fmla="*/ 1 h 322"/>
                <a:gd name="T52" fmla="*/ 0 w 260"/>
                <a:gd name="T53" fmla="*/ 1 h 322"/>
                <a:gd name="T54" fmla="*/ 0 w 260"/>
                <a:gd name="T55" fmla="*/ 1 h 322"/>
                <a:gd name="T56" fmla="*/ 0 w 260"/>
                <a:gd name="T57" fmla="*/ 1 h 322"/>
                <a:gd name="T58" fmla="*/ 0 w 260"/>
                <a:gd name="T59" fmla="*/ 1 h 322"/>
                <a:gd name="T60" fmla="*/ 0 w 260"/>
                <a:gd name="T61" fmla="*/ 1 h 322"/>
                <a:gd name="T62" fmla="*/ 0 w 260"/>
                <a:gd name="T63" fmla="*/ 0 h 322"/>
                <a:gd name="T64" fmla="*/ 0 w 260"/>
                <a:gd name="T65" fmla="*/ 0 h 322"/>
                <a:gd name="T66" fmla="*/ 0 w 260"/>
                <a:gd name="T67" fmla="*/ 1 h 322"/>
                <a:gd name="T68" fmla="*/ 0 w 260"/>
                <a:gd name="T69" fmla="*/ 1 h 322"/>
                <a:gd name="T70" fmla="*/ 0 w 260"/>
                <a:gd name="T71" fmla="*/ 1 h 322"/>
                <a:gd name="T72" fmla="*/ 0 w 260"/>
                <a:gd name="T73" fmla="*/ 1 h 322"/>
                <a:gd name="T74" fmla="*/ 0 w 260"/>
                <a:gd name="T75" fmla="*/ 1 h 322"/>
                <a:gd name="T76" fmla="*/ 0 w 260"/>
                <a:gd name="T77" fmla="*/ 1 h 322"/>
                <a:gd name="T78" fmla="*/ 0 w 260"/>
                <a:gd name="T79" fmla="*/ 1 h 322"/>
                <a:gd name="T80" fmla="*/ 0 w 260"/>
                <a:gd name="T81" fmla="*/ 1 h 322"/>
                <a:gd name="T82" fmla="*/ 0 w 260"/>
                <a:gd name="T83" fmla="*/ 1 h 322"/>
                <a:gd name="T84" fmla="*/ 0 w 260"/>
                <a:gd name="T85" fmla="*/ 1 h 322"/>
                <a:gd name="T86" fmla="*/ 0 w 260"/>
                <a:gd name="T87" fmla="*/ 1 h 3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60"/>
                <a:gd name="T133" fmla="*/ 0 h 322"/>
                <a:gd name="T134" fmla="*/ 260 w 260"/>
                <a:gd name="T135" fmla="*/ 322 h 3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60" h="322">
                  <a:moveTo>
                    <a:pt x="219" y="232"/>
                  </a:moveTo>
                  <a:lnTo>
                    <a:pt x="219" y="215"/>
                  </a:lnTo>
                  <a:lnTo>
                    <a:pt x="240" y="215"/>
                  </a:lnTo>
                  <a:lnTo>
                    <a:pt x="260" y="232"/>
                  </a:lnTo>
                  <a:lnTo>
                    <a:pt x="260" y="249"/>
                  </a:lnTo>
                  <a:lnTo>
                    <a:pt x="240" y="268"/>
                  </a:lnTo>
                  <a:lnTo>
                    <a:pt x="219" y="268"/>
                  </a:lnTo>
                  <a:lnTo>
                    <a:pt x="240" y="286"/>
                  </a:lnTo>
                  <a:lnTo>
                    <a:pt x="240" y="305"/>
                  </a:lnTo>
                  <a:lnTo>
                    <a:pt x="219" y="305"/>
                  </a:lnTo>
                  <a:lnTo>
                    <a:pt x="200" y="305"/>
                  </a:lnTo>
                  <a:lnTo>
                    <a:pt x="179" y="305"/>
                  </a:lnTo>
                  <a:lnTo>
                    <a:pt x="141" y="305"/>
                  </a:lnTo>
                  <a:lnTo>
                    <a:pt x="141" y="322"/>
                  </a:lnTo>
                  <a:lnTo>
                    <a:pt x="119" y="322"/>
                  </a:lnTo>
                  <a:lnTo>
                    <a:pt x="100" y="322"/>
                  </a:lnTo>
                  <a:lnTo>
                    <a:pt x="79" y="322"/>
                  </a:lnTo>
                  <a:lnTo>
                    <a:pt x="60" y="322"/>
                  </a:lnTo>
                  <a:lnTo>
                    <a:pt x="39" y="322"/>
                  </a:lnTo>
                  <a:lnTo>
                    <a:pt x="60" y="322"/>
                  </a:lnTo>
                  <a:lnTo>
                    <a:pt x="79" y="305"/>
                  </a:lnTo>
                  <a:lnTo>
                    <a:pt x="79" y="286"/>
                  </a:lnTo>
                  <a:lnTo>
                    <a:pt x="100" y="286"/>
                  </a:lnTo>
                  <a:lnTo>
                    <a:pt x="119" y="268"/>
                  </a:lnTo>
                  <a:lnTo>
                    <a:pt x="100" y="268"/>
                  </a:lnTo>
                  <a:lnTo>
                    <a:pt x="79" y="286"/>
                  </a:lnTo>
                  <a:lnTo>
                    <a:pt x="79" y="268"/>
                  </a:lnTo>
                  <a:lnTo>
                    <a:pt x="60" y="268"/>
                  </a:lnTo>
                  <a:lnTo>
                    <a:pt x="39" y="268"/>
                  </a:lnTo>
                  <a:lnTo>
                    <a:pt x="60" y="249"/>
                  </a:lnTo>
                  <a:lnTo>
                    <a:pt x="79" y="249"/>
                  </a:lnTo>
                  <a:lnTo>
                    <a:pt x="79" y="232"/>
                  </a:lnTo>
                  <a:lnTo>
                    <a:pt x="79" y="215"/>
                  </a:lnTo>
                  <a:lnTo>
                    <a:pt x="79" y="196"/>
                  </a:lnTo>
                  <a:lnTo>
                    <a:pt x="100" y="196"/>
                  </a:lnTo>
                  <a:lnTo>
                    <a:pt x="119" y="196"/>
                  </a:lnTo>
                  <a:lnTo>
                    <a:pt x="119" y="178"/>
                  </a:lnTo>
                  <a:lnTo>
                    <a:pt x="100" y="178"/>
                  </a:lnTo>
                  <a:lnTo>
                    <a:pt x="79" y="161"/>
                  </a:lnTo>
                  <a:lnTo>
                    <a:pt x="100" y="161"/>
                  </a:lnTo>
                  <a:lnTo>
                    <a:pt x="100" y="142"/>
                  </a:lnTo>
                  <a:lnTo>
                    <a:pt x="79" y="142"/>
                  </a:lnTo>
                  <a:lnTo>
                    <a:pt x="79" y="161"/>
                  </a:lnTo>
                  <a:lnTo>
                    <a:pt x="60" y="161"/>
                  </a:lnTo>
                  <a:lnTo>
                    <a:pt x="60" y="142"/>
                  </a:lnTo>
                  <a:lnTo>
                    <a:pt x="39" y="142"/>
                  </a:lnTo>
                  <a:lnTo>
                    <a:pt x="60" y="142"/>
                  </a:lnTo>
                  <a:lnTo>
                    <a:pt x="60" y="125"/>
                  </a:lnTo>
                  <a:lnTo>
                    <a:pt x="60" y="105"/>
                  </a:lnTo>
                  <a:lnTo>
                    <a:pt x="39" y="105"/>
                  </a:lnTo>
                  <a:lnTo>
                    <a:pt x="39" y="125"/>
                  </a:lnTo>
                  <a:lnTo>
                    <a:pt x="20" y="125"/>
                  </a:lnTo>
                  <a:lnTo>
                    <a:pt x="20" y="105"/>
                  </a:lnTo>
                  <a:lnTo>
                    <a:pt x="20" y="88"/>
                  </a:lnTo>
                  <a:lnTo>
                    <a:pt x="39" y="88"/>
                  </a:lnTo>
                  <a:lnTo>
                    <a:pt x="20" y="71"/>
                  </a:lnTo>
                  <a:lnTo>
                    <a:pt x="0" y="52"/>
                  </a:lnTo>
                  <a:lnTo>
                    <a:pt x="0" y="36"/>
                  </a:lnTo>
                  <a:lnTo>
                    <a:pt x="20" y="36"/>
                  </a:lnTo>
                  <a:lnTo>
                    <a:pt x="20" y="52"/>
                  </a:lnTo>
                  <a:lnTo>
                    <a:pt x="20" y="36"/>
                  </a:lnTo>
                  <a:lnTo>
                    <a:pt x="20" y="19"/>
                  </a:lnTo>
                  <a:lnTo>
                    <a:pt x="39" y="19"/>
                  </a:lnTo>
                  <a:lnTo>
                    <a:pt x="60" y="0"/>
                  </a:lnTo>
                  <a:lnTo>
                    <a:pt x="79" y="0"/>
                  </a:lnTo>
                  <a:lnTo>
                    <a:pt x="100" y="0"/>
                  </a:lnTo>
                  <a:lnTo>
                    <a:pt x="100" y="19"/>
                  </a:lnTo>
                  <a:lnTo>
                    <a:pt x="79" y="19"/>
                  </a:lnTo>
                  <a:lnTo>
                    <a:pt x="79" y="36"/>
                  </a:lnTo>
                  <a:lnTo>
                    <a:pt x="100" y="36"/>
                  </a:lnTo>
                  <a:lnTo>
                    <a:pt x="141" y="36"/>
                  </a:lnTo>
                  <a:lnTo>
                    <a:pt x="141" y="71"/>
                  </a:lnTo>
                  <a:lnTo>
                    <a:pt x="119" y="71"/>
                  </a:lnTo>
                  <a:lnTo>
                    <a:pt x="119" y="88"/>
                  </a:lnTo>
                  <a:lnTo>
                    <a:pt x="100" y="105"/>
                  </a:lnTo>
                  <a:lnTo>
                    <a:pt x="119" y="105"/>
                  </a:lnTo>
                  <a:lnTo>
                    <a:pt x="141" y="105"/>
                  </a:lnTo>
                  <a:lnTo>
                    <a:pt x="141" y="125"/>
                  </a:lnTo>
                  <a:lnTo>
                    <a:pt x="141" y="142"/>
                  </a:lnTo>
                  <a:lnTo>
                    <a:pt x="160" y="142"/>
                  </a:lnTo>
                  <a:lnTo>
                    <a:pt x="179" y="161"/>
                  </a:lnTo>
                  <a:lnTo>
                    <a:pt x="200" y="178"/>
                  </a:lnTo>
                  <a:lnTo>
                    <a:pt x="200" y="196"/>
                  </a:lnTo>
                  <a:lnTo>
                    <a:pt x="219" y="215"/>
                  </a:lnTo>
                  <a:lnTo>
                    <a:pt x="200" y="215"/>
                  </a:lnTo>
                  <a:lnTo>
                    <a:pt x="200" y="232"/>
                  </a:lnTo>
                  <a:lnTo>
                    <a:pt x="219" y="232"/>
                  </a:lnTo>
                  <a:lnTo>
                    <a:pt x="219" y="215"/>
                  </a:lnTo>
                  <a:lnTo>
                    <a:pt x="219" y="232"/>
                  </a:lnTo>
                  <a:close/>
                </a:path>
              </a:pathLst>
            </a:custGeom>
            <a:solidFill>
              <a:srgbClr val="C0C0C0"/>
            </a:solidFill>
            <a:ln w="9525">
              <a:solidFill>
                <a:srgbClr val="C0C0C0"/>
              </a:solidFill>
              <a:round/>
              <a:headEnd/>
              <a:tailEnd/>
            </a:ln>
          </p:spPr>
          <p:txBody>
            <a:bodyPr/>
            <a:lstStyle/>
            <a:p>
              <a:endParaRPr lang="en-US"/>
            </a:p>
          </p:txBody>
        </p:sp>
        <p:sp>
          <p:nvSpPr>
            <p:cNvPr id="9395" name="Freeform 86"/>
            <p:cNvSpPr>
              <a:spLocks/>
            </p:cNvSpPr>
            <p:nvPr/>
          </p:nvSpPr>
          <p:spPr bwMode="auto">
            <a:xfrm>
              <a:off x="2569" y="1652"/>
              <a:ext cx="149" cy="54"/>
            </a:xfrm>
            <a:custGeom>
              <a:avLst/>
              <a:gdLst>
                <a:gd name="T0" fmla="*/ 0 w 300"/>
                <a:gd name="T1" fmla="*/ 1 h 108"/>
                <a:gd name="T2" fmla="*/ 0 w 300"/>
                <a:gd name="T3" fmla="*/ 1 h 108"/>
                <a:gd name="T4" fmla="*/ 0 w 300"/>
                <a:gd name="T5" fmla="*/ 1 h 108"/>
                <a:gd name="T6" fmla="*/ 0 w 300"/>
                <a:gd name="T7" fmla="*/ 1 h 108"/>
                <a:gd name="T8" fmla="*/ 0 w 300"/>
                <a:gd name="T9" fmla="*/ 1 h 108"/>
                <a:gd name="T10" fmla="*/ 0 w 300"/>
                <a:gd name="T11" fmla="*/ 1 h 108"/>
                <a:gd name="T12" fmla="*/ 0 w 300"/>
                <a:gd name="T13" fmla="*/ 1 h 108"/>
                <a:gd name="T14" fmla="*/ 0 w 300"/>
                <a:gd name="T15" fmla="*/ 1 h 108"/>
                <a:gd name="T16" fmla="*/ 0 w 300"/>
                <a:gd name="T17" fmla="*/ 1 h 108"/>
                <a:gd name="T18" fmla="*/ 0 w 300"/>
                <a:gd name="T19" fmla="*/ 1 h 108"/>
                <a:gd name="T20" fmla="*/ 0 w 300"/>
                <a:gd name="T21" fmla="*/ 1 h 108"/>
                <a:gd name="T22" fmla="*/ 0 w 300"/>
                <a:gd name="T23" fmla="*/ 1 h 108"/>
                <a:gd name="T24" fmla="*/ 0 w 300"/>
                <a:gd name="T25" fmla="*/ 1 h 108"/>
                <a:gd name="T26" fmla="*/ 0 w 300"/>
                <a:gd name="T27" fmla="*/ 1 h 108"/>
                <a:gd name="T28" fmla="*/ 0 w 300"/>
                <a:gd name="T29" fmla="*/ 1 h 108"/>
                <a:gd name="T30" fmla="*/ 0 w 300"/>
                <a:gd name="T31" fmla="*/ 1 h 108"/>
                <a:gd name="T32" fmla="*/ 0 w 300"/>
                <a:gd name="T33" fmla="*/ 1 h 108"/>
                <a:gd name="T34" fmla="*/ 0 w 300"/>
                <a:gd name="T35" fmla="*/ 1 h 108"/>
                <a:gd name="T36" fmla="*/ 0 w 300"/>
                <a:gd name="T37" fmla="*/ 1 h 108"/>
                <a:gd name="T38" fmla="*/ 0 w 300"/>
                <a:gd name="T39" fmla="*/ 1 h 108"/>
                <a:gd name="T40" fmla="*/ 0 w 300"/>
                <a:gd name="T41" fmla="*/ 1 h 108"/>
                <a:gd name="T42" fmla="*/ 0 w 300"/>
                <a:gd name="T43" fmla="*/ 0 h 108"/>
                <a:gd name="T44" fmla="*/ 0 w 300"/>
                <a:gd name="T45" fmla="*/ 1 h 108"/>
                <a:gd name="T46" fmla="*/ 0 w 300"/>
                <a:gd name="T47" fmla="*/ 0 h 108"/>
                <a:gd name="T48" fmla="*/ 0 w 300"/>
                <a:gd name="T49" fmla="*/ 0 h 108"/>
                <a:gd name="T50" fmla="*/ 0 w 300"/>
                <a:gd name="T51" fmla="*/ 0 h 108"/>
                <a:gd name="T52" fmla="*/ 0 w 300"/>
                <a:gd name="T53" fmla="*/ 1 h 108"/>
                <a:gd name="T54" fmla="*/ 0 w 300"/>
                <a:gd name="T55" fmla="*/ 1 h 108"/>
                <a:gd name="T56" fmla="*/ 0 w 300"/>
                <a:gd name="T57" fmla="*/ 1 h 108"/>
                <a:gd name="T58" fmla="*/ 0 w 300"/>
                <a:gd name="T59" fmla="*/ 1 h 108"/>
                <a:gd name="T60" fmla="*/ 0 w 300"/>
                <a:gd name="T61" fmla="*/ 0 h 108"/>
                <a:gd name="T62" fmla="*/ 0 w 300"/>
                <a:gd name="T63" fmla="*/ 1 h 108"/>
                <a:gd name="T64" fmla="*/ 0 w 300"/>
                <a:gd name="T65" fmla="*/ 1 h 108"/>
                <a:gd name="T66" fmla="*/ 0 w 300"/>
                <a:gd name="T67" fmla="*/ 1 h 108"/>
                <a:gd name="T68" fmla="*/ 0 w 300"/>
                <a:gd name="T69" fmla="*/ 0 h 108"/>
                <a:gd name="T70" fmla="*/ 0 w 300"/>
                <a:gd name="T71" fmla="*/ 0 h 108"/>
                <a:gd name="T72" fmla="*/ 0 w 300"/>
                <a:gd name="T73" fmla="*/ 0 h 108"/>
                <a:gd name="T74" fmla="*/ 0 w 300"/>
                <a:gd name="T75" fmla="*/ 1 h 108"/>
                <a:gd name="T76" fmla="*/ 0 w 300"/>
                <a:gd name="T77" fmla="*/ 0 h 108"/>
                <a:gd name="T78" fmla="*/ 0 w 300"/>
                <a:gd name="T79" fmla="*/ 0 h 108"/>
                <a:gd name="T80" fmla="*/ 0 w 300"/>
                <a:gd name="T81" fmla="*/ 0 h 108"/>
                <a:gd name="T82" fmla="*/ 0 w 300"/>
                <a:gd name="T83" fmla="*/ 0 h 108"/>
                <a:gd name="T84" fmla="*/ 0 w 300"/>
                <a:gd name="T85" fmla="*/ 0 h 108"/>
                <a:gd name="T86" fmla="*/ 0 w 300"/>
                <a:gd name="T87" fmla="*/ 1 h 108"/>
                <a:gd name="T88" fmla="*/ 0 w 300"/>
                <a:gd name="T89" fmla="*/ 1 h 10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00"/>
                <a:gd name="T136" fmla="*/ 0 h 108"/>
                <a:gd name="T137" fmla="*/ 300 w 300"/>
                <a:gd name="T138" fmla="*/ 108 h 10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00" h="108">
                  <a:moveTo>
                    <a:pt x="300" y="54"/>
                  </a:moveTo>
                  <a:lnTo>
                    <a:pt x="281" y="54"/>
                  </a:lnTo>
                  <a:lnTo>
                    <a:pt x="259" y="71"/>
                  </a:lnTo>
                  <a:lnTo>
                    <a:pt x="259" y="89"/>
                  </a:lnTo>
                  <a:lnTo>
                    <a:pt x="219" y="89"/>
                  </a:lnTo>
                  <a:lnTo>
                    <a:pt x="200" y="108"/>
                  </a:lnTo>
                  <a:lnTo>
                    <a:pt x="160" y="108"/>
                  </a:lnTo>
                  <a:lnTo>
                    <a:pt x="119" y="108"/>
                  </a:lnTo>
                  <a:lnTo>
                    <a:pt x="100" y="108"/>
                  </a:lnTo>
                  <a:lnTo>
                    <a:pt x="60" y="89"/>
                  </a:lnTo>
                  <a:lnTo>
                    <a:pt x="41" y="71"/>
                  </a:lnTo>
                  <a:lnTo>
                    <a:pt x="19" y="71"/>
                  </a:lnTo>
                  <a:lnTo>
                    <a:pt x="41" y="71"/>
                  </a:lnTo>
                  <a:lnTo>
                    <a:pt x="41" y="54"/>
                  </a:lnTo>
                  <a:lnTo>
                    <a:pt x="19" y="54"/>
                  </a:lnTo>
                  <a:lnTo>
                    <a:pt x="0" y="54"/>
                  </a:lnTo>
                  <a:lnTo>
                    <a:pt x="41" y="54"/>
                  </a:lnTo>
                  <a:lnTo>
                    <a:pt x="60" y="35"/>
                  </a:lnTo>
                  <a:lnTo>
                    <a:pt x="41" y="35"/>
                  </a:lnTo>
                  <a:lnTo>
                    <a:pt x="19" y="35"/>
                  </a:lnTo>
                  <a:lnTo>
                    <a:pt x="0" y="18"/>
                  </a:lnTo>
                  <a:lnTo>
                    <a:pt x="0" y="0"/>
                  </a:lnTo>
                  <a:lnTo>
                    <a:pt x="0" y="18"/>
                  </a:lnTo>
                  <a:lnTo>
                    <a:pt x="0" y="0"/>
                  </a:lnTo>
                  <a:lnTo>
                    <a:pt x="19" y="0"/>
                  </a:lnTo>
                  <a:lnTo>
                    <a:pt x="41" y="0"/>
                  </a:lnTo>
                  <a:lnTo>
                    <a:pt x="60" y="18"/>
                  </a:lnTo>
                  <a:lnTo>
                    <a:pt x="60" y="35"/>
                  </a:lnTo>
                  <a:lnTo>
                    <a:pt x="60" y="18"/>
                  </a:lnTo>
                  <a:lnTo>
                    <a:pt x="79" y="18"/>
                  </a:lnTo>
                  <a:lnTo>
                    <a:pt x="79" y="0"/>
                  </a:lnTo>
                  <a:lnTo>
                    <a:pt x="79" y="18"/>
                  </a:lnTo>
                  <a:lnTo>
                    <a:pt x="100" y="18"/>
                  </a:lnTo>
                  <a:lnTo>
                    <a:pt x="119" y="18"/>
                  </a:lnTo>
                  <a:lnTo>
                    <a:pt x="119" y="0"/>
                  </a:lnTo>
                  <a:lnTo>
                    <a:pt x="140" y="0"/>
                  </a:lnTo>
                  <a:lnTo>
                    <a:pt x="160" y="0"/>
                  </a:lnTo>
                  <a:lnTo>
                    <a:pt x="179" y="18"/>
                  </a:lnTo>
                  <a:lnTo>
                    <a:pt x="179" y="0"/>
                  </a:lnTo>
                  <a:lnTo>
                    <a:pt x="200" y="0"/>
                  </a:lnTo>
                  <a:lnTo>
                    <a:pt x="219" y="0"/>
                  </a:lnTo>
                  <a:lnTo>
                    <a:pt x="240" y="0"/>
                  </a:lnTo>
                  <a:lnTo>
                    <a:pt x="259" y="0"/>
                  </a:lnTo>
                  <a:lnTo>
                    <a:pt x="259" y="35"/>
                  </a:lnTo>
                  <a:lnTo>
                    <a:pt x="300" y="54"/>
                  </a:lnTo>
                  <a:close/>
                </a:path>
              </a:pathLst>
            </a:custGeom>
            <a:solidFill>
              <a:srgbClr val="C0C0C0"/>
            </a:solidFill>
            <a:ln w="9525">
              <a:solidFill>
                <a:srgbClr val="C0C0C0"/>
              </a:solidFill>
              <a:round/>
              <a:headEnd/>
              <a:tailEnd/>
            </a:ln>
          </p:spPr>
          <p:txBody>
            <a:bodyPr/>
            <a:lstStyle/>
            <a:p>
              <a:endParaRPr lang="en-US"/>
            </a:p>
          </p:txBody>
        </p:sp>
        <p:sp>
          <p:nvSpPr>
            <p:cNvPr id="9396" name="Freeform 87"/>
            <p:cNvSpPr>
              <a:spLocks/>
            </p:cNvSpPr>
            <p:nvPr/>
          </p:nvSpPr>
          <p:spPr bwMode="auto">
            <a:xfrm>
              <a:off x="2628" y="1420"/>
              <a:ext cx="40" cy="18"/>
            </a:xfrm>
            <a:custGeom>
              <a:avLst/>
              <a:gdLst>
                <a:gd name="T0" fmla="*/ 0 w 81"/>
                <a:gd name="T1" fmla="*/ 1 h 36"/>
                <a:gd name="T2" fmla="*/ 0 w 81"/>
                <a:gd name="T3" fmla="*/ 1 h 36"/>
                <a:gd name="T4" fmla="*/ 0 w 81"/>
                <a:gd name="T5" fmla="*/ 1 h 36"/>
                <a:gd name="T6" fmla="*/ 0 w 81"/>
                <a:gd name="T7" fmla="*/ 1 h 36"/>
                <a:gd name="T8" fmla="*/ 0 w 81"/>
                <a:gd name="T9" fmla="*/ 0 h 36"/>
                <a:gd name="T10" fmla="*/ 0 w 81"/>
                <a:gd name="T11" fmla="*/ 0 h 36"/>
                <a:gd name="T12" fmla="*/ 0 w 81"/>
                <a:gd name="T13" fmla="*/ 1 h 36"/>
                <a:gd name="T14" fmla="*/ 0 w 81"/>
                <a:gd name="T15" fmla="*/ 1 h 36"/>
                <a:gd name="T16" fmla="*/ 0 w 81"/>
                <a:gd name="T17" fmla="*/ 1 h 36"/>
                <a:gd name="T18" fmla="*/ 0 w 81"/>
                <a:gd name="T19" fmla="*/ 1 h 36"/>
                <a:gd name="T20" fmla="*/ 0 w 81"/>
                <a:gd name="T21" fmla="*/ 1 h 36"/>
                <a:gd name="T22" fmla="*/ 0 w 81"/>
                <a:gd name="T23" fmla="*/ 1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1"/>
                <a:gd name="T37" fmla="*/ 0 h 36"/>
                <a:gd name="T38" fmla="*/ 81 w 81"/>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1" h="36">
                  <a:moveTo>
                    <a:pt x="21" y="36"/>
                  </a:moveTo>
                  <a:lnTo>
                    <a:pt x="21" y="17"/>
                  </a:lnTo>
                  <a:lnTo>
                    <a:pt x="0" y="17"/>
                  </a:lnTo>
                  <a:lnTo>
                    <a:pt x="21" y="17"/>
                  </a:lnTo>
                  <a:lnTo>
                    <a:pt x="21" y="0"/>
                  </a:lnTo>
                  <a:lnTo>
                    <a:pt x="41" y="0"/>
                  </a:lnTo>
                  <a:lnTo>
                    <a:pt x="41" y="17"/>
                  </a:lnTo>
                  <a:lnTo>
                    <a:pt x="60" y="17"/>
                  </a:lnTo>
                  <a:lnTo>
                    <a:pt x="81" y="17"/>
                  </a:lnTo>
                  <a:lnTo>
                    <a:pt x="60" y="17"/>
                  </a:lnTo>
                  <a:lnTo>
                    <a:pt x="41" y="36"/>
                  </a:lnTo>
                  <a:lnTo>
                    <a:pt x="21" y="36"/>
                  </a:lnTo>
                  <a:close/>
                </a:path>
              </a:pathLst>
            </a:custGeom>
            <a:solidFill>
              <a:srgbClr val="C0C0C0"/>
            </a:solidFill>
            <a:ln w="9525">
              <a:solidFill>
                <a:srgbClr val="C0C0C0"/>
              </a:solidFill>
              <a:round/>
              <a:headEnd/>
              <a:tailEnd/>
            </a:ln>
          </p:spPr>
          <p:txBody>
            <a:bodyPr/>
            <a:lstStyle/>
            <a:p>
              <a:endParaRPr lang="en-US"/>
            </a:p>
          </p:txBody>
        </p:sp>
        <p:sp>
          <p:nvSpPr>
            <p:cNvPr id="9397" name="Freeform 88"/>
            <p:cNvSpPr>
              <a:spLocks/>
            </p:cNvSpPr>
            <p:nvPr/>
          </p:nvSpPr>
          <p:spPr bwMode="auto">
            <a:xfrm>
              <a:off x="3121" y="2180"/>
              <a:ext cx="49" cy="27"/>
            </a:xfrm>
            <a:custGeom>
              <a:avLst/>
              <a:gdLst>
                <a:gd name="T0" fmla="*/ 0 w 100"/>
                <a:gd name="T1" fmla="*/ 0 h 54"/>
                <a:gd name="T2" fmla="*/ 0 w 100"/>
                <a:gd name="T3" fmla="*/ 1 h 54"/>
                <a:gd name="T4" fmla="*/ 0 w 100"/>
                <a:gd name="T5" fmla="*/ 1 h 54"/>
                <a:gd name="T6" fmla="*/ 0 w 100"/>
                <a:gd name="T7" fmla="*/ 1 h 54"/>
                <a:gd name="T8" fmla="*/ 0 w 100"/>
                <a:gd name="T9" fmla="*/ 1 h 54"/>
                <a:gd name="T10" fmla="*/ 0 w 100"/>
                <a:gd name="T11" fmla="*/ 1 h 54"/>
                <a:gd name="T12" fmla="*/ 0 w 100"/>
                <a:gd name="T13" fmla="*/ 1 h 54"/>
                <a:gd name="T14" fmla="*/ 0 w 100"/>
                <a:gd name="T15" fmla="*/ 1 h 54"/>
                <a:gd name="T16" fmla="*/ 0 w 100"/>
                <a:gd name="T17" fmla="*/ 1 h 54"/>
                <a:gd name="T18" fmla="*/ 0 w 100"/>
                <a:gd name="T19" fmla="*/ 1 h 54"/>
                <a:gd name="T20" fmla="*/ 0 w 100"/>
                <a:gd name="T21" fmla="*/ 1 h 54"/>
                <a:gd name="T22" fmla="*/ 0 w 100"/>
                <a:gd name="T23" fmla="*/ 0 h 54"/>
                <a:gd name="T24" fmla="*/ 0 w 100"/>
                <a:gd name="T25" fmla="*/ 0 h 54"/>
                <a:gd name="T26" fmla="*/ 0 w 100"/>
                <a:gd name="T27" fmla="*/ 0 h 54"/>
                <a:gd name="T28" fmla="*/ 0 w 100"/>
                <a:gd name="T29" fmla="*/ 0 h 54"/>
                <a:gd name="T30" fmla="*/ 0 w 100"/>
                <a:gd name="T31" fmla="*/ 0 h 54"/>
                <a:gd name="T32" fmla="*/ 0 w 100"/>
                <a:gd name="T33" fmla="*/ 0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54"/>
                <a:gd name="T53" fmla="*/ 100 w 100"/>
                <a:gd name="T54" fmla="*/ 54 h 5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54">
                  <a:moveTo>
                    <a:pt x="0" y="0"/>
                  </a:moveTo>
                  <a:lnTo>
                    <a:pt x="0" y="17"/>
                  </a:lnTo>
                  <a:lnTo>
                    <a:pt x="19" y="17"/>
                  </a:lnTo>
                  <a:lnTo>
                    <a:pt x="40" y="34"/>
                  </a:lnTo>
                  <a:lnTo>
                    <a:pt x="60" y="34"/>
                  </a:lnTo>
                  <a:lnTo>
                    <a:pt x="79" y="54"/>
                  </a:lnTo>
                  <a:lnTo>
                    <a:pt x="100" y="54"/>
                  </a:lnTo>
                  <a:lnTo>
                    <a:pt x="100" y="34"/>
                  </a:lnTo>
                  <a:lnTo>
                    <a:pt x="79" y="34"/>
                  </a:lnTo>
                  <a:lnTo>
                    <a:pt x="79" y="17"/>
                  </a:lnTo>
                  <a:lnTo>
                    <a:pt x="100" y="17"/>
                  </a:lnTo>
                  <a:lnTo>
                    <a:pt x="100" y="0"/>
                  </a:lnTo>
                  <a:lnTo>
                    <a:pt x="79" y="0"/>
                  </a:lnTo>
                  <a:lnTo>
                    <a:pt x="60" y="0"/>
                  </a:lnTo>
                  <a:lnTo>
                    <a:pt x="40" y="0"/>
                  </a:lnTo>
                  <a:lnTo>
                    <a:pt x="19" y="0"/>
                  </a:lnTo>
                  <a:lnTo>
                    <a:pt x="0" y="0"/>
                  </a:lnTo>
                  <a:close/>
                </a:path>
              </a:pathLst>
            </a:custGeom>
            <a:solidFill>
              <a:srgbClr val="C0C0C0"/>
            </a:solidFill>
            <a:ln w="9525">
              <a:solidFill>
                <a:srgbClr val="C0C0C0"/>
              </a:solidFill>
              <a:round/>
              <a:headEnd/>
              <a:tailEnd/>
            </a:ln>
          </p:spPr>
          <p:txBody>
            <a:bodyPr/>
            <a:lstStyle/>
            <a:p>
              <a:endParaRPr lang="en-US"/>
            </a:p>
          </p:txBody>
        </p:sp>
        <p:sp>
          <p:nvSpPr>
            <p:cNvPr id="9398" name="Freeform 89"/>
            <p:cNvSpPr>
              <a:spLocks/>
            </p:cNvSpPr>
            <p:nvPr/>
          </p:nvSpPr>
          <p:spPr bwMode="auto">
            <a:xfrm>
              <a:off x="3071" y="2099"/>
              <a:ext cx="9" cy="27"/>
            </a:xfrm>
            <a:custGeom>
              <a:avLst/>
              <a:gdLst>
                <a:gd name="T0" fmla="*/ 0 w 19"/>
                <a:gd name="T1" fmla="*/ 1 h 53"/>
                <a:gd name="T2" fmla="*/ 0 w 19"/>
                <a:gd name="T3" fmla="*/ 0 h 53"/>
                <a:gd name="T4" fmla="*/ 0 w 19"/>
                <a:gd name="T5" fmla="*/ 1 h 53"/>
                <a:gd name="T6" fmla="*/ 0 w 19"/>
                <a:gd name="T7" fmla="*/ 1 h 53"/>
                <a:gd name="T8" fmla="*/ 0 w 19"/>
                <a:gd name="T9" fmla="*/ 1 h 53"/>
                <a:gd name="T10" fmla="*/ 0 w 19"/>
                <a:gd name="T11" fmla="*/ 1 h 53"/>
                <a:gd name="T12" fmla="*/ 0 w 19"/>
                <a:gd name="T13" fmla="*/ 1 h 53"/>
                <a:gd name="T14" fmla="*/ 0 w 19"/>
                <a:gd name="T15" fmla="*/ 1 h 53"/>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53"/>
                <a:gd name="T26" fmla="*/ 19 w 19"/>
                <a:gd name="T27" fmla="*/ 53 h 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53">
                  <a:moveTo>
                    <a:pt x="0" y="17"/>
                  </a:moveTo>
                  <a:lnTo>
                    <a:pt x="0" y="0"/>
                  </a:lnTo>
                  <a:lnTo>
                    <a:pt x="0" y="17"/>
                  </a:lnTo>
                  <a:lnTo>
                    <a:pt x="19" y="17"/>
                  </a:lnTo>
                  <a:lnTo>
                    <a:pt x="0" y="36"/>
                  </a:lnTo>
                  <a:lnTo>
                    <a:pt x="0" y="53"/>
                  </a:lnTo>
                  <a:lnTo>
                    <a:pt x="0" y="36"/>
                  </a:lnTo>
                  <a:lnTo>
                    <a:pt x="0" y="17"/>
                  </a:lnTo>
                  <a:close/>
                </a:path>
              </a:pathLst>
            </a:custGeom>
            <a:solidFill>
              <a:srgbClr val="C0C0C0"/>
            </a:solidFill>
            <a:ln w="9525">
              <a:solidFill>
                <a:srgbClr val="C0C0C0"/>
              </a:solidFill>
              <a:round/>
              <a:headEnd/>
              <a:tailEnd/>
            </a:ln>
          </p:spPr>
          <p:txBody>
            <a:bodyPr/>
            <a:lstStyle/>
            <a:p>
              <a:endParaRPr lang="en-US"/>
            </a:p>
          </p:txBody>
        </p:sp>
        <p:sp>
          <p:nvSpPr>
            <p:cNvPr id="9399" name="Freeform 90"/>
            <p:cNvSpPr>
              <a:spLocks/>
            </p:cNvSpPr>
            <p:nvPr/>
          </p:nvSpPr>
          <p:spPr bwMode="auto">
            <a:xfrm>
              <a:off x="3060" y="2136"/>
              <a:ext cx="20" cy="35"/>
            </a:xfrm>
            <a:custGeom>
              <a:avLst/>
              <a:gdLst>
                <a:gd name="T0" fmla="*/ 1 w 40"/>
                <a:gd name="T1" fmla="*/ 0 h 71"/>
                <a:gd name="T2" fmla="*/ 0 w 40"/>
                <a:gd name="T3" fmla="*/ 0 h 71"/>
                <a:gd name="T4" fmla="*/ 0 w 40"/>
                <a:gd name="T5" fmla="*/ 0 h 71"/>
                <a:gd name="T6" fmla="*/ 1 w 40"/>
                <a:gd name="T7" fmla="*/ 0 h 71"/>
                <a:gd name="T8" fmla="*/ 1 w 40"/>
                <a:gd name="T9" fmla="*/ 0 h 71"/>
                <a:gd name="T10" fmla="*/ 1 w 40"/>
                <a:gd name="T11" fmla="*/ 0 h 71"/>
                <a:gd name="T12" fmla="*/ 1 w 40"/>
                <a:gd name="T13" fmla="*/ 0 h 71"/>
                <a:gd name="T14" fmla="*/ 1 w 40"/>
                <a:gd name="T15" fmla="*/ 0 h 71"/>
                <a:gd name="T16" fmla="*/ 1 w 40"/>
                <a:gd name="T17" fmla="*/ 0 h 71"/>
                <a:gd name="T18" fmla="*/ 1 w 40"/>
                <a:gd name="T19" fmla="*/ 0 h 71"/>
                <a:gd name="T20" fmla="*/ 1 w 40"/>
                <a:gd name="T21" fmla="*/ 0 h 71"/>
                <a:gd name="T22" fmla="*/ 1 w 40"/>
                <a:gd name="T23" fmla="*/ 0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71"/>
                <a:gd name="T38" fmla="*/ 40 w 40"/>
                <a:gd name="T39" fmla="*/ 71 h 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71">
                  <a:moveTo>
                    <a:pt x="21" y="17"/>
                  </a:moveTo>
                  <a:lnTo>
                    <a:pt x="0" y="17"/>
                  </a:lnTo>
                  <a:lnTo>
                    <a:pt x="0" y="0"/>
                  </a:lnTo>
                  <a:lnTo>
                    <a:pt x="21" y="0"/>
                  </a:lnTo>
                  <a:lnTo>
                    <a:pt x="40" y="0"/>
                  </a:lnTo>
                  <a:lnTo>
                    <a:pt x="40" y="17"/>
                  </a:lnTo>
                  <a:lnTo>
                    <a:pt x="40" y="34"/>
                  </a:lnTo>
                  <a:lnTo>
                    <a:pt x="40" y="53"/>
                  </a:lnTo>
                  <a:lnTo>
                    <a:pt x="21" y="71"/>
                  </a:lnTo>
                  <a:lnTo>
                    <a:pt x="21" y="53"/>
                  </a:lnTo>
                  <a:lnTo>
                    <a:pt x="21" y="34"/>
                  </a:lnTo>
                  <a:lnTo>
                    <a:pt x="21" y="17"/>
                  </a:lnTo>
                  <a:close/>
                </a:path>
              </a:pathLst>
            </a:custGeom>
            <a:solidFill>
              <a:srgbClr val="C0C0C0"/>
            </a:solidFill>
            <a:ln w="9525">
              <a:solidFill>
                <a:srgbClr val="C0C0C0"/>
              </a:solidFill>
              <a:round/>
              <a:headEnd/>
              <a:tailEnd/>
            </a:ln>
          </p:spPr>
          <p:txBody>
            <a:bodyPr/>
            <a:lstStyle/>
            <a:p>
              <a:endParaRPr lang="en-US"/>
            </a:p>
          </p:txBody>
        </p:sp>
        <p:sp>
          <p:nvSpPr>
            <p:cNvPr id="9400" name="Freeform 91"/>
            <p:cNvSpPr>
              <a:spLocks/>
            </p:cNvSpPr>
            <p:nvPr/>
          </p:nvSpPr>
          <p:spPr bwMode="auto">
            <a:xfrm>
              <a:off x="3100" y="1858"/>
              <a:ext cx="30" cy="36"/>
            </a:xfrm>
            <a:custGeom>
              <a:avLst/>
              <a:gdLst>
                <a:gd name="T0" fmla="*/ 0 w 59"/>
                <a:gd name="T1" fmla="*/ 0 h 73"/>
                <a:gd name="T2" fmla="*/ 1 w 59"/>
                <a:gd name="T3" fmla="*/ 0 h 73"/>
                <a:gd name="T4" fmla="*/ 0 w 59"/>
                <a:gd name="T5" fmla="*/ 0 h 73"/>
                <a:gd name="T6" fmla="*/ 0 w 59"/>
                <a:gd name="T7" fmla="*/ 0 h 73"/>
                <a:gd name="T8" fmla="*/ 0 w 59"/>
                <a:gd name="T9" fmla="*/ 0 h 73"/>
                <a:gd name="T10" fmla="*/ 0 w 59"/>
                <a:gd name="T11" fmla="*/ 0 h 73"/>
                <a:gd name="T12" fmla="*/ 1 w 59"/>
                <a:gd name="T13" fmla="*/ 0 h 73"/>
                <a:gd name="T14" fmla="*/ 1 w 59"/>
                <a:gd name="T15" fmla="*/ 0 h 73"/>
                <a:gd name="T16" fmla="*/ 1 w 59"/>
                <a:gd name="T17" fmla="*/ 0 h 73"/>
                <a:gd name="T18" fmla="*/ 1 w 59"/>
                <a:gd name="T19" fmla="*/ 0 h 73"/>
                <a:gd name="T20" fmla="*/ 1 w 59"/>
                <a:gd name="T21" fmla="*/ 0 h 73"/>
                <a:gd name="T22" fmla="*/ 1 w 59"/>
                <a:gd name="T23" fmla="*/ 0 h 73"/>
                <a:gd name="T24" fmla="*/ 0 w 59"/>
                <a:gd name="T25" fmla="*/ 0 h 73"/>
                <a:gd name="T26" fmla="*/ 0 w 59"/>
                <a:gd name="T27" fmla="*/ 0 h 7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9"/>
                <a:gd name="T43" fmla="*/ 0 h 73"/>
                <a:gd name="T44" fmla="*/ 59 w 59"/>
                <a:gd name="T45" fmla="*/ 73 h 7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9" h="73">
                  <a:moveTo>
                    <a:pt x="0" y="54"/>
                  </a:moveTo>
                  <a:lnTo>
                    <a:pt x="19" y="54"/>
                  </a:lnTo>
                  <a:lnTo>
                    <a:pt x="0" y="54"/>
                  </a:lnTo>
                  <a:lnTo>
                    <a:pt x="0" y="37"/>
                  </a:lnTo>
                  <a:lnTo>
                    <a:pt x="0" y="17"/>
                  </a:lnTo>
                  <a:lnTo>
                    <a:pt x="0" y="0"/>
                  </a:lnTo>
                  <a:lnTo>
                    <a:pt x="19" y="0"/>
                  </a:lnTo>
                  <a:lnTo>
                    <a:pt x="40" y="0"/>
                  </a:lnTo>
                  <a:lnTo>
                    <a:pt x="59" y="17"/>
                  </a:lnTo>
                  <a:lnTo>
                    <a:pt x="59" y="37"/>
                  </a:lnTo>
                  <a:lnTo>
                    <a:pt x="40" y="54"/>
                  </a:lnTo>
                  <a:lnTo>
                    <a:pt x="19" y="73"/>
                  </a:lnTo>
                  <a:lnTo>
                    <a:pt x="0" y="73"/>
                  </a:lnTo>
                  <a:lnTo>
                    <a:pt x="0" y="54"/>
                  </a:lnTo>
                  <a:close/>
                </a:path>
              </a:pathLst>
            </a:custGeom>
            <a:solidFill>
              <a:srgbClr val="C0C0C0"/>
            </a:solidFill>
            <a:ln w="9525">
              <a:solidFill>
                <a:srgbClr val="C0C0C0"/>
              </a:solidFill>
              <a:round/>
              <a:headEnd/>
              <a:tailEnd/>
            </a:ln>
          </p:spPr>
          <p:txBody>
            <a:bodyPr/>
            <a:lstStyle/>
            <a:p>
              <a:endParaRPr lang="en-US"/>
            </a:p>
          </p:txBody>
        </p:sp>
        <p:sp>
          <p:nvSpPr>
            <p:cNvPr id="9401" name="Freeform 92"/>
            <p:cNvSpPr>
              <a:spLocks/>
            </p:cNvSpPr>
            <p:nvPr/>
          </p:nvSpPr>
          <p:spPr bwMode="auto">
            <a:xfrm>
              <a:off x="3210" y="1823"/>
              <a:ext cx="10" cy="16"/>
            </a:xfrm>
            <a:custGeom>
              <a:avLst/>
              <a:gdLst>
                <a:gd name="T0" fmla="*/ 0 w 21"/>
                <a:gd name="T1" fmla="*/ 0 h 33"/>
                <a:gd name="T2" fmla="*/ 0 w 21"/>
                <a:gd name="T3" fmla="*/ 0 h 33"/>
                <a:gd name="T4" fmla="*/ 0 w 21"/>
                <a:gd name="T5" fmla="*/ 0 h 33"/>
                <a:gd name="T6" fmla="*/ 0 w 21"/>
                <a:gd name="T7" fmla="*/ 0 h 33"/>
                <a:gd name="T8" fmla="*/ 0 w 21"/>
                <a:gd name="T9" fmla="*/ 0 h 33"/>
                <a:gd name="T10" fmla="*/ 0 w 21"/>
                <a:gd name="T11" fmla="*/ 0 h 33"/>
                <a:gd name="T12" fmla="*/ 0 60000 65536"/>
                <a:gd name="T13" fmla="*/ 0 60000 65536"/>
                <a:gd name="T14" fmla="*/ 0 60000 65536"/>
                <a:gd name="T15" fmla="*/ 0 60000 65536"/>
                <a:gd name="T16" fmla="*/ 0 60000 65536"/>
                <a:gd name="T17" fmla="*/ 0 60000 65536"/>
                <a:gd name="T18" fmla="*/ 0 w 21"/>
                <a:gd name="T19" fmla="*/ 0 h 33"/>
                <a:gd name="T20" fmla="*/ 21 w 21"/>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21" h="33">
                  <a:moveTo>
                    <a:pt x="21" y="17"/>
                  </a:moveTo>
                  <a:lnTo>
                    <a:pt x="0" y="33"/>
                  </a:lnTo>
                  <a:lnTo>
                    <a:pt x="0" y="17"/>
                  </a:lnTo>
                  <a:lnTo>
                    <a:pt x="0" y="0"/>
                  </a:lnTo>
                  <a:lnTo>
                    <a:pt x="21" y="0"/>
                  </a:lnTo>
                  <a:lnTo>
                    <a:pt x="21" y="17"/>
                  </a:lnTo>
                  <a:close/>
                </a:path>
              </a:pathLst>
            </a:custGeom>
            <a:solidFill>
              <a:srgbClr val="C0C0C0"/>
            </a:solidFill>
            <a:ln w="9525">
              <a:solidFill>
                <a:srgbClr val="C0C0C0"/>
              </a:solidFill>
              <a:round/>
              <a:headEnd/>
              <a:tailEnd/>
            </a:ln>
          </p:spPr>
          <p:txBody>
            <a:bodyPr/>
            <a:lstStyle/>
            <a:p>
              <a:endParaRPr lang="en-US"/>
            </a:p>
          </p:txBody>
        </p:sp>
        <p:sp>
          <p:nvSpPr>
            <p:cNvPr id="9402" name="Freeform 93"/>
            <p:cNvSpPr>
              <a:spLocks/>
            </p:cNvSpPr>
            <p:nvPr/>
          </p:nvSpPr>
          <p:spPr bwMode="auto">
            <a:xfrm>
              <a:off x="3291" y="2224"/>
              <a:ext cx="30" cy="10"/>
            </a:xfrm>
            <a:custGeom>
              <a:avLst/>
              <a:gdLst>
                <a:gd name="T0" fmla="*/ 1 w 59"/>
                <a:gd name="T1" fmla="*/ 1 h 19"/>
                <a:gd name="T2" fmla="*/ 1 w 59"/>
                <a:gd name="T3" fmla="*/ 1 h 19"/>
                <a:gd name="T4" fmla="*/ 1 w 59"/>
                <a:gd name="T5" fmla="*/ 1 h 19"/>
                <a:gd name="T6" fmla="*/ 0 w 59"/>
                <a:gd name="T7" fmla="*/ 1 h 19"/>
                <a:gd name="T8" fmla="*/ 0 w 59"/>
                <a:gd name="T9" fmla="*/ 0 h 19"/>
                <a:gd name="T10" fmla="*/ 1 w 59"/>
                <a:gd name="T11" fmla="*/ 0 h 19"/>
                <a:gd name="T12" fmla="*/ 1 w 59"/>
                <a:gd name="T13" fmla="*/ 0 h 19"/>
                <a:gd name="T14" fmla="*/ 1 w 59"/>
                <a:gd name="T15" fmla="*/ 1 h 19"/>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19"/>
                <a:gd name="T26" fmla="*/ 59 w 59"/>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19">
                  <a:moveTo>
                    <a:pt x="59" y="19"/>
                  </a:moveTo>
                  <a:lnTo>
                    <a:pt x="40" y="19"/>
                  </a:lnTo>
                  <a:lnTo>
                    <a:pt x="19" y="19"/>
                  </a:lnTo>
                  <a:lnTo>
                    <a:pt x="0" y="19"/>
                  </a:lnTo>
                  <a:lnTo>
                    <a:pt x="0" y="0"/>
                  </a:lnTo>
                  <a:lnTo>
                    <a:pt x="19" y="0"/>
                  </a:lnTo>
                  <a:lnTo>
                    <a:pt x="59" y="0"/>
                  </a:lnTo>
                  <a:lnTo>
                    <a:pt x="59" y="19"/>
                  </a:lnTo>
                  <a:close/>
                </a:path>
              </a:pathLst>
            </a:custGeom>
            <a:solidFill>
              <a:srgbClr val="C0C0C0"/>
            </a:solidFill>
            <a:ln w="9525">
              <a:solidFill>
                <a:srgbClr val="C0C0C0"/>
              </a:solidFill>
              <a:round/>
              <a:headEnd/>
              <a:tailEnd/>
            </a:ln>
          </p:spPr>
          <p:txBody>
            <a:bodyPr/>
            <a:lstStyle/>
            <a:p>
              <a:endParaRPr lang="en-US"/>
            </a:p>
          </p:txBody>
        </p:sp>
        <p:sp>
          <p:nvSpPr>
            <p:cNvPr id="9403" name="Freeform 94"/>
            <p:cNvSpPr>
              <a:spLocks/>
            </p:cNvSpPr>
            <p:nvPr/>
          </p:nvSpPr>
          <p:spPr bwMode="auto">
            <a:xfrm>
              <a:off x="3080" y="1876"/>
              <a:ext cx="20" cy="8"/>
            </a:xfrm>
            <a:custGeom>
              <a:avLst/>
              <a:gdLst>
                <a:gd name="T0" fmla="*/ 0 w 41"/>
                <a:gd name="T1" fmla="*/ 0 h 17"/>
                <a:gd name="T2" fmla="*/ 0 w 41"/>
                <a:gd name="T3" fmla="*/ 0 h 17"/>
                <a:gd name="T4" fmla="*/ 0 w 41"/>
                <a:gd name="T5" fmla="*/ 0 h 17"/>
                <a:gd name="T6" fmla="*/ 0 w 41"/>
                <a:gd name="T7" fmla="*/ 0 h 17"/>
                <a:gd name="T8" fmla="*/ 0 w 41"/>
                <a:gd name="T9" fmla="*/ 0 h 17"/>
                <a:gd name="T10" fmla="*/ 0 w 41"/>
                <a:gd name="T11" fmla="*/ 0 h 17"/>
                <a:gd name="T12" fmla="*/ 0 w 41"/>
                <a:gd name="T13" fmla="*/ 0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41" y="17"/>
                  </a:moveTo>
                  <a:lnTo>
                    <a:pt x="20" y="17"/>
                  </a:lnTo>
                  <a:lnTo>
                    <a:pt x="0" y="17"/>
                  </a:lnTo>
                  <a:lnTo>
                    <a:pt x="0" y="0"/>
                  </a:lnTo>
                  <a:lnTo>
                    <a:pt x="20" y="0"/>
                  </a:lnTo>
                  <a:lnTo>
                    <a:pt x="41" y="0"/>
                  </a:lnTo>
                  <a:lnTo>
                    <a:pt x="41" y="17"/>
                  </a:lnTo>
                  <a:close/>
                </a:path>
              </a:pathLst>
            </a:custGeom>
            <a:solidFill>
              <a:srgbClr val="C0C0C0"/>
            </a:solidFill>
            <a:ln w="9525">
              <a:solidFill>
                <a:srgbClr val="C0C0C0"/>
              </a:solidFill>
              <a:round/>
              <a:headEnd/>
              <a:tailEnd/>
            </a:ln>
          </p:spPr>
          <p:txBody>
            <a:bodyPr/>
            <a:lstStyle/>
            <a:p>
              <a:endParaRPr lang="en-US"/>
            </a:p>
          </p:txBody>
        </p:sp>
        <p:sp>
          <p:nvSpPr>
            <p:cNvPr id="9404" name="Freeform 95"/>
            <p:cNvSpPr>
              <a:spLocks/>
            </p:cNvSpPr>
            <p:nvPr/>
          </p:nvSpPr>
          <p:spPr bwMode="auto">
            <a:xfrm>
              <a:off x="3262" y="1795"/>
              <a:ext cx="19" cy="28"/>
            </a:xfrm>
            <a:custGeom>
              <a:avLst/>
              <a:gdLst>
                <a:gd name="T0" fmla="*/ 0 w 39"/>
                <a:gd name="T1" fmla="*/ 1 h 56"/>
                <a:gd name="T2" fmla="*/ 0 w 39"/>
                <a:gd name="T3" fmla="*/ 1 h 56"/>
                <a:gd name="T4" fmla="*/ 0 w 39"/>
                <a:gd name="T5" fmla="*/ 1 h 56"/>
                <a:gd name="T6" fmla="*/ 0 w 39"/>
                <a:gd name="T7" fmla="*/ 1 h 56"/>
                <a:gd name="T8" fmla="*/ 0 w 39"/>
                <a:gd name="T9" fmla="*/ 1 h 56"/>
                <a:gd name="T10" fmla="*/ 0 w 39"/>
                <a:gd name="T11" fmla="*/ 1 h 56"/>
                <a:gd name="T12" fmla="*/ 0 w 39"/>
                <a:gd name="T13" fmla="*/ 1 h 56"/>
                <a:gd name="T14" fmla="*/ 0 w 39"/>
                <a:gd name="T15" fmla="*/ 0 h 56"/>
                <a:gd name="T16" fmla="*/ 0 w 39"/>
                <a:gd name="T17" fmla="*/ 1 h 56"/>
                <a:gd name="T18" fmla="*/ 0 w 39"/>
                <a:gd name="T19" fmla="*/ 1 h 56"/>
                <a:gd name="T20" fmla="*/ 0 w 39"/>
                <a:gd name="T21" fmla="*/ 1 h 56"/>
                <a:gd name="T22" fmla="*/ 0 w 39"/>
                <a:gd name="T23" fmla="*/ 1 h 5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56"/>
                <a:gd name="T38" fmla="*/ 39 w 39"/>
                <a:gd name="T39" fmla="*/ 56 h 5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56">
                  <a:moveTo>
                    <a:pt x="19" y="37"/>
                  </a:moveTo>
                  <a:lnTo>
                    <a:pt x="19" y="56"/>
                  </a:lnTo>
                  <a:lnTo>
                    <a:pt x="0" y="56"/>
                  </a:lnTo>
                  <a:lnTo>
                    <a:pt x="0" y="37"/>
                  </a:lnTo>
                  <a:lnTo>
                    <a:pt x="19" y="37"/>
                  </a:lnTo>
                  <a:lnTo>
                    <a:pt x="0" y="37"/>
                  </a:lnTo>
                  <a:lnTo>
                    <a:pt x="0" y="20"/>
                  </a:lnTo>
                  <a:lnTo>
                    <a:pt x="19" y="0"/>
                  </a:lnTo>
                  <a:lnTo>
                    <a:pt x="19" y="20"/>
                  </a:lnTo>
                  <a:lnTo>
                    <a:pt x="39" y="20"/>
                  </a:lnTo>
                  <a:lnTo>
                    <a:pt x="19" y="20"/>
                  </a:lnTo>
                  <a:lnTo>
                    <a:pt x="19" y="37"/>
                  </a:lnTo>
                  <a:close/>
                </a:path>
              </a:pathLst>
            </a:custGeom>
            <a:solidFill>
              <a:srgbClr val="C0C0C0"/>
            </a:solidFill>
            <a:ln w="9525">
              <a:solidFill>
                <a:srgbClr val="C0C0C0"/>
              </a:solidFill>
              <a:round/>
              <a:headEnd/>
              <a:tailEnd/>
            </a:ln>
          </p:spPr>
          <p:txBody>
            <a:bodyPr/>
            <a:lstStyle/>
            <a:p>
              <a:endParaRPr lang="en-US"/>
            </a:p>
          </p:txBody>
        </p:sp>
        <p:sp>
          <p:nvSpPr>
            <p:cNvPr id="9405" name="Freeform 96"/>
            <p:cNvSpPr>
              <a:spLocks/>
            </p:cNvSpPr>
            <p:nvPr/>
          </p:nvSpPr>
          <p:spPr bwMode="auto">
            <a:xfrm>
              <a:off x="1502" y="1178"/>
              <a:ext cx="483" cy="224"/>
            </a:xfrm>
            <a:custGeom>
              <a:avLst/>
              <a:gdLst>
                <a:gd name="T0" fmla="*/ 1 w 965"/>
                <a:gd name="T1" fmla="*/ 1 h 447"/>
                <a:gd name="T2" fmla="*/ 1 w 965"/>
                <a:gd name="T3" fmla="*/ 1 h 447"/>
                <a:gd name="T4" fmla="*/ 1 w 965"/>
                <a:gd name="T5" fmla="*/ 1 h 447"/>
                <a:gd name="T6" fmla="*/ 1 w 965"/>
                <a:gd name="T7" fmla="*/ 1 h 447"/>
                <a:gd name="T8" fmla="*/ 1 w 965"/>
                <a:gd name="T9" fmla="*/ 1 h 447"/>
                <a:gd name="T10" fmla="*/ 1 w 965"/>
                <a:gd name="T11" fmla="*/ 1 h 447"/>
                <a:gd name="T12" fmla="*/ 1 w 965"/>
                <a:gd name="T13" fmla="*/ 1 h 447"/>
                <a:gd name="T14" fmla="*/ 1 w 965"/>
                <a:gd name="T15" fmla="*/ 1 h 447"/>
                <a:gd name="T16" fmla="*/ 1 w 965"/>
                <a:gd name="T17" fmla="*/ 1 h 447"/>
                <a:gd name="T18" fmla="*/ 1 w 965"/>
                <a:gd name="T19" fmla="*/ 1 h 447"/>
                <a:gd name="T20" fmla="*/ 1 w 965"/>
                <a:gd name="T21" fmla="*/ 1 h 447"/>
                <a:gd name="T22" fmla="*/ 1 w 965"/>
                <a:gd name="T23" fmla="*/ 1 h 447"/>
                <a:gd name="T24" fmla="*/ 1 w 965"/>
                <a:gd name="T25" fmla="*/ 1 h 447"/>
                <a:gd name="T26" fmla="*/ 1 w 965"/>
                <a:gd name="T27" fmla="*/ 1 h 447"/>
                <a:gd name="T28" fmla="*/ 1 w 965"/>
                <a:gd name="T29" fmla="*/ 1 h 447"/>
                <a:gd name="T30" fmla="*/ 1 w 965"/>
                <a:gd name="T31" fmla="*/ 1 h 447"/>
                <a:gd name="T32" fmla="*/ 1 w 965"/>
                <a:gd name="T33" fmla="*/ 1 h 447"/>
                <a:gd name="T34" fmla="*/ 1 w 965"/>
                <a:gd name="T35" fmla="*/ 1 h 447"/>
                <a:gd name="T36" fmla="*/ 1 w 965"/>
                <a:gd name="T37" fmla="*/ 1 h 447"/>
                <a:gd name="T38" fmla="*/ 1 w 965"/>
                <a:gd name="T39" fmla="*/ 1 h 447"/>
                <a:gd name="T40" fmla="*/ 1 w 965"/>
                <a:gd name="T41" fmla="*/ 1 h 447"/>
                <a:gd name="T42" fmla="*/ 1 w 965"/>
                <a:gd name="T43" fmla="*/ 1 h 447"/>
                <a:gd name="T44" fmla="*/ 1 w 965"/>
                <a:gd name="T45" fmla="*/ 1 h 447"/>
                <a:gd name="T46" fmla="*/ 1 w 965"/>
                <a:gd name="T47" fmla="*/ 1 h 447"/>
                <a:gd name="T48" fmla="*/ 1 w 965"/>
                <a:gd name="T49" fmla="*/ 1 h 447"/>
                <a:gd name="T50" fmla="*/ 1 w 965"/>
                <a:gd name="T51" fmla="*/ 1 h 447"/>
                <a:gd name="T52" fmla="*/ 1 w 965"/>
                <a:gd name="T53" fmla="*/ 1 h 447"/>
                <a:gd name="T54" fmla="*/ 1 w 965"/>
                <a:gd name="T55" fmla="*/ 1 h 447"/>
                <a:gd name="T56" fmla="*/ 1 w 965"/>
                <a:gd name="T57" fmla="*/ 1 h 447"/>
                <a:gd name="T58" fmla="*/ 1 w 965"/>
                <a:gd name="T59" fmla="*/ 1 h 447"/>
                <a:gd name="T60" fmla="*/ 1 w 965"/>
                <a:gd name="T61" fmla="*/ 1 h 447"/>
                <a:gd name="T62" fmla="*/ 1 w 965"/>
                <a:gd name="T63" fmla="*/ 1 h 447"/>
                <a:gd name="T64" fmla="*/ 1 w 965"/>
                <a:gd name="T65" fmla="*/ 1 h 447"/>
                <a:gd name="T66" fmla="*/ 1 w 965"/>
                <a:gd name="T67" fmla="*/ 1 h 447"/>
                <a:gd name="T68" fmla="*/ 1 w 965"/>
                <a:gd name="T69" fmla="*/ 1 h 447"/>
                <a:gd name="T70" fmla="*/ 1 w 965"/>
                <a:gd name="T71" fmla="*/ 1 h 447"/>
                <a:gd name="T72" fmla="*/ 1 w 965"/>
                <a:gd name="T73" fmla="*/ 1 h 447"/>
                <a:gd name="T74" fmla="*/ 1 w 965"/>
                <a:gd name="T75" fmla="*/ 1 h 447"/>
                <a:gd name="T76" fmla="*/ 1 w 965"/>
                <a:gd name="T77" fmla="*/ 1 h 447"/>
                <a:gd name="T78" fmla="*/ 1 w 965"/>
                <a:gd name="T79" fmla="*/ 1 h 447"/>
                <a:gd name="T80" fmla="*/ 1 w 965"/>
                <a:gd name="T81" fmla="*/ 1 h 447"/>
                <a:gd name="T82" fmla="*/ 1 w 965"/>
                <a:gd name="T83" fmla="*/ 1 h 447"/>
                <a:gd name="T84" fmla="*/ 1 w 965"/>
                <a:gd name="T85" fmla="*/ 1 h 447"/>
                <a:gd name="T86" fmla="*/ 1 w 965"/>
                <a:gd name="T87" fmla="*/ 1 h 447"/>
                <a:gd name="T88" fmla="*/ 1 w 965"/>
                <a:gd name="T89" fmla="*/ 1 h 447"/>
                <a:gd name="T90" fmla="*/ 1 w 965"/>
                <a:gd name="T91" fmla="*/ 1 h 447"/>
                <a:gd name="T92" fmla="*/ 1 w 965"/>
                <a:gd name="T93" fmla="*/ 1 h 447"/>
                <a:gd name="T94" fmla="*/ 1 w 965"/>
                <a:gd name="T95" fmla="*/ 1 h 447"/>
                <a:gd name="T96" fmla="*/ 1 w 965"/>
                <a:gd name="T97" fmla="*/ 1 h 447"/>
                <a:gd name="T98" fmla="*/ 1 w 965"/>
                <a:gd name="T99" fmla="*/ 0 h 447"/>
                <a:gd name="T100" fmla="*/ 1 w 965"/>
                <a:gd name="T101" fmla="*/ 1 h 447"/>
                <a:gd name="T102" fmla="*/ 1 w 965"/>
                <a:gd name="T103" fmla="*/ 0 h 447"/>
                <a:gd name="T104" fmla="*/ 1 w 965"/>
                <a:gd name="T105" fmla="*/ 0 h 44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65"/>
                <a:gd name="T160" fmla="*/ 0 h 447"/>
                <a:gd name="T161" fmla="*/ 965 w 965"/>
                <a:gd name="T162" fmla="*/ 447 h 44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65" h="447">
                  <a:moveTo>
                    <a:pt x="806" y="17"/>
                  </a:moveTo>
                  <a:lnTo>
                    <a:pt x="785" y="35"/>
                  </a:lnTo>
                  <a:lnTo>
                    <a:pt x="765" y="35"/>
                  </a:lnTo>
                  <a:lnTo>
                    <a:pt x="806" y="35"/>
                  </a:lnTo>
                  <a:lnTo>
                    <a:pt x="825" y="17"/>
                  </a:lnTo>
                  <a:lnTo>
                    <a:pt x="865" y="17"/>
                  </a:lnTo>
                  <a:lnTo>
                    <a:pt x="886" y="35"/>
                  </a:lnTo>
                  <a:lnTo>
                    <a:pt x="927" y="54"/>
                  </a:lnTo>
                  <a:lnTo>
                    <a:pt x="946" y="54"/>
                  </a:lnTo>
                  <a:lnTo>
                    <a:pt x="965" y="54"/>
                  </a:lnTo>
                  <a:lnTo>
                    <a:pt x="965" y="71"/>
                  </a:lnTo>
                  <a:lnTo>
                    <a:pt x="946" y="71"/>
                  </a:lnTo>
                  <a:lnTo>
                    <a:pt x="886" y="90"/>
                  </a:lnTo>
                  <a:lnTo>
                    <a:pt x="846" y="108"/>
                  </a:lnTo>
                  <a:lnTo>
                    <a:pt x="785" y="125"/>
                  </a:lnTo>
                  <a:lnTo>
                    <a:pt x="806" y="125"/>
                  </a:lnTo>
                  <a:lnTo>
                    <a:pt x="846" y="125"/>
                  </a:lnTo>
                  <a:lnTo>
                    <a:pt x="865" y="125"/>
                  </a:lnTo>
                  <a:lnTo>
                    <a:pt x="825" y="144"/>
                  </a:lnTo>
                  <a:lnTo>
                    <a:pt x="785" y="161"/>
                  </a:lnTo>
                  <a:lnTo>
                    <a:pt x="746" y="179"/>
                  </a:lnTo>
                  <a:lnTo>
                    <a:pt x="706" y="179"/>
                  </a:lnTo>
                  <a:lnTo>
                    <a:pt x="666" y="215"/>
                  </a:lnTo>
                  <a:lnTo>
                    <a:pt x="645" y="234"/>
                  </a:lnTo>
                  <a:lnTo>
                    <a:pt x="625" y="234"/>
                  </a:lnTo>
                  <a:lnTo>
                    <a:pt x="606" y="234"/>
                  </a:lnTo>
                  <a:lnTo>
                    <a:pt x="585" y="234"/>
                  </a:lnTo>
                  <a:lnTo>
                    <a:pt x="543" y="252"/>
                  </a:lnTo>
                  <a:lnTo>
                    <a:pt x="524" y="267"/>
                  </a:lnTo>
                  <a:lnTo>
                    <a:pt x="543" y="267"/>
                  </a:lnTo>
                  <a:lnTo>
                    <a:pt x="543" y="286"/>
                  </a:lnTo>
                  <a:lnTo>
                    <a:pt x="524" y="286"/>
                  </a:lnTo>
                  <a:lnTo>
                    <a:pt x="543" y="303"/>
                  </a:lnTo>
                  <a:lnTo>
                    <a:pt x="524" y="321"/>
                  </a:lnTo>
                  <a:lnTo>
                    <a:pt x="502" y="340"/>
                  </a:lnTo>
                  <a:lnTo>
                    <a:pt x="483" y="357"/>
                  </a:lnTo>
                  <a:lnTo>
                    <a:pt x="462" y="357"/>
                  </a:lnTo>
                  <a:lnTo>
                    <a:pt x="443" y="357"/>
                  </a:lnTo>
                  <a:lnTo>
                    <a:pt x="443" y="374"/>
                  </a:lnTo>
                  <a:lnTo>
                    <a:pt x="403" y="394"/>
                  </a:lnTo>
                  <a:lnTo>
                    <a:pt x="403" y="411"/>
                  </a:lnTo>
                  <a:lnTo>
                    <a:pt x="424" y="411"/>
                  </a:lnTo>
                  <a:lnTo>
                    <a:pt x="443" y="411"/>
                  </a:lnTo>
                  <a:lnTo>
                    <a:pt x="424" y="430"/>
                  </a:lnTo>
                  <a:lnTo>
                    <a:pt x="403" y="447"/>
                  </a:lnTo>
                  <a:lnTo>
                    <a:pt x="362" y="447"/>
                  </a:lnTo>
                  <a:lnTo>
                    <a:pt x="343" y="447"/>
                  </a:lnTo>
                  <a:lnTo>
                    <a:pt x="322" y="430"/>
                  </a:lnTo>
                  <a:lnTo>
                    <a:pt x="282" y="430"/>
                  </a:lnTo>
                  <a:lnTo>
                    <a:pt x="243" y="430"/>
                  </a:lnTo>
                  <a:lnTo>
                    <a:pt x="222" y="430"/>
                  </a:lnTo>
                  <a:lnTo>
                    <a:pt x="222" y="447"/>
                  </a:lnTo>
                  <a:lnTo>
                    <a:pt x="203" y="447"/>
                  </a:lnTo>
                  <a:lnTo>
                    <a:pt x="182" y="447"/>
                  </a:lnTo>
                  <a:lnTo>
                    <a:pt x="142" y="430"/>
                  </a:lnTo>
                  <a:lnTo>
                    <a:pt x="103" y="430"/>
                  </a:lnTo>
                  <a:lnTo>
                    <a:pt x="80" y="430"/>
                  </a:lnTo>
                  <a:lnTo>
                    <a:pt x="103" y="411"/>
                  </a:lnTo>
                  <a:lnTo>
                    <a:pt x="142" y="394"/>
                  </a:lnTo>
                  <a:lnTo>
                    <a:pt x="163" y="394"/>
                  </a:lnTo>
                  <a:lnTo>
                    <a:pt x="142" y="374"/>
                  </a:lnTo>
                  <a:lnTo>
                    <a:pt x="122" y="357"/>
                  </a:lnTo>
                  <a:lnTo>
                    <a:pt x="142" y="357"/>
                  </a:lnTo>
                  <a:lnTo>
                    <a:pt x="182" y="357"/>
                  </a:lnTo>
                  <a:lnTo>
                    <a:pt x="203" y="357"/>
                  </a:lnTo>
                  <a:lnTo>
                    <a:pt x="222" y="374"/>
                  </a:lnTo>
                  <a:lnTo>
                    <a:pt x="243" y="374"/>
                  </a:lnTo>
                  <a:lnTo>
                    <a:pt x="222" y="357"/>
                  </a:lnTo>
                  <a:lnTo>
                    <a:pt x="203" y="357"/>
                  </a:lnTo>
                  <a:lnTo>
                    <a:pt x="203" y="340"/>
                  </a:lnTo>
                  <a:lnTo>
                    <a:pt x="182" y="340"/>
                  </a:lnTo>
                  <a:lnTo>
                    <a:pt x="163" y="340"/>
                  </a:lnTo>
                  <a:lnTo>
                    <a:pt x="142" y="340"/>
                  </a:lnTo>
                  <a:lnTo>
                    <a:pt x="142" y="321"/>
                  </a:lnTo>
                  <a:lnTo>
                    <a:pt x="142" y="303"/>
                  </a:lnTo>
                  <a:lnTo>
                    <a:pt x="163" y="303"/>
                  </a:lnTo>
                  <a:lnTo>
                    <a:pt x="182" y="303"/>
                  </a:lnTo>
                  <a:lnTo>
                    <a:pt x="203" y="303"/>
                  </a:lnTo>
                  <a:lnTo>
                    <a:pt x="222" y="286"/>
                  </a:lnTo>
                  <a:lnTo>
                    <a:pt x="243" y="267"/>
                  </a:lnTo>
                  <a:lnTo>
                    <a:pt x="222" y="234"/>
                  </a:lnTo>
                  <a:lnTo>
                    <a:pt x="182" y="234"/>
                  </a:lnTo>
                  <a:lnTo>
                    <a:pt x="163" y="215"/>
                  </a:lnTo>
                  <a:lnTo>
                    <a:pt x="182" y="215"/>
                  </a:lnTo>
                  <a:lnTo>
                    <a:pt x="203" y="215"/>
                  </a:lnTo>
                  <a:lnTo>
                    <a:pt x="182" y="215"/>
                  </a:lnTo>
                  <a:lnTo>
                    <a:pt x="182" y="198"/>
                  </a:lnTo>
                  <a:lnTo>
                    <a:pt x="203" y="198"/>
                  </a:lnTo>
                  <a:lnTo>
                    <a:pt x="222" y="198"/>
                  </a:lnTo>
                  <a:lnTo>
                    <a:pt x="243" y="198"/>
                  </a:lnTo>
                  <a:lnTo>
                    <a:pt x="282" y="215"/>
                  </a:lnTo>
                  <a:lnTo>
                    <a:pt x="282" y="234"/>
                  </a:lnTo>
                  <a:lnTo>
                    <a:pt x="322" y="234"/>
                  </a:lnTo>
                  <a:lnTo>
                    <a:pt x="303" y="234"/>
                  </a:lnTo>
                  <a:lnTo>
                    <a:pt x="282" y="215"/>
                  </a:lnTo>
                  <a:lnTo>
                    <a:pt x="282" y="198"/>
                  </a:lnTo>
                  <a:lnTo>
                    <a:pt x="303" y="198"/>
                  </a:lnTo>
                  <a:lnTo>
                    <a:pt x="322" y="198"/>
                  </a:lnTo>
                  <a:lnTo>
                    <a:pt x="343" y="198"/>
                  </a:lnTo>
                  <a:lnTo>
                    <a:pt x="362" y="179"/>
                  </a:lnTo>
                  <a:lnTo>
                    <a:pt x="383" y="179"/>
                  </a:lnTo>
                  <a:lnTo>
                    <a:pt x="403" y="179"/>
                  </a:lnTo>
                  <a:lnTo>
                    <a:pt x="383" y="179"/>
                  </a:lnTo>
                  <a:lnTo>
                    <a:pt x="343" y="179"/>
                  </a:lnTo>
                  <a:lnTo>
                    <a:pt x="322" y="179"/>
                  </a:lnTo>
                  <a:lnTo>
                    <a:pt x="282" y="179"/>
                  </a:lnTo>
                  <a:lnTo>
                    <a:pt x="263" y="179"/>
                  </a:lnTo>
                  <a:lnTo>
                    <a:pt x="243" y="179"/>
                  </a:lnTo>
                  <a:lnTo>
                    <a:pt x="222" y="179"/>
                  </a:lnTo>
                  <a:lnTo>
                    <a:pt x="203" y="179"/>
                  </a:lnTo>
                  <a:lnTo>
                    <a:pt x="182" y="179"/>
                  </a:lnTo>
                  <a:lnTo>
                    <a:pt x="163" y="179"/>
                  </a:lnTo>
                  <a:lnTo>
                    <a:pt x="142" y="179"/>
                  </a:lnTo>
                  <a:lnTo>
                    <a:pt x="103" y="179"/>
                  </a:lnTo>
                  <a:lnTo>
                    <a:pt x="80" y="161"/>
                  </a:lnTo>
                  <a:lnTo>
                    <a:pt x="103" y="161"/>
                  </a:lnTo>
                  <a:lnTo>
                    <a:pt x="122" y="144"/>
                  </a:lnTo>
                  <a:lnTo>
                    <a:pt x="103" y="144"/>
                  </a:lnTo>
                  <a:lnTo>
                    <a:pt x="80" y="144"/>
                  </a:lnTo>
                  <a:lnTo>
                    <a:pt x="80" y="125"/>
                  </a:lnTo>
                  <a:lnTo>
                    <a:pt x="103" y="125"/>
                  </a:lnTo>
                  <a:lnTo>
                    <a:pt x="142" y="125"/>
                  </a:lnTo>
                  <a:lnTo>
                    <a:pt x="122" y="125"/>
                  </a:lnTo>
                  <a:lnTo>
                    <a:pt x="103" y="125"/>
                  </a:lnTo>
                  <a:lnTo>
                    <a:pt x="80" y="125"/>
                  </a:lnTo>
                  <a:lnTo>
                    <a:pt x="61" y="125"/>
                  </a:lnTo>
                  <a:lnTo>
                    <a:pt x="80" y="125"/>
                  </a:lnTo>
                  <a:lnTo>
                    <a:pt x="61" y="125"/>
                  </a:lnTo>
                  <a:lnTo>
                    <a:pt x="40" y="125"/>
                  </a:lnTo>
                  <a:lnTo>
                    <a:pt x="21" y="125"/>
                  </a:lnTo>
                  <a:lnTo>
                    <a:pt x="0" y="125"/>
                  </a:lnTo>
                  <a:lnTo>
                    <a:pt x="21" y="108"/>
                  </a:lnTo>
                  <a:lnTo>
                    <a:pt x="80" y="90"/>
                  </a:lnTo>
                  <a:lnTo>
                    <a:pt x="122" y="71"/>
                  </a:lnTo>
                  <a:lnTo>
                    <a:pt x="142" y="71"/>
                  </a:lnTo>
                  <a:lnTo>
                    <a:pt x="182" y="54"/>
                  </a:lnTo>
                  <a:lnTo>
                    <a:pt x="203" y="54"/>
                  </a:lnTo>
                  <a:lnTo>
                    <a:pt x="222" y="54"/>
                  </a:lnTo>
                  <a:lnTo>
                    <a:pt x="243" y="54"/>
                  </a:lnTo>
                  <a:lnTo>
                    <a:pt x="282" y="71"/>
                  </a:lnTo>
                  <a:lnTo>
                    <a:pt x="282" y="54"/>
                  </a:lnTo>
                  <a:lnTo>
                    <a:pt x="303" y="35"/>
                  </a:lnTo>
                  <a:lnTo>
                    <a:pt x="322" y="35"/>
                  </a:lnTo>
                  <a:lnTo>
                    <a:pt x="343" y="35"/>
                  </a:lnTo>
                  <a:lnTo>
                    <a:pt x="343" y="17"/>
                  </a:lnTo>
                  <a:lnTo>
                    <a:pt x="362" y="17"/>
                  </a:lnTo>
                  <a:lnTo>
                    <a:pt x="403" y="17"/>
                  </a:lnTo>
                  <a:lnTo>
                    <a:pt x="443" y="17"/>
                  </a:lnTo>
                  <a:lnTo>
                    <a:pt x="483" y="17"/>
                  </a:lnTo>
                  <a:lnTo>
                    <a:pt x="502" y="0"/>
                  </a:lnTo>
                  <a:lnTo>
                    <a:pt x="524" y="0"/>
                  </a:lnTo>
                  <a:lnTo>
                    <a:pt x="543" y="17"/>
                  </a:lnTo>
                  <a:lnTo>
                    <a:pt x="564" y="17"/>
                  </a:lnTo>
                  <a:lnTo>
                    <a:pt x="564" y="0"/>
                  </a:lnTo>
                  <a:lnTo>
                    <a:pt x="585" y="0"/>
                  </a:lnTo>
                  <a:lnTo>
                    <a:pt x="606" y="0"/>
                  </a:lnTo>
                  <a:lnTo>
                    <a:pt x="625" y="0"/>
                  </a:lnTo>
                  <a:lnTo>
                    <a:pt x="645" y="0"/>
                  </a:lnTo>
                  <a:lnTo>
                    <a:pt x="685" y="0"/>
                  </a:lnTo>
                  <a:lnTo>
                    <a:pt x="746" y="17"/>
                  </a:lnTo>
                  <a:lnTo>
                    <a:pt x="806" y="17"/>
                  </a:lnTo>
                  <a:close/>
                </a:path>
              </a:pathLst>
            </a:custGeom>
            <a:solidFill>
              <a:srgbClr val="C0C0C0"/>
            </a:solidFill>
            <a:ln w="9525">
              <a:solidFill>
                <a:srgbClr val="C0C0C0"/>
              </a:solidFill>
              <a:round/>
              <a:headEnd/>
              <a:tailEnd/>
            </a:ln>
          </p:spPr>
          <p:txBody>
            <a:bodyPr/>
            <a:lstStyle/>
            <a:p>
              <a:endParaRPr lang="en-US"/>
            </a:p>
          </p:txBody>
        </p:sp>
        <p:sp>
          <p:nvSpPr>
            <p:cNvPr id="9406" name="Freeform 97"/>
            <p:cNvSpPr>
              <a:spLocks/>
            </p:cNvSpPr>
            <p:nvPr/>
          </p:nvSpPr>
          <p:spPr bwMode="auto">
            <a:xfrm>
              <a:off x="1806" y="1160"/>
              <a:ext cx="922" cy="627"/>
            </a:xfrm>
            <a:custGeom>
              <a:avLst/>
              <a:gdLst>
                <a:gd name="T0" fmla="*/ 0 w 1845"/>
                <a:gd name="T1" fmla="*/ 1 h 1253"/>
                <a:gd name="T2" fmla="*/ 0 w 1845"/>
                <a:gd name="T3" fmla="*/ 1 h 1253"/>
                <a:gd name="T4" fmla="*/ 0 w 1845"/>
                <a:gd name="T5" fmla="*/ 1 h 1253"/>
                <a:gd name="T6" fmla="*/ 0 w 1845"/>
                <a:gd name="T7" fmla="*/ 1 h 1253"/>
                <a:gd name="T8" fmla="*/ 0 w 1845"/>
                <a:gd name="T9" fmla="*/ 1 h 1253"/>
                <a:gd name="T10" fmla="*/ 0 w 1845"/>
                <a:gd name="T11" fmla="*/ 1 h 1253"/>
                <a:gd name="T12" fmla="*/ 0 w 1845"/>
                <a:gd name="T13" fmla="*/ 1 h 1253"/>
                <a:gd name="T14" fmla="*/ 0 w 1845"/>
                <a:gd name="T15" fmla="*/ 1 h 1253"/>
                <a:gd name="T16" fmla="*/ 0 w 1845"/>
                <a:gd name="T17" fmla="*/ 1 h 1253"/>
                <a:gd name="T18" fmla="*/ 0 w 1845"/>
                <a:gd name="T19" fmla="*/ 1 h 1253"/>
                <a:gd name="T20" fmla="*/ 0 w 1845"/>
                <a:gd name="T21" fmla="*/ 1 h 1253"/>
                <a:gd name="T22" fmla="*/ 0 w 1845"/>
                <a:gd name="T23" fmla="*/ 1 h 1253"/>
                <a:gd name="T24" fmla="*/ 0 w 1845"/>
                <a:gd name="T25" fmla="*/ 1 h 1253"/>
                <a:gd name="T26" fmla="*/ 0 w 1845"/>
                <a:gd name="T27" fmla="*/ 1 h 1253"/>
                <a:gd name="T28" fmla="*/ 0 w 1845"/>
                <a:gd name="T29" fmla="*/ 1 h 1253"/>
                <a:gd name="T30" fmla="*/ 0 w 1845"/>
                <a:gd name="T31" fmla="*/ 1 h 1253"/>
                <a:gd name="T32" fmla="*/ 0 w 1845"/>
                <a:gd name="T33" fmla="*/ 1 h 1253"/>
                <a:gd name="T34" fmla="*/ 0 w 1845"/>
                <a:gd name="T35" fmla="*/ 1 h 1253"/>
                <a:gd name="T36" fmla="*/ 0 w 1845"/>
                <a:gd name="T37" fmla="*/ 1 h 1253"/>
                <a:gd name="T38" fmla="*/ 0 w 1845"/>
                <a:gd name="T39" fmla="*/ 1 h 1253"/>
                <a:gd name="T40" fmla="*/ 0 w 1845"/>
                <a:gd name="T41" fmla="*/ 1 h 1253"/>
                <a:gd name="T42" fmla="*/ 0 w 1845"/>
                <a:gd name="T43" fmla="*/ 1 h 1253"/>
                <a:gd name="T44" fmla="*/ 0 w 1845"/>
                <a:gd name="T45" fmla="*/ 1 h 1253"/>
                <a:gd name="T46" fmla="*/ 0 w 1845"/>
                <a:gd name="T47" fmla="*/ 1 h 1253"/>
                <a:gd name="T48" fmla="*/ 0 w 1845"/>
                <a:gd name="T49" fmla="*/ 0 h 1253"/>
                <a:gd name="T50" fmla="*/ 0 w 1845"/>
                <a:gd name="T51" fmla="*/ 1 h 1253"/>
                <a:gd name="T52" fmla="*/ 0 w 1845"/>
                <a:gd name="T53" fmla="*/ 1 h 1253"/>
                <a:gd name="T54" fmla="*/ 0 w 1845"/>
                <a:gd name="T55" fmla="*/ 1 h 1253"/>
                <a:gd name="T56" fmla="*/ 0 w 1845"/>
                <a:gd name="T57" fmla="*/ 1 h 1253"/>
                <a:gd name="T58" fmla="*/ 0 w 1845"/>
                <a:gd name="T59" fmla="*/ 1 h 1253"/>
                <a:gd name="T60" fmla="*/ 0 w 1845"/>
                <a:gd name="T61" fmla="*/ 1 h 1253"/>
                <a:gd name="T62" fmla="*/ 0 w 1845"/>
                <a:gd name="T63" fmla="*/ 1 h 1253"/>
                <a:gd name="T64" fmla="*/ 0 w 1845"/>
                <a:gd name="T65" fmla="*/ 1 h 1253"/>
                <a:gd name="T66" fmla="*/ 0 w 1845"/>
                <a:gd name="T67" fmla="*/ 1 h 1253"/>
                <a:gd name="T68" fmla="*/ 0 w 1845"/>
                <a:gd name="T69" fmla="*/ 1 h 1253"/>
                <a:gd name="T70" fmla="*/ 0 w 1845"/>
                <a:gd name="T71" fmla="*/ 1 h 1253"/>
                <a:gd name="T72" fmla="*/ 0 w 1845"/>
                <a:gd name="T73" fmla="*/ 1 h 1253"/>
                <a:gd name="T74" fmla="*/ 0 w 1845"/>
                <a:gd name="T75" fmla="*/ 1 h 1253"/>
                <a:gd name="T76" fmla="*/ 0 w 1845"/>
                <a:gd name="T77" fmla="*/ 1 h 1253"/>
                <a:gd name="T78" fmla="*/ 0 w 1845"/>
                <a:gd name="T79" fmla="*/ 1 h 1253"/>
                <a:gd name="T80" fmla="*/ 0 w 1845"/>
                <a:gd name="T81" fmla="*/ 1 h 1253"/>
                <a:gd name="T82" fmla="*/ 0 w 1845"/>
                <a:gd name="T83" fmla="*/ 1 h 1253"/>
                <a:gd name="T84" fmla="*/ 0 w 1845"/>
                <a:gd name="T85" fmla="*/ 1 h 1253"/>
                <a:gd name="T86" fmla="*/ 0 w 1845"/>
                <a:gd name="T87" fmla="*/ 1 h 1253"/>
                <a:gd name="T88" fmla="*/ 0 w 1845"/>
                <a:gd name="T89" fmla="*/ 1 h 1253"/>
                <a:gd name="T90" fmla="*/ 0 w 1845"/>
                <a:gd name="T91" fmla="*/ 1 h 1253"/>
                <a:gd name="T92" fmla="*/ 0 w 1845"/>
                <a:gd name="T93" fmla="*/ 1 h 1253"/>
                <a:gd name="T94" fmla="*/ 0 w 1845"/>
                <a:gd name="T95" fmla="*/ 1 h 1253"/>
                <a:gd name="T96" fmla="*/ 0 w 1845"/>
                <a:gd name="T97" fmla="*/ 1 h 1253"/>
                <a:gd name="T98" fmla="*/ 0 w 1845"/>
                <a:gd name="T99" fmla="*/ 1 h 1253"/>
                <a:gd name="T100" fmla="*/ 0 w 1845"/>
                <a:gd name="T101" fmla="*/ 1 h 1253"/>
                <a:gd name="T102" fmla="*/ 0 w 1845"/>
                <a:gd name="T103" fmla="*/ 1 h 1253"/>
                <a:gd name="T104" fmla="*/ 0 w 1845"/>
                <a:gd name="T105" fmla="*/ 1 h 1253"/>
                <a:gd name="T106" fmla="*/ 0 w 1845"/>
                <a:gd name="T107" fmla="*/ 1 h 1253"/>
                <a:gd name="T108" fmla="*/ 0 w 1845"/>
                <a:gd name="T109" fmla="*/ 1 h 1253"/>
                <a:gd name="T110" fmla="*/ 0 w 1845"/>
                <a:gd name="T111" fmla="*/ 1 h 1253"/>
                <a:gd name="T112" fmla="*/ 0 w 1845"/>
                <a:gd name="T113" fmla="*/ 1 h 1253"/>
                <a:gd name="T114" fmla="*/ 0 w 1845"/>
                <a:gd name="T115" fmla="*/ 1 h 1253"/>
                <a:gd name="T116" fmla="*/ 0 w 1845"/>
                <a:gd name="T117" fmla="*/ 1 h 1253"/>
                <a:gd name="T118" fmla="*/ 0 w 1845"/>
                <a:gd name="T119" fmla="*/ 1 h 1253"/>
                <a:gd name="T120" fmla="*/ 0 w 1845"/>
                <a:gd name="T121" fmla="*/ 1 h 1253"/>
                <a:gd name="T122" fmla="*/ 0 w 1845"/>
                <a:gd name="T123" fmla="*/ 1 h 1253"/>
                <a:gd name="T124" fmla="*/ 0 w 1845"/>
                <a:gd name="T125" fmla="*/ 1 h 125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45"/>
                <a:gd name="T190" fmla="*/ 0 h 1253"/>
                <a:gd name="T191" fmla="*/ 1845 w 1845"/>
                <a:gd name="T192" fmla="*/ 1253 h 125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45" h="1253">
                  <a:moveTo>
                    <a:pt x="622" y="877"/>
                  </a:moveTo>
                  <a:lnTo>
                    <a:pt x="641" y="877"/>
                  </a:lnTo>
                  <a:lnTo>
                    <a:pt x="641" y="860"/>
                  </a:lnTo>
                  <a:lnTo>
                    <a:pt x="662" y="840"/>
                  </a:lnTo>
                  <a:lnTo>
                    <a:pt x="682" y="806"/>
                  </a:lnTo>
                  <a:lnTo>
                    <a:pt x="641" y="806"/>
                  </a:lnTo>
                  <a:lnTo>
                    <a:pt x="582" y="806"/>
                  </a:lnTo>
                  <a:lnTo>
                    <a:pt x="563" y="769"/>
                  </a:lnTo>
                  <a:lnTo>
                    <a:pt x="582" y="769"/>
                  </a:lnTo>
                  <a:lnTo>
                    <a:pt x="601" y="787"/>
                  </a:lnTo>
                  <a:lnTo>
                    <a:pt x="622" y="787"/>
                  </a:lnTo>
                  <a:lnTo>
                    <a:pt x="641" y="787"/>
                  </a:lnTo>
                  <a:lnTo>
                    <a:pt x="641" y="769"/>
                  </a:lnTo>
                  <a:lnTo>
                    <a:pt x="641" y="752"/>
                  </a:lnTo>
                  <a:lnTo>
                    <a:pt x="601" y="733"/>
                  </a:lnTo>
                  <a:lnTo>
                    <a:pt x="582" y="716"/>
                  </a:lnTo>
                  <a:lnTo>
                    <a:pt x="582" y="733"/>
                  </a:lnTo>
                  <a:lnTo>
                    <a:pt x="563" y="733"/>
                  </a:lnTo>
                  <a:lnTo>
                    <a:pt x="541" y="752"/>
                  </a:lnTo>
                  <a:lnTo>
                    <a:pt x="522" y="733"/>
                  </a:lnTo>
                  <a:lnTo>
                    <a:pt x="522" y="716"/>
                  </a:lnTo>
                  <a:lnTo>
                    <a:pt x="522" y="696"/>
                  </a:lnTo>
                  <a:lnTo>
                    <a:pt x="541" y="696"/>
                  </a:lnTo>
                  <a:lnTo>
                    <a:pt x="541" y="679"/>
                  </a:lnTo>
                  <a:lnTo>
                    <a:pt x="522" y="662"/>
                  </a:lnTo>
                  <a:lnTo>
                    <a:pt x="522" y="643"/>
                  </a:lnTo>
                  <a:lnTo>
                    <a:pt x="522" y="610"/>
                  </a:lnTo>
                  <a:lnTo>
                    <a:pt x="482" y="574"/>
                  </a:lnTo>
                  <a:lnTo>
                    <a:pt x="463" y="537"/>
                  </a:lnTo>
                  <a:lnTo>
                    <a:pt x="399" y="520"/>
                  </a:lnTo>
                  <a:lnTo>
                    <a:pt x="359" y="483"/>
                  </a:lnTo>
                  <a:lnTo>
                    <a:pt x="300" y="483"/>
                  </a:lnTo>
                  <a:lnTo>
                    <a:pt x="280" y="483"/>
                  </a:lnTo>
                  <a:lnTo>
                    <a:pt x="259" y="483"/>
                  </a:lnTo>
                  <a:lnTo>
                    <a:pt x="240" y="501"/>
                  </a:lnTo>
                  <a:lnTo>
                    <a:pt x="221" y="501"/>
                  </a:lnTo>
                  <a:lnTo>
                    <a:pt x="221" y="483"/>
                  </a:lnTo>
                  <a:lnTo>
                    <a:pt x="200" y="483"/>
                  </a:lnTo>
                  <a:lnTo>
                    <a:pt x="200" y="501"/>
                  </a:lnTo>
                  <a:lnTo>
                    <a:pt x="181" y="501"/>
                  </a:lnTo>
                  <a:lnTo>
                    <a:pt x="159" y="501"/>
                  </a:lnTo>
                  <a:lnTo>
                    <a:pt x="140" y="483"/>
                  </a:lnTo>
                  <a:lnTo>
                    <a:pt x="119" y="483"/>
                  </a:lnTo>
                  <a:lnTo>
                    <a:pt x="119" y="466"/>
                  </a:lnTo>
                  <a:lnTo>
                    <a:pt x="140" y="466"/>
                  </a:lnTo>
                  <a:lnTo>
                    <a:pt x="140" y="447"/>
                  </a:lnTo>
                  <a:lnTo>
                    <a:pt x="119" y="447"/>
                  </a:lnTo>
                  <a:lnTo>
                    <a:pt x="100" y="447"/>
                  </a:lnTo>
                  <a:lnTo>
                    <a:pt x="81" y="447"/>
                  </a:lnTo>
                  <a:lnTo>
                    <a:pt x="60" y="447"/>
                  </a:lnTo>
                  <a:lnTo>
                    <a:pt x="60" y="430"/>
                  </a:lnTo>
                  <a:lnTo>
                    <a:pt x="81" y="430"/>
                  </a:lnTo>
                  <a:lnTo>
                    <a:pt x="100" y="430"/>
                  </a:lnTo>
                  <a:lnTo>
                    <a:pt x="119" y="430"/>
                  </a:lnTo>
                  <a:lnTo>
                    <a:pt x="140" y="430"/>
                  </a:lnTo>
                  <a:lnTo>
                    <a:pt x="140" y="412"/>
                  </a:lnTo>
                  <a:lnTo>
                    <a:pt x="181" y="412"/>
                  </a:lnTo>
                  <a:lnTo>
                    <a:pt x="200" y="412"/>
                  </a:lnTo>
                  <a:lnTo>
                    <a:pt x="200" y="393"/>
                  </a:lnTo>
                  <a:lnTo>
                    <a:pt x="181" y="393"/>
                  </a:lnTo>
                  <a:lnTo>
                    <a:pt x="159" y="393"/>
                  </a:lnTo>
                  <a:lnTo>
                    <a:pt x="140" y="393"/>
                  </a:lnTo>
                  <a:lnTo>
                    <a:pt x="119" y="393"/>
                  </a:lnTo>
                  <a:lnTo>
                    <a:pt x="81" y="393"/>
                  </a:lnTo>
                  <a:lnTo>
                    <a:pt x="40" y="393"/>
                  </a:lnTo>
                  <a:lnTo>
                    <a:pt x="0" y="357"/>
                  </a:lnTo>
                  <a:lnTo>
                    <a:pt x="19" y="339"/>
                  </a:lnTo>
                  <a:lnTo>
                    <a:pt x="40" y="339"/>
                  </a:lnTo>
                  <a:lnTo>
                    <a:pt x="60" y="339"/>
                  </a:lnTo>
                  <a:lnTo>
                    <a:pt x="81" y="339"/>
                  </a:lnTo>
                  <a:lnTo>
                    <a:pt x="100" y="322"/>
                  </a:lnTo>
                  <a:lnTo>
                    <a:pt x="119" y="322"/>
                  </a:lnTo>
                  <a:lnTo>
                    <a:pt x="140" y="322"/>
                  </a:lnTo>
                  <a:lnTo>
                    <a:pt x="181" y="322"/>
                  </a:lnTo>
                  <a:lnTo>
                    <a:pt x="200" y="303"/>
                  </a:lnTo>
                  <a:lnTo>
                    <a:pt x="221" y="288"/>
                  </a:lnTo>
                  <a:lnTo>
                    <a:pt x="240" y="270"/>
                  </a:lnTo>
                  <a:lnTo>
                    <a:pt x="200" y="251"/>
                  </a:lnTo>
                  <a:lnTo>
                    <a:pt x="181" y="251"/>
                  </a:lnTo>
                  <a:lnTo>
                    <a:pt x="159" y="234"/>
                  </a:lnTo>
                  <a:lnTo>
                    <a:pt x="181" y="215"/>
                  </a:lnTo>
                  <a:lnTo>
                    <a:pt x="221" y="215"/>
                  </a:lnTo>
                  <a:lnTo>
                    <a:pt x="259" y="197"/>
                  </a:lnTo>
                  <a:lnTo>
                    <a:pt x="280" y="161"/>
                  </a:lnTo>
                  <a:lnTo>
                    <a:pt x="300" y="161"/>
                  </a:lnTo>
                  <a:lnTo>
                    <a:pt x="321" y="180"/>
                  </a:lnTo>
                  <a:lnTo>
                    <a:pt x="340" y="161"/>
                  </a:lnTo>
                  <a:lnTo>
                    <a:pt x="340" y="144"/>
                  </a:lnTo>
                  <a:lnTo>
                    <a:pt x="359" y="126"/>
                  </a:lnTo>
                  <a:lnTo>
                    <a:pt x="399" y="126"/>
                  </a:lnTo>
                  <a:lnTo>
                    <a:pt x="421" y="107"/>
                  </a:lnTo>
                  <a:lnTo>
                    <a:pt x="463" y="107"/>
                  </a:lnTo>
                  <a:lnTo>
                    <a:pt x="482" y="90"/>
                  </a:lnTo>
                  <a:lnTo>
                    <a:pt x="522" y="90"/>
                  </a:lnTo>
                  <a:lnTo>
                    <a:pt x="541" y="90"/>
                  </a:lnTo>
                  <a:lnTo>
                    <a:pt x="563" y="107"/>
                  </a:lnTo>
                  <a:lnTo>
                    <a:pt x="582" y="126"/>
                  </a:lnTo>
                  <a:lnTo>
                    <a:pt x="582" y="107"/>
                  </a:lnTo>
                  <a:lnTo>
                    <a:pt x="582" y="90"/>
                  </a:lnTo>
                  <a:lnTo>
                    <a:pt x="601" y="107"/>
                  </a:lnTo>
                  <a:lnTo>
                    <a:pt x="641" y="107"/>
                  </a:lnTo>
                  <a:lnTo>
                    <a:pt x="641" y="90"/>
                  </a:lnTo>
                  <a:lnTo>
                    <a:pt x="662" y="90"/>
                  </a:lnTo>
                  <a:lnTo>
                    <a:pt x="703" y="90"/>
                  </a:lnTo>
                  <a:lnTo>
                    <a:pt x="741" y="90"/>
                  </a:lnTo>
                  <a:lnTo>
                    <a:pt x="762" y="107"/>
                  </a:lnTo>
                  <a:lnTo>
                    <a:pt x="781" y="107"/>
                  </a:lnTo>
                  <a:lnTo>
                    <a:pt x="803" y="107"/>
                  </a:lnTo>
                  <a:lnTo>
                    <a:pt x="781" y="107"/>
                  </a:lnTo>
                  <a:lnTo>
                    <a:pt x="762" y="90"/>
                  </a:lnTo>
                  <a:lnTo>
                    <a:pt x="741" y="71"/>
                  </a:lnTo>
                  <a:lnTo>
                    <a:pt x="762" y="71"/>
                  </a:lnTo>
                  <a:lnTo>
                    <a:pt x="781" y="71"/>
                  </a:lnTo>
                  <a:lnTo>
                    <a:pt x="781" y="53"/>
                  </a:lnTo>
                  <a:lnTo>
                    <a:pt x="803" y="36"/>
                  </a:lnTo>
                  <a:lnTo>
                    <a:pt x="841" y="36"/>
                  </a:lnTo>
                  <a:lnTo>
                    <a:pt x="862" y="36"/>
                  </a:lnTo>
                  <a:lnTo>
                    <a:pt x="881" y="36"/>
                  </a:lnTo>
                  <a:lnTo>
                    <a:pt x="922" y="36"/>
                  </a:lnTo>
                  <a:lnTo>
                    <a:pt x="945" y="36"/>
                  </a:lnTo>
                  <a:lnTo>
                    <a:pt x="964" y="36"/>
                  </a:lnTo>
                  <a:lnTo>
                    <a:pt x="983" y="36"/>
                  </a:lnTo>
                  <a:lnTo>
                    <a:pt x="1004" y="36"/>
                  </a:lnTo>
                  <a:lnTo>
                    <a:pt x="1044" y="17"/>
                  </a:lnTo>
                  <a:lnTo>
                    <a:pt x="1104" y="0"/>
                  </a:lnTo>
                  <a:lnTo>
                    <a:pt x="1144" y="0"/>
                  </a:lnTo>
                  <a:lnTo>
                    <a:pt x="1204" y="0"/>
                  </a:lnTo>
                  <a:lnTo>
                    <a:pt x="1244" y="0"/>
                  </a:lnTo>
                  <a:lnTo>
                    <a:pt x="1325" y="0"/>
                  </a:lnTo>
                  <a:lnTo>
                    <a:pt x="1363" y="17"/>
                  </a:lnTo>
                  <a:lnTo>
                    <a:pt x="1426" y="36"/>
                  </a:lnTo>
                  <a:lnTo>
                    <a:pt x="1465" y="53"/>
                  </a:lnTo>
                  <a:lnTo>
                    <a:pt x="1505" y="53"/>
                  </a:lnTo>
                  <a:lnTo>
                    <a:pt x="1526" y="53"/>
                  </a:lnTo>
                  <a:lnTo>
                    <a:pt x="1567" y="71"/>
                  </a:lnTo>
                  <a:lnTo>
                    <a:pt x="1545" y="90"/>
                  </a:lnTo>
                  <a:lnTo>
                    <a:pt x="1505" y="90"/>
                  </a:lnTo>
                  <a:lnTo>
                    <a:pt x="1446" y="90"/>
                  </a:lnTo>
                  <a:lnTo>
                    <a:pt x="1426" y="107"/>
                  </a:lnTo>
                  <a:lnTo>
                    <a:pt x="1344" y="107"/>
                  </a:lnTo>
                  <a:lnTo>
                    <a:pt x="1244" y="107"/>
                  </a:lnTo>
                  <a:lnTo>
                    <a:pt x="1223" y="107"/>
                  </a:lnTo>
                  <a:lnTo>
                    <a:pt x="1244" y="126"/>
                  </a:lnTo>
                  <a:lnTo>
                    <a:pt x="1325" y="107"/>
                  </a:lnTo>
                  <a:lnTo>
                    <a:pt x="1384" y="107"/>
                  </a:lnTo>
                  <a:lnTo>
                    <a:pt x="1446" y="107"/>
                  </a:lnTo>
                  <a:lnTo>
                    <a:pt x="1426" y="126"/>
                  </a:lnTo>
                  <a:lnTo>
                    <a:pt x="1403" y="161"/>
                  </a:lnTo>
                  <a:lnTo>
                    <a:pt x="1384" y="161"/>
                  </a:lnTo>
                  <a:lnTo>
                    <a:pt x="1446" y="161"/>
                  </a:lnTo>
                  <a:lnTo>
                    <a:pt x="1486" y="126"/>
                  </a:lnTo>
                  <a:lnTo>
                    <a:pt x="1526" y="107"/>
                  </a:lnTo>
                  <a:lnTo>
                    <a:pt x="1545" y="107"/>
                  </a:lnTo>
                  <a:lnTo>
                    <a:pt x="1545" y="126"/>
                  </a:lnTo>
                  <a:lnTo>
                    <a:pt x="1567" y="144"/>
                  </a:lnTo>
                  <a:lnTo>
                    <a:pt x="1526" y="161"/>
                  </a:lnTo>
                  <a:lnTo>
                    <a:pt x="1505" y="197"/>
                  </a:lnTo>
                  <a:lnTo>
                    <a:pt x="1486" y="215"/>
                  </a:lnTo>
                  <a:lnTo>
                    <a:pt x="1526" y="197"/>
                  </a:lnTo>
                  <a:lnTo>
                    <a:pt x="1567" y="161"/>
                  </a:lnTo>
                  <a:lnTo>
                    <a:pt x="1586" y="144"/>
                  </a:lnTo>
                  <a:lnTo>
                    <a:pt x="1605" y="144"/>
                  </a:lnTo>
                  <a:lnTo>
                    <a:pt x="1645" y="144"/>
                  </a:lnTo>
                  <a:lnTo>
                    <a:pt x="1666" y="144"/>
                  </a:lnTo>
                  <a:lnTo>
                    <a:pt x="1686" y="144"/>
                  </a:lnTo>
                  <a:lnTo>
                    <a:pt x="1705" y="144"/>
                  </a:lnTo>
                  <a:lnTo>
                    <a:pt x="1705" y="126"/>
                  </a:lnTo>
                  <a:lnTo>
                    <a:pt x="1726" y="126"/>
                  </a:lnTo>
                  <a:lnTo>
                    <a:pt x="1766" y="126"/>
                  </a:lnTo>
                  <a:lnTo>
                    <a:pt x="1785" y="126"/>
                  </a:lnTo>
                  <a:lnTo>
                    <a:pt x="1785" y="107"/>
                  </a:lnTo>
                  <a:lnTo>
                    <a:pt x="1826" y="107"/>
                  </a:lnTo>
                  <a:lnTo>
                    <a:pt x="1845" y="126"/>
                  </a:lnTo>
                  <a:lnTo>
                    <a:pt x="1845" y="144"/>
                  </a:lnTo>
                  <a:lnTo>
                    <a:pt x="1845" y="161"/>
                  </a:lnTo>
                  <a:lnTo>
                    <a:pt x="1785" y="180"/>
                  </a:lnTo>
                  <a:lnTo>
                    <a:pt x="1766" y="197"/>
                  </a:lnTo>
                  <a:lnTo>
                    <a:pt x="1726" y="215"/>
                  </a:lnTo>
                  <a:lnTo>
                    <a:pt x="1745" y="215"/>
                  </a:lnTo>
                  <a:lnTo>
                    <a:pt x="1726" y="234"/>
                  </a:lnTo>
                  <a:lnTo>
                    <a:pt x="1705" y="234"/>
                  </a:lnTo>
                  <a:lnTo>
                    <a:pt x="1705" y="251"/>
                  </a:lnTo>
                  <a:lnTo>
                    <a:pt x="1686" y="270"/>
                  </a:lnTo>
                  <a:lnTo>
                    <a:pt x="1666" y="270"/>
                  </a:lnTo>
                  <a:lnTo>
                    <a:pt x="1645" y="270"/>
                  </a:lnTo>
                  <a:lnTo>
                    <a:pt x="1645" y="288"/>
                  </a:lnTo>
                  <a:lnTo>
                    <a:pt x="1645" y="303"/>
                  </a:lnTo>
                  <a:lnTo>
                    <a:pt x="1626" y="322"/>
                  </a:lnTo>
                  <a:lnTo>
                    <a:pt x="1605" y="339"/>
                  </a:lnTo>
                  <a:lnTo>
                    <a:pt x="1586" y="339"/>
                  </a:lnTo>
                  <a:lnTo>
                    <a:pt x="1586" y="357"/>
                  </a:lnTo>
                  <a:lnTo>
                    <a:pt x="1586" y="376"/>
                  </a:lnTo>
                  <a:lnTo>
                    <a:pt x="1605" y="376"/>
                  </a:lnTo>
                  <a:lnTo>
                    <a:pt x="1626" y="376"/>
                  </a:lnTo>
                  <a:lnTo>
                    <a:pt x="1645" y="376"/>
                  </a:lnTo>
                  <a:lnTo>
                    <a:pt x="1645" y="393"/>
                  </a:lnTo>
                  <a:lnTo>
                    <a:pt x="1666" y="393"/>
                  </a:lnTo>
                  <a:lnTo>
                    <a:pt x="1645" y="393"/>
                  </a:lnTo>
                  <a:lnTo>
                    <a:pt x="1686" y="412"/>
                  </a:lnTo>
                  <a:lnTo>
                    <a:pt x="1686" y="430"/>
                  </a:lnTo>
                  <a:lnTo>
                    <a:pt x="1666" y="447"/>
                  </a:lnTo>
                  <a:lnTo>
                    <a:pt x="1645" y="447"/>
                  </a:lnTo>
                  <a:lnTo>
                    <a:pt x="1605" y="447"/>
                  </a:lnTo>
                  <a:lnTo>
                    <a:pt x="1586" y="447"/>
                  </a:lnTo>
                  <a:lnTo>
                    <a:pt x="1586" y="466"/>
                  </a:lnTo>
                  <a:lnTo>
                    <a:pt x="1605" y="466"/>
                  </a:lnTo>
                  <a:lnTo>
                    <a:pt x="1626" y="466"/>
                  </a:lnTo>
                  <a:lnTo>
                    <a:pt x="1645" y="501"/>
                  </a:lnTo>
                  <a:lnTo>
                    <a:pt x="1645" y="520"/>
                  </a:lnTo>
                  <a:lnTo>
                    <a:pt x="1645" y="537"/>
                  </a:lnTo>
                  <a:lnTo>
                    <a:pt x="1626" y="537"/>
                  </a:lnTo>
                  <a:lnTo>
                    <a:pt x="1605" y="537"/>
                  </a:lnTo>
                  <a:lnTo>
                    <a:pt x="1605" y="556"/>
                  </a:lnTo>
                  <a:lnTo>
                    <a:pt x="1626" y="574"/>
                  </a:lnTo>
                  <a:lnTo>
                    <a:pt x="1645" y="574"/>
                  </a:lnTo>
                  <a:lnTo>
                    <a:pt x="1626" y="591"/>
                  </a:lnTo>
                  <a:lnTo>
                    <a:pt x="1605" y="591"/>
                  </a:lnTo>
                  <a:lnTo>
                    <a:pt x="1605" y="610"/>
                  </a:lnTo>
                  <a:lnTo>
                    <a:pt x="1586" y="627"/>
                  </a:lnTo>
                  <a:lnTo>
                    <a:pt x="1567" y="643"/>
                  </a:lnTo>
                  <a:lnTo>
                    <a:pt x="1545" y="643"/>
                  </a:lnTo>
                  <a:lnTo>
                    <a:pt x="1526" y="627"/>
                  </a:lnTo>
                  <a:lnTo>
                    <a:pt x="1505" y="627"/>
                  </a:lnTo>
                  <a:lnTo>
                    <a:pt x="1526" y="643"/>
                  </a:lnTo>
                  <a:lnTo>
                    <a:pt x="1545" y="643"/>
                  </a:lnTo>
                  <a:lnTo>
                    <a:pt x="1567" y="679"/>
                  </a:lnTo>
                  <a:lnTo>
                    <a:pt x="1567" y="696"/>
                  </a:lnTo>
                  <a:lnTo>
                    <a:pt x="1545" y="696"/>
                  </a:lnTo>
                  <a:lnTo>
                    <a:pt x="1526" y="696"/>
                  </a:lnTo>
                  <a:lnTo>
                    <a:pt x="1505" y="679"/>
                  </a:lnTo>
                  <a:lnTo>
                    <a:pt x="1486" y="643"/>
                  </a:lnTo>
                  <a:lnTo>
                    <a:pt x="1465" y="643"/>
                  </a:lnTo>
                  <a:lnTo>
                    <a:pt x="1465" y="662"/>
                  </a:lnTo>
                  <a:lnTo>
                    <a:pt x="1526" y="696"/>
                  </a:lnTo>
                  <a:lnTo>
                    <a:pt x="1567" y="733"/>
                  </a:lnTo>
                  <a:lnTo>
                    <a:pt x="1586" y="769"/>
                  </a:lnTo>
                  <a:lnTo>
                    <a:pt x="1586" y="787"/>
                  </a:lnTo>
                  <a:lnTo>
                    <a:pt x="1567" y="787"/>
                  </a:lnTo>
                  <a:lnTo>
                    <a:pt x="1526" y="769"/>
                  </a:lnTo>
                  <a:lnTo>
                    <a:pt x="1505" y="752"/>
                  </a:lnTo>
                  <a:lnTo>
                    <a:pt x="1465" y="752"/>
                  </a:lnTo>
                  <a:lnTo>
                    <a:pt x="1446" y="752"/>
                  </a:lnTo>
                  <a:lnTo>
                    <a:pt x="1465" y="752"/>
                  </a:lnTo>
                  <a:lnTo>
                    <a:pt x="1446" y="769"/>
                  </a:lnTo>
                  <a:lnTo>
                    <a:pt x="1465" y="806"/>
                  </a:lnTo>
                  <a:lnTo>
                    <a:pt x="1526" y="806"/>
                  </a:lnTo>
                  <a:lnTo>
                    <a:pt x="1567" y="806"/>
                  </a:lnTo>
                  <a:lnTo>
                    <a:pt x="1545" y="806"/>
                  </a:lnTo>
                  <a:lnTo>
                    <a:pt x="1526" y="823"/>
                  </a:lnTo>
                  <a:lnTo>
                    <a:pt x="1486" y="840"/>
                  </a:lnTo>
                  <a:lnTo>
                    <a:pt x="1446" y="860"/>
                  </a:lnTo>
                  <a:lnTo>
                    <a:pt x="1384" y="877"/>
                  </a:lnTo>
                  <a:lnTo>
                    <a:pt x="1363" y="877"/>
                  </a:lnTo>
                  <a:lnTo>
                    <a:pt x="1325" y="896"/>
                  </a:lnTo>
                  <a:lnTo>
                    <a:pt x="1284" y="896"/>
                  </a:lnTo>
                  <a:lnTo>
                    <a:pt x="1263" y="896"/>
                  </a:lnTo>
                  <a:lnTo>
                    <a:pt x="1244" y="896"/>
                  </a:lnTo>
                  <a:lnTo>
                    <a:pt x="1244" y="913"/>
                  </a:lnTo>
                  <a:lnTo>
                    <a:pt x="1244" y="931"/>
                  </a:lnTo>
                  <a:lnTo>
                    <a:pt x="1223" y="931"/>
                  </a:lnTo>
                  <a:lnTo>
                    <a:pt x="1204" y="950"/>
                  </a:lnTo>
                  <a:lnTo>
                    <a:pt x="1185" y="967"/>
                  </a:lnTo>
                  <a:lnTo>
                    <a:pt x="1185" y="984"/>
                  </a:lnTo>
                  <a:lnTo>
                    <a:pt x="1163" y="984"/>
                  </a:lnTo>
                  <a:lnTo>
                    <a:pt x="1123" y="1002"/>
                  </a:lnTo>
                  <a:lnTo>
                    <a:pt x="1104" y="1002"/>
                  </a:lnTo>
                  <a:lnTo>
                    <a:pt x="1085" y="1002"/>
                  </a:lnTo>
                  <a:lnTo>
                    <a:pt x="1085" y="984"/>
                  </a:lnTo>
                  <a:lnTo>
                    <a:pt x="1064" y="984"/>
                  </a:lnTo>
                  <a:lnTo>
                    <a:pt x="1064" y="1002"/>
                  </a:lnTo>
                  <a:lnTo>
                    <a:pt x="1064" y="1019"/>
                  </a:lnTo>
                  <a:lnTo>
                    <a:pt x="1044" y="1038"/>
                  </a:lnTo>
                  <a:lnTo>
                    <a:pt x="983" y="1038"/>
                  </a:lnTo>
                  <a:lnTo>
                    <a:pt x="983" y="1055"/>
                  </a:lnTo>
                  <a:lnTo>
                    <a:pt x="983" y="1073"/>
                  </a:lnTo>
                  <a:lnTo>
                    <a:pt x="983" y="1092"/>
                  </a:lnTo>
                  <a:lnTo>
                    <a:pt x="983" y="1109"/>
                  </a:lnTo>
                  <a:lnTo>
                    <a:pt x="945" y="1109"/>
                  </a:lnTo>
                  <a:lnTo>
                    <a:pt x="945" y="1146"/>
                  </a:lnTo>
                  <a:lnTo>
                    <a:pt x="922" y="1146"/>
                  </a:lnTo>
                  <a:lnTo>
                    <a:pt x="922" y="1163"/>
                  </a:lnTo>
                  <a:lnTo>
                    <a:pt x="945" y="1199"/>
                  </a:lnTo>
                  <a:lnTo>
                    <a:pt x="922" y="1199"/>
                  </a:lnTo>
                  <a:lnTo>
                    <a:pt x="922" y="1236"/>
                  </a:lnTo>
                  <a:lnTo>
                    <a:pt x="902" y="1253"/>
                  </a:lnTo>
                  <a:lnTo>
                    <a:pt x="881" y="1253"/>
                  </a:lnTo>
                  <a:lnTo>
                    <a:pt x="881" y="1236"/>
                  </a:lnTo>
                  <a:lnTo>
                    <a:pt x="862" y="1236"/>
                  </a:lnTo>
                  <a:lnTo>
                    <a:pt x="862" y="1253"/>
                  </a:lnTo>
                  <a:lnTo>
                    <a:pt x="841" y="1236"/>
                  </a:lnTo>
                  <a:lnTo>
                    <a:pt x="822" y="1199"/>
                  </a:lnTo>
                  <a:lnTo>
                    <a:pt x="803" y="1199"/>
                  </a:lnTo>
                  <a:lnTo>
                    <a:pt x="781" y="1199"/>
                  </a:lnTo>
                  <a:lnTo>
                    <a:pt x="762" y="1199"/>
                  </a:lnTo>
                  <a:lnTo>
                    <a:pt x="741" y="1199"/>
                  </a:lnTo>
                  <a:lnTo>
                    <a:pt x="722" y="1199"/>
                  </a:lnTo>
                  <a:lnTo>
                    <a:pt x="722" y="1182"/>
                  </a:lnTo>
                  <a:lnTo>
                    <a:pt x="722" y="1163"/>
                  </a:lnTo>
                  <a:lnTo>
                    <a:pt x="703" y="1146"/>
                  </a:lnTo>
                  <a:lnTo>
                    <a:pt x="662" y="1109"/>
                  </a:lnTo>
                  <a:lnTo>
                    <a:pt x="641" y="1092"/>
                  </a:lnTo>
                  <a:lnTo>
                    <a:pt x="641" y="1073"/>
                  </a:lnTo>
                  <a:lnTo>
                    <a:pt x="662" y="1073"/>
                  </a:lnTo>
                  <a:lnTo>
                    <a:pt x="662" y="1055"/>
                  </a:lnTo>
                  <a:lnTo>
                    <a:pt x="641" y="1055"/>
                  </a:lnTo>
                  <a:lnTo>
                    <a:pt x="622" y="1055"/>
                  </a:lnTo>
                  <a:lnTo>
                    <a:pt x="622" y="1038"/>
                  </a:lnTo>
                  <a:lnTo>
                    <a:pt x="601" y="1038"/>
                  </a:lnTo>
                  <a:lnTo>
                    <a:pt x="582" y="1002"/>
                  </a:lnTo>
                  <a:lnTo>
                    <a:pt x="582" y="984"/>
                  </a:lnTo>
                  <a:lnTo>
                    <a:pt x="582" y="967"/>
                  </a:lnTo>
                  <a:lnTo>
                    <a:pt x="582" y="950"/>
                  </a:lnTo>
                  <a:lnTo>
                    <a:pt x="582" y="931"/>
                  </a:lnTo>
                  <a:lnTo>
                    <a:pt x="601" y="913"/>
                  </a:lnTo>
                  <a:lnTo>
                    <a:pt x="622" y="896"/>
                  </a:lnTo>
                  <a:lnTo>
                    <a:pt x="622" y="877"/>
                  </a:lnTo>
                  <a:close/>
                </a:path>
              </a:pathLst>
            </a:custGeom>
            <a:solidFill>
              <a:srgbClr val="C0C0C0"/>
            </a:solidFill>
            <a:ln w="9525">
              <a:solidFill>
                <a:srgbClr val="C0C0C0"/>
              </a:solidFill>
              <a:round/>
              <a:headEnd/>
              <a:tailEnd/>
            </a:ln>
          </p:spPr>
          <p:txBody>
            <a:bodyPr/>
            <a:lstStyle/>
            <a:p>
              <a:endParaRPr lang="en-US"/>
            </a:p>
          </p:txBody>
        </p:sp>
        <p:sp>
          <p:nvSpPr>
            <p:cNvPr id="9407" name="Freeform 98"/>
            <p:cNvSpPr>
              <a:spLocks/>
            </p:cNvSpPr>
            <p:nvPr/>
          </p:nvSpPr>
          <p:spPr bwMode="auto">
            <a:xfrm>
              <a:off x="2076" y="1563"/>
              <a:ext cx="50" cy="27"/>
            </a:xfrm>
            <a:custGeom>
              <a:avLst/>
              <a:gdLst>
                <a:gd name="T0" fmla="*/ 1 w 100"/>
                <a:gd name="T1" fmla="*/ 1 h 54"/>
                <a:gd name="T2" fmla="*/ 1 w 100"/>
                <a:gd name="T3" fmla="*/ 1 h 54"/>
                <a:gd name="T4" fmla="*/ 0 w 100"/>
                <a:gd name="T5" fmla="*/ 1 h 54"/>
                <a:gd name="T6" fmla="*/ 0 w 100"/>
                <a:gd name="T7" fmla="*/ 0 h 54"/>
                <a:gd name="T8" fmla="*/ 1 w 100"/>
                <a:gd name="T9" fmla="*/ 0 h 54"/>
                <a:gd name="T10" fmla="*/ 1 w 100"/>
                <a:gd name="T11" fmla="*/ 0 h 54"/>
                <a:gd name="T12" fmla="*/ 1 w 100"/>
                <a:gd name="T13" fmla="*/ 0 h 54"/>
                <a:gd name="T14" fmla="*/ 1 w 100"/>
                <a:gd name="T15" fmla="*/ 1 h 54"/>
                <a:gd name="T16" fmla="*/ 1 w 100"/>
                <a:gd name="T17" fmla="*/ 1 h 54"/>
                <a:gd name="T18" fmla="*/ 1 w 100"/>
                <a:gd name="T19" fmla="*/ 1 h 54"/>
                <a:gd name="T20" fmla="*/ 1 w 100"/>
                <a:gd name="T21" fmla="*/ 1 h 54"/>
                <a:gd name="T22" fmla="*/ 1 w 100"/>
                <a:gd name="T23" fmla="*/ 1 h 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54"/>
                <a:gd name="T38" fmla="*/ 100 w 100"/>
                <a:gd name="T39" fmla="*/ 54 h 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54">
                  <a:moveTo>
                    <a:pt x="22" y="54"/>
                  </a:moveTo>
                  <a:lnTo>
                    <a:pt x="22" y="34"/>
                  </a:lnTo>
                  <a:lnTo>
                    <a:pt x="0" y="17"/>
                  </a:lnTo>
                  <a:lnTo>
                    <a:pt x="0" y="0"/>
                  </a:lnTo>
                  <a:lnTo>
                    <a:pt x="22" y="0"/>
                  </a:lnTo>
                  <a:lnTo>
                    <a:pt x="41" y="0"/>
                  </a:lnTo>
                  <a:lnTo>
                    <a:pt x="60" y="0"/>
                  </a:lnTo>
                  <a:lnTo>
                    <a:pt x="100" y="17"/>
                  </a:lnTo>
                  <a:lnTo>
                    <a:pt x="81" y="34"/>
                  </a:lnTo>
                  <a:lnTo>
                    <a:pt x="60" y="54"/>
                  </a:lnTo>
                  <a:lnTo>
                    <a:pt x="41" y="54"/>
                  </a:lnTo>
                  <a:lnTo>
                    <a:pt x="22" y="54"/>
                  </a:lnTo>
                  <a:close/>
                </a:path>
              </a:pathLst>
            </a:custGeom>
            <a:solidFill>
              <a:srgbClr val="C0C0C0"/>
            </a:solidFill>
            <a:ln w="9525">
              <a:solidFill>
                <a:srgbClr val="C0C0C0"/>
              </a:solidFill>
              <a:round/>
              <a:headEnd/>
              <a:tailEnd/>
            </a:ln>
          </p:spPr>
          <p:txBody>
            <a:bodyPr/>
            <a:lstStyle/>
            <a:p>
              <a:endParaRPr lang="en-US"/>
            </a:p>
          </p:txBody>
        </p:sp>
        <p:sp>
          <p:nvSpPr>
            <p:cNvPr id="9408" name="Freeform 99"/>
            <p:cNvSpPr>
              <a:spLocks/>
            </p:cNvSpPr>
            <p:nvPr/>
          </p:nvSpPr>
          <p:spPr bwMode="auto">
            <a:xfrm>
              <a:off x="3592" y="2905"/>
              <a:ext cx="110" cy="187"/>
            </a:xfrm>
            <a:custGeom>
              <a:avLst/>
              <a:gdLst>
                <a:gd name="T0" fmla="*/ 0 w 220"/>
                <a:gd name="T1" fmla="*/ 1 h 374"/>
                <a:gd name="T2" fmla="*/ 1 w 220"/>
                <a:gd name="T3" fmla="*/ 1 h 374"/>
                <a:gd name="T4" fmla="*/ 1 w 220"/>
                <a:gd name="T5" fmla="*/ 1 h 374"/>
                <a:gd name="T6" fmla="*/ 1 w 220"/>
                <a:gd name="T7" fmla="*/ 1 h 374"/>
                <a:gd name="T8" fmla="*/ 1 w 220"/>
                <a:gd name="T9" fmla="*/ 1 h 374"/>
                <a:gd name="T10" fmla="*/ 1 w 220"/>
                <a:gd name="T11" fmla="*/ 1 h 374"/>
                <a:gd name="T12" fmla="*/ 1 w 220"/>
                <a:gd name="T13" fmla="*/ 1 h 374"/>
                <a:gd name="T14" fmla="*/ 1 w 220"/>
                <a:gd name="T15" fmla="*/ 1 h 374"/>
                <a:gd name="T16" fmla="*/ 1 w 220"/>
                <a:gd name="T17" fmla="*/ 1 h 374"/>
                <a:gd name="T18" fmla="*/ 1 w 220"/>
                <a:gd name="T19" fmla="*/ 1 h 374"/>
                <a:gd name="T20" fmla="*/ 1 w 220"/>
                <a:gd name="T21" fmla="*/ 1 h 374"/>
                <a:gd name="T22" fmla="*/ 1 w 220"/>
                <a:gd name="T23" fmla="*/ 1 h 374"/>
                <a:gd name="T24" fmla="*/ 1 w 220"/>
                <a:gd name="T25" fmla="*/ 1 h 374"/>
                <a:gd name="T26" fmla="*/ 1 w 220"/>
                <a:gd name="T27" fmla="*/ 1 h 374"/>
                <a:gd name="T28" fmla="*/ 1 w 220"/>
                <a:gd name="T29" fmla="*/ 0 h 374"/>
                <a:gd name="T30" fmla="*/ 1 w 220"/>
                <a:gd name="T31" fmla="*/ 1 h 374"/>
                <a:gd name="T32" fmla="*/ 1 w 220"/>
                <a:gd name="T33" fmla="*/ 1 h 374"/>
                <a:gd name="T34" fmla="*/ 1 w 220"/>
                <a:gd name="T35" fmla="*/ 1 h 374"/>
                <a:gd name="T36" fmla="*/ 1 w 220"/>
                <a:gd name="T37" fmla="*/ 1 h 374"/>
                <a:gd name="T38" fmla="*/ 1 w 220"/>
                <a:gd name="T39" fmla="*/ 1 h 374"/>
                <a:gd name="T40" fmla="*/ 1 w 220"/>
                <a:gd name="T41" fmla="*/ 1 h 374"/>
                <a:gd name="T42" fmla="*/ 1 w 220"/>
                <a:gd name="T43" fmla="*/ 1 h 374"/>
                <a:gd name="T44" fmla="*/ 1 w 220"/>
                <a:gd name="T45" fmla="*/ 1 h 374"/>
                <a:gd name="T46" fmla="*/ 1 w 220"/>
                <a:gd name="T47" fmla="*/ 1 h 374"/>
                <a:gd name="T48" fmla="*/ 1 w 220"/>
                <a:gd name="T49" fmla="*/ 1 h 374"/>
                <a:gd name="T50" fmla="*/ 1 w 220"/>
                <a:gd name="T51" fmla="*/ 1 h 374"/>
                <a:gd name="T52" fmla="*/ 1 w 220"/>
                <a:gd name="T53" fmla="*/ 1 h 374"/>
                <a:gd name="T54" fmla="*/ 0 w 220"/>
                <a:gd name="T55" fmla="*/ 1 h 374"/>
                <a:gd name="T56" fmla="*/ 0 w 220"/>
                <a:gd name="T57" fmla="*/ 1 h 374"/>
                <a:gd name="T58" fmla="*/ 0 w 220"/>
                <a:gd name="T59" fmla="*/ 1 h 374"/>
                <a:gd name="T60" fmla="*/ 0 w 220"/>
                <a:gd name="T61" fmla="*/ 1 h 374"/>
                <a:gd name="T62" fmla="*/ 0 w 220"/>
                <a:gd name="T63" fmla="*/ 1 h 374"/>
                <a:gd name="T64" fmla="*/ 0 w 220"/>
                <a:gd name="T65" fmla="*/ 1 h 37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0"/>
                <a:gd name="T100" fmla="*/ 0 h 374"/>
                <a:gd name="T101" fmla="*/ 220 w 220"/>
                <a:gd name="T102" fmla="*/ 374 h 37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0" h="374">
                  <a:moveTo>
                    <a:pt x="0" y="251"/>
                  </a:moveTo>
                  <a:lnTo>
                    <a:pt x="21" y="234"/>
                  </a:lnTo>
                  <a:lnTo>
                    <a:pt x="21" y="215"/>
                  </a:lnTo>
                  <a:lnTo>
                    <a:pt x="40" y="198"/>
                  </a:lnTo>
                  <a:lnTo>
                    <a:pt x="40" y="179"/>
                  </a:lnTo>
                  <a:lnTo>
                    <a:pt x="21" y="161"/>
                  </a:lnTo>
                  <a:lnTo>
                    <a:pt x="21" y="144"/>
                  </a:lnTo>
                  <a:lnTo>
                    <a:pt x="21" y="125"/>
                  </a:lnTo>
                  <a:lnTo>
                    <a:pt x="61" y="107"/>
                  </a:lnTo>
                  <a:lnTo>
                    <a:pt x="80" y="90"/>
                  </a:lnTo>
                  <a:lnTo>
                    <a:pt x="121" y="71"/>
                  </a:lnTo>
                  <a:lnTo>
                    <a:pt x="140" y="35"/>
                  </a:lnTo>
                  <a:lnTo>
                    <a:pt x="161" y="17"/>
                  </a:lnTo>
                  <a:lnTo>
                    <a:pt x="180" y="17"/>
                  </a:lnTo>
                  <a:lnTo>
                    <a:pt x="180" y="0"/>
                  </a:lnTo>
                  <a:lnTo>
                    <a:pt x="201" y="17"/>
                  </a:lnTo>
                  <a:lnTo>
                    <a:pt x="201" y="54"/>
                  </a:lnTo>
                  <a:lnTo>
                    <a:pt x="220" y="90"/>
                  </a:lnTo>
                  <a:lnTo>
                    <a:pt x="220" y="107"/>
                  </a:lnTo>
                  <a:lnTo>
                    <a:pt x="201" y="90"/>
                  </a:lnTo>
                  <a:lnTo>
                    <a:pt x="201" y="161"/>
                  </a:lnTo>
                  <a:lnTo>
                    <a:pt x="180" y="215"/>
                  </a:lnTo>
                  <a:lnTo>
                    <a:pt x="140" y="269"/>
                  </a:lnTo>
                  <a:lnTo>
                    <a:pt x="140" y="305"/>
                  </a:lnTo>
                  <a:lnTo>
                    <a:pt x="99" y="357"/>
                  </a:lnTo>
                  <a:lnTo>
                    <a:pt x="61" y="374"/>
                  </a:lnTo>
                  <a:lnTo>
                    <a:pt x="21" y="357"/>
                  </a:lnTo>
                  <a:lnTo>
                    <a:pt x="0" y="357"/>
                  </a:lnTo>
                  <a:lnTo>
                    <a:pt x="0" y="322"/>
                  </a:lnTo>
                  <a:lnTo>
                    <a:pt x="0" y="305"/>
                  </a:lnTo>
                  <a:lnTo>
                    <a:pt x="0" y="288"/>
                  </a:lnTo>
                  <a:lnTo>
                    <a:pt x="0" y="269"/>
                  </a:lnTo>
                  <a:lnTo>
                    <a:pt x="0" y="251"/>
                  </a:lnTo>
                  <a:close/>
                </a:path>
              </a:pathLst>
            </a:custGeom>
            <a:solidFill>
              <a:srgbClr val="C0C0C0"/>
            </a:solidFill>
            <a:ln w="9525">
              <a:solidFill>
                <a:srgbClr val="C0C0C0"/>
              </a:solidFill>
              <a:round/>
              <a:headEnd/>
              <a:tailEnd/>
            </a:ln>
          </p:spPr>
          <p:txBody>
            <a:bodyPr/>
            <a:lstStyle/>
            <a:p>
              <a:endParaRPr lang="en-US"/>
            </a:p>
          </p:txBody>
        </p:sp>
        <p:sp>
          <p:nvSpPr>
            <p:cNvPr id="9409" name="Freeform 100"/>
            <p:cNvSpPr>
              <a:spLocks/>
            </p:cNvSpPr>
            <p:nvPr/>
          </p:nvSpPr>
          <p:spPr bwMode="auto">
            <a:xfrm>
              <a:off x="2668" y="2189"/>
              <a:ext cx="1044" cy="1047"/>
            </a:xfrm>
            <a:custGeom>
              <a:avLst/>
              <a:gdLst>
                <a:gd name="T0" fmla="*/ 1 w 2087"/>
                <a:gd name="T1" fmla="*/ 1 h 2094"/>
                <a:gd name="T2" fmla="*/ 1 w 2087"/>
                <a:gd name="T3" fmla="*/ 1 h 2094"/>
                <a:gd name="T4" fmla="*/ 1 w 2087"/>
                <a:gd name="T5" fmla="*/ 1 h 2094"/>
                <a:gd name="T6" fmla="*/ 1 w 2087"/>
                <a:gd name="T7" fmla="*/ 1 h 2094"/>
                <a:gd name="T8" fmla="*/ 1 w 2087"/>
                <a:gd name="T9" fmla="*/ 1 h 2094"/>
                <a:gd name="T10" fmla="*/ 1 w 2087"/>
                <a:gd name="T11" fmla="*/ 1 h 2094"/>
                <a:gd name="T12" fmla="*/ 1 w 2087"/>
                <a:gd name="T13" fmla="*/ 1 h 2094"/>
                <a:gd name="T14" fmla="*/ 1 w 2087"/>
                <a:gd name="T15" fmla="*/ 1 h 2094"/>
                <a:gd name="T16" fmla="*/ 1 w 2087"/>
                <a:gd name="T17" fmla="*/ 1 h 2094"/>
                <a:gd name="T18" fmla="*/ 1 w 2087"/>
                <a:gd name="T19" fmla="*/ 1 h 2094"/>
                <a:gd name="T20" fmla="*/ 1 w 2087"/>
                <a:gd name="T21" fmla="*/ 1 h 2094"/>
                <a:gd name="T22" fmla="*/ 1 w 2087"/>
                <a:gd name="T23" fmla="*/ 1 h 2094"/>
                <a:gd name="T24" fmla="*/ 1 w 2087"/>
                <a:gd name="T25" fmla="*/ 1 h 2094"/>
                <a:gd name="T26" fmla="*/ 1 w 2087"/>
                <a:gd name="T27" fmla="*/ 1 h 2094"/>
                <a:gd name="T28" fmla="*/ 1 w 2087"/>
                <a:gd name="T29" fmla="*/ 1 h 2094"/>
                <a:gd name="T30" fmla="*/ 1 w 2087"/>
                <a:gd name="T31" fmla="*/ 1 h 2094"/>
                <a:gd name="T32" fmla="*/ 1 w 2087"/>
                <a:gd name="T33" fmla="*/ 1 h 2094"/>
                <a:gd name="T34" fmla="*/ 1 w 2087"/>
                <a:gd name="T35" fmla="*/ 1 h 2094"/>
                <a:gd name="T36" fmla="*/ 1 w 2087"/>
                <a:gd name="T37" fmla="*/ 1 h 2094"/>
                <a:gd name="T38" fmla="*/ 1 w 2087"/>
                <a:gd name="T39" fmla="*/ 1 h 2094"/>
                <a:gd name="T40" fmla="*/ 1 w 2087"/>
                <a:gd name="T41" fmla="*/ 1 h 2094"/>
                <a:gd name="T42" fmla="*/ 1 w 2087"/>
                <a:gd name="T43" fmla="*/ 1 h 2094"/>
                <a:gd name="T44" fmla="*/ 1 w 2087"/>
                <a:gd name="T45" fmla="*/ 1 h 2094"/>
                <a:gd name="T46" fmla="*/ 1 w 2087"/>
                <a:gd name="T47" fmla="*/ 1 h 2094"/>
                <a:gd name="T48" fmla="*/ 1 w 2087"/>
                <a:gd name="T49" fmla="*/ 1 h 2094"/>
                <a:gd name="T50" fmla="*/ 1 w 2087"/>
                <a:gd name="T51" fmla="*/ 1 h 2094"/>
                <a:gd name="T52" fmla="*/ 1 w 2087"/>
                <a:gd name="T53" fmla="*/ 1 h 2094"/>
                <a:gd name="T54" fmla="*/ 1 w 2087"/>
                <a:gd name="T55" fmla="*/ 1 h 2094"/>
                <a:gd name="T56" fmla="*/ 1 w 2087"/>
                <a:gd name="T57" fmla="*/ 1 h 2094"/>
                <a:gd name="T58" fmla="*/ 1 w 2087"/>
                <a:gd name="T59" fmla="*/ 1 h 2094"/>
                <a:gd name="T60" fmla="*/ 1 w 2087"/>
                <a:gd name="T61" fmla="*/ 1 h 2094"/>
                <a:gd name="T62" fmla="*/ 1 w 2087"/>
                <a:gd name="T63" fmla="*/ 1 h 2094"/>
                <a:gd name="T64" fmla="*/ 1 w 2087"/>
                <a:gd name="T65" fmla="*/ 1 h 2094"/>
                <a:gd name="T66" fmla="*/ 1 w 2087"/>
                <a:gd name="T67" fmla="*/ 1 h 2094"/>
                <a:gd name="T68" fmla="*/ 1 w 2087"/>
                <a:gd name="T69" fmla="*/ 1 h 2094"/>
                <a:gd name="T70" fmla="*/ 1 w 2087"/>
                <a:gd name="T71" fmla="*/ 1 h 2094"/>
                <a:gd name="T72" fmla="*/ 1 w 2087"/>
                <a:gd name="T73" fmla="*/ 1 h 2094"/>
                <a:gd name="T74" fmla="*/ 1 w 2087"/>
                <a:gd name="T75" fmla="*/ 1 h 2094"/>
                <a:gd name="T76" fmla="*/ 0 w 2087"/>
                <a:gd name="T77" fmla="*/ 1 h 2094"/>
                <a:gd name="T78" fmla="*/ 0 w 2087"/>
                <a:gd name="T79" fmla="*/ 1 h 2094"/>
                <a:gd name="T80" fmla="*/ 0 w 2087"/>
                <a:gd name="T81" fmla="*/ 1 h 2094"/>
                <a:gd name="T82" fmla="*/ 1 w 2087"/>
                <a:gd name="T83" fmla="*/ 1 h 2094"/>
                <a:gd name="T84" fmla="*/ 1 w 2087"/>
                <a:gd name="T85" fmla="*/ 1 h 2094"/>
                <a:gd name="T86" fmla="*/ 1 w 2087"/>
                <a:gd name="T87" fmla="*/ 1 h 2094"/>
                <a:gd name="T88" fmla="*/ 1 w 2087"/>
                <a:gd name="T89" fmla="*/ 1 h 2094"/>
                <a:gd name="T90" fmla="*/ 1 w 2087"/>
                <a:gd name="T91" fmla="*/ 1 h 2094"/>
                <a:gd name="T92" fmla="*/ 1 w 2087"/>
                <a:gd name="T93" fmla="*/ 1 h 2094"/>
                <a:gd name="T94" fmla="*/ 1 w 2087"/>
                <a:gd name="T95" fmla="*/ 1 h 2094"/>
                <a:gd name="T96" fmla="*/ 1 w 2087"/>
                <a:gd name="T97" fmla="*/ 1 h 2094"/>
                <a:gd name="T98" fmla="*/ 1 w 2087"/>
                <a:gd name="T99" fmla="*/ 1 h 2094"/>
                <a:gd name="T100" fmla="*/ 1 w 2087"/>
                <a:gd name="T101" fmla="*/ 1 h 2094"/>
                <a:gd name="T102" fmla="*/ 1 w 2087"/>
                <a:gd name="T103" fmla="*/ 1 h 209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087"/>
                <a:gd name="T157" fmla="*/ 0 h 2094"/>
                <a:gd name="T158" fmla="*/ 2087 w 2087"/>
                <a:gd name="T159" fmla="*/ 2094 h 209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087" h="2094">
                  <a:moveTo>
                    <a:pt x="1186" y="161"/>
                  </a:moveTo>
                  <a:lnTo>
                    <a:pt x="1205" y="161"/>
                  </a:lnTo>
                  <a:lnTo>
                    <a:pt x="1225" y="161"/>
                  </a:lnTo>
                  <a:lnTo>
                    <a:pt x="1246" y="181"/>
                  </a:lnTo>
                  <a:lnTo>
                    <a:pt x="1265" y="181"/>
                  </a:lnTo>
                  <a:lnTo>
                    <a:pt x="1305" y="198"/>
                  </a:lnTo>
                  <a:lnTo>
                    <a:pt x="1365" y="215"/>
                  </a:lnTo>
                  <a:lnTo>
                    <a:pt x="1386" y="215"/>
                  </a:lnTo>
                  <a:lnTo>
                    <a:pt x="1426" y="215"/>
                  </a:lnTo>
                  <a:lnTo>
                    <a:pt x="1445" y="198"/>
                  </a:lnTo>
                  <a:lnTo>
                    <a:pt x="1486" y="198"/>
                  </a:lnTo>
                  <a:lnTo>
                    <a:pt x="1505" y="198"/>
                  </a:lnTo>
                  <a:lnTo>
                    <a:pt x="1505" y="215"/>
                  </a:lnTo>
                  <a:lnTo>
                    <a:pt x="1526" y="215"/>
                  </a:lnTo>
                  <a:lnTo>
                    <a:pt x="1545" y="215"/>
                  </a:lnTo>
                  <a:lnTo>
                    <a:pt x="1566" y="215"/>
                  </a:lnTo>
                  <a:lnTo>
                    <a:pt x="1566" y="198"/>
                  </a:lnTo>
                  <a:lnTo>
                    <a:pt x="1586" y="215"/>
                  </a:lnTo>
                  <a:lnTo>
                    <a:pt x="1586" y="234"/>
                  </a:lnTo>
                  <a:lnTo>
                    <a:pt x="1586" y="252"/>
                  </a:lnTo>
                  <a:lnTo>
                    <a:pt x="1586" y="269"/>
                  </a:lnTo>
                  <a:lnTo>
                    <a:pt x="1586" y="288"/>
                  </a:lnTo>
                  <a:lnTo>
                    <a:pt x="1566" y="305"/>
                  </a:lnTo>
                  <a:lnTo>
                    <a:pt x="1545" y="288"/>
                  </a:lnTo>
                  <a:lnTo>
                    <a:pt x="1526" y="269"/>
                  </a:lnTo>
                  <a:lnTo>
                    <a:pt x="1505" y="234"/>
                  </a:lnTo>
                  <a:lnTo>
                    <a:pt x="1505" y="252"/>
                  </a:lnTo>
                  <a:lnTo>
                    <a:pt x="1505" y="269"/>
                  </a:lnTo>
                  <a:lnTo>
                    <a:pt x="1526" y="305"/>
                  </a:lnTo>
                  <a:lnTo>
                    <a:pt x="1586" y="376"/>
                  </a:lnTo>
                  <a:lnTo>
                    <a:pt x="1605" y="430"/>
                  </a:lnTo>
                  <a:lnTo>
                    <a:pt x="1605" y="447"/>
                  </a:lnTo>
                  <a:lnTo>
                    <a:pt x="1647" y="467"/>
                  </a:lnTo>
                  <a:lnTo>
                    <a:pt x="1647" y="501"/>
                  </a:lnTo>
                  <a:lnTo>
                    <a:pt x="1647" y="520"/>
                  </a:lnTo>
                  <a:lnTo>
                    <a:pt x="1647" y="538"/>
                  </a:lnTo>
                  <a:lnTo>
                    <a:pt x="1647" y="555"/>
                  </a:lnTo>
                  <a:lnTo>
                    <a:pt x="1668" y="574"/>
                  </a:lnTo>
                  <a:lnTo>
                    <a:pt x="1687" y="574"/>
                  </a:lnTo>
                  <a:lnTo>
                    <a:pt x="1706" y="591"/>
                  </a:lnTo>
                  <a:lnTo>
                    <a:pt x="1706" y="628"/>
                  </a:lnTo>
                  <a:lnTo>
                    <a:pt x="1728" y="664"/>
                  </a:lnTo>
                  <a:lnTo>
                    <a:pt x="1747" y="682"/>
                  </a:lnTo>
                  <a:lnTo>
                    <a:pt x="1768" y="682"/>
                  </a:lnTo>
                  <a:lnTo>
                    <a:pt x="1787" y="682"/>
                  </a:lnTo>
                  <a:lnTo>
                    <a:pt x="1787" y="699"/>
                  </a:lnTo>
                  <a:lnTo>
                    <a:pt x="1808" y="733"/>
                  </a:lnTo>
                  <a:lnTo>
                    <a:pt x="1847" y="751"/>
                  </a:lnTo>
                  <a:lnTo>
                    <a:pt x="1847" y="770"/>
                  </a:lnTo>
                  <a:lnTo>
                    <a:pt x="1868" y="787"/>
                  </a:lnTo>
                  <a:lnTo>
                    <a:pt x="1887" y="787"/>
                  </a:lnTo>
                  <a:lnTo>
                    <a:pt x="1908" y="787"/>
                  </a:lnTo>
                  <a:lnTo>
                    <a:pt x="1927" y="787"/>
                  </a:lnTo>
                  <a:lnTo>
                    <a:pt x="1946" y="787"/>
                  </a:lnTo>
                  <a:lnTo>
                    <a:pt x="1968" y="787"/>
                  </a:lnTo>
                  <a:lnTo>
                    <a:pt x="2008" y="770"/>
                  </a:lnTo>
                  <a:lnTo>
                    <a:pt x="2048" y="770"/>
                  </a:lnTo>
                  <a:lnTo>
                    <a:pt x="2087" y="770"/>
                  </a:lnTo>
                  <a:lnTo>
                    <a:pt x="2067" y="824"/>
                  </a:lnTo>
                  <a:lnTo>
                    <a:pt x="2048" y="877"/>
                  </a:lnTo>
                  <a:lnTo>
                    <a:pt x="2008" y="914"/>
                  </a:lnTo>
                  <a:lnTo>
                    <a:pt x="1987" y="968"/>
                  </a:lnTo>
                  <a:lnTo>
                    <a:pt x="1968" y="1004"/>
                  </a:lnTo>
                  <a:lnTo>
                    <a:pt x="1927" y="1021"/>
                  </a:lnTo>
                  <a:lnTo>
                    <a:pt x="1887" y="1056"/>
                  </a:lnTo>
                  <a:lnTo>
                    <a:pt x="1847" y="1073"/>
                  </a:lnTo>
                  <a:lnTo>
                    <a:pt x="1808" y="1092"/>
                  </a:lnTo>
                  <a:lnTo>
                    <a:pt x="1787" y="1146"/>
                  </a:lnTo>
                  <a:lnTo>
                    <a:pt x="1747" y="1181"/>
                  </a:lnTo>
                  <a:lnTo>
                    <a:pt x="1728" y="1200"/>
                  </a:lnTo>
                  <a:lnTo>
                    <a:pt x="1706" y="1217"/>
                  </a:lnTo>
                  <a:lnTo>
                    <a:pt x="1706" y="1236"/>
                  </a:lnTo>
                  <a:lnTo>
                    <a:pt x="1706" y="1271"/>
                  </a:lnTo>
                  <a:lnTo>
                    <a:pt x="1706" y="1290"/>
                  </a:lnTo>
                  <a:lnTo>
                    <a:pt x="1728" y="1307"/>
                  </a:lnTo>
                  <a:lnTo>
                    <a:pt x="1728" y="1344"/>
                  </a:lnTo>
                  <a:lnTo>
                    <a:pt x="1747" y="1361"/>
                  </a:lnTo>
                  <a:lnTo>
                    <a:pt x="1768" y="1380"/>
                  </a:lnTo>
                  <a:lnTo>
                    <a:pt x="1768" y="1397"/>
                  </a:lnTo>
                  <a:lnTo>
                    <a:pt x="1768" y="1413"/>
                  </a:lnTo>
                  <a:lnTo>
                    <a:pt x="1768" y="1432"/>
                  </a:lnTo>
                  <a:lnTo>
                    <a:pt x="1747" y="1449"/>
                  </a:lnTo>
                  <a:lnTo>
                    <a:pt x="1747" y="1486"/>
                  </a:lnTo>
                  <a:lnTo>
                    <a:pt x="1768" y="1486"/>
                  </a:lnTo>
                  <a:lnTo>
                    <a:pt x="1768" y="1503"/>
                  </a:lnTo>
                  <a:lnTo>
                    <a:pt x="1747" y="1539"/>
                  </a:lnTo>
                  <a:lnTo>
                    <a:pt x="1706" y="1557"/>
                  </a:lnTo>
                  <a:lnTo>
                    <a:pt x="1668" y="1576"/>
                  </a:lnTo>
                  <a:lnTo>
                    <a:pt x="1628" y="1593"/>
                  </a:lnTo>
                  <a:lnTo>
                    <a:pt x="1605" y="1630"/>
                  </a:lnTo>
                  <a:lnTo>
                    <a:pt x="1586" y="1630"/>
                  </a:lnTo>
                  <a:lnTo>
                    <a:pt x="1586" y="1647"/>
                  </a:lnTo>
                  <a:lnTo>
                    <a:pt x="1586" y="1666"/>
                  </a:lnTo>
                  <a:lnTo>
                    <a:pt x="1586" y="1683"/>
                  </a:lnTo>
                  <a:lnTo>
                    <a:pt x="1586" y="1701"/>
                  </a:lnTo>
                  <a:lnTo>
                    <a:pt x="1605" y="1737"/>
                  </a:lnTo>
                  <a:lnTo>
                    <a:pt x="1586" y="1772"/>
                  </a:lnTo>
                  <a:lnTo>
                    <a:pt x="1586" y="1789"/>
                  </a:lnTo>
                  <a:lnTo>
                    <a:pt x="1566" y="1789"/>
                  </a:lnTo>
                  <a:lnTo>
                    <a:pt x="1545" y="1789"/>
                  </a:lnTo>
                  <a:lnTo>
                    <a:pt x="1505" y="1806"/>
                  </a:lnTo>
                  <a:lnTo>
                    <a:pt x="1505" y="1825"/>
                  </a:lnTo>
                  <a:lnTo>
                    <a:pt x="1505" y="1843"/>
                  </a:lnTo>
                  <a:lnTo>
                    <a:pt x="1526" y="1862"/>
                  </a:lnTo>
                  <a:lnTo>
                    <a:pt x="1505" y="1879"/>
                  </a:lnTo>
                  <a:lnTo>
                    <a:pt x="1505" y="1896"/>
                  </a:lnTo>
                  <a:lnTo>
                    <a:pt x="1486" y="1916"/>
                  </a:lnTo>
                  <a:lnTo>
                    <a:pt x="1465" y="1933"/>
                  </a:lnTo>
                  <a:lnTo>
                    <a:pt x="1445" y="1950"/>
                  </a:lnTo>
                  <a:lnTo>
                    <a:pt x="1445" y="1969"/>
                  </a:lnTo>
                  <a:lnTo>
                    <a:pt x="1405" y="2006"/>
                  </a:lnTo>
                  <a:lnTo>
                    <a:pt x="1386" y="2040"/>
                  </a:lnTo>
                  <a:lnTo>
                    <a:pt x="1346" y="2060"/>
                  </a:lnTo>
                  <a:lnTo>
                    <a:pt x="1326" y="2060"/>
                  </a:lnTo>
                  <a:lnTo>
                    <a:pt x="1305" y="2060"/>
                  </a:lnTo>
                  <a:lnTo>
                    <a:pt x="1305" y="2077"/>
                  </a:lnTo>
                  <a:lnTo>
                    <a:pt x="1286" y="2077"/>
                  </a:lnTo>
                  <a:lnTo>
                    <a:pt x="1265" y="2077"/>
                  </a:lnTo>
                  <a:lnTo>
                    <a:pt x="1246" y="2077"/>
                  </a:lnTo>
                  <a:lnTo>
                    <a:pt x="1186" y="2077"/>
                  </a:lnTo>
                  <a:lnTo>
                    <a:pt x="1165" y="2094"/>
                  </a:lnTo>
                  <a:lnTo>
                    <a:pt x="1123" y="2094"/>
                  </a:lnTo>
                  <a:lnTo>
                    <a:pt x="1104" y="2094"/>
                  </a:lnTo>
                  <a:lnTo>
                    <a:pt x="1104" y="2077"/>
                  </a:lnTo>
                  <a:lnTo>
                    <a:pt x="1104" y="2094"/>
                  </a:lnTo>
                  <a:lnTo>
                    <a:pt x="1104" y="2060"/>
                  </a:lnTo>
                  <a:lnTo>
                    <a:pt x="1083" y="2040"/>
                  </a:lnTo>
                  <a:lnTo>
                    <a:pt x="1063" y="2040"/>
                  </a:lnTo>
                  <a:lnTo>
                    <a:pt x="1083" y="2040"/>
                  </a:lnTo>
                  <a:lnTo>
                    <a:pt x="1083" y="2023"/>
                  </a:lnTo>
                  <a:lnTo>
                    <a:pt x="1083" y="2006"/>
                  </a:lnTo>
                  <a:lnTo>
                    <a:pt x="1083" y="1987"/>
                  </a:lnTo>
                  <a:lnTo>
                    <a:pt x="1063" y="1969"/>
                  </a:lnTo>
                  <a:lnTo>
                    <a:pt x="1063" y="1950"/>
                  </a:lnTo>
                  <a:lnTo>
                    <a:pt x="1023" y="1916"/>
                  </a:lnTo>
                  <a:lnTo>
                    <a:pt x="1004" y="1862"/>
                  </a:lnTo>
                  <a:lnTo>
                    <a:pt x="983" y="1806"/>
                  </a:lnTo>
                  <a:lnTo>
                    <a:pt x="964" y="1754"/>
                  </a:lnTo>
                  <a:lnTo>
                    <a:pt x="964" y="1737"/>
                  </a:lnTo>
                  <a:lnTo>
                    <a:pt x="964" y="1720"/>
                  </a:lnTo>
                  <a:lnTo>
                    <a:pt x="944" y="1701"/>
                  </a:lnTo>
                  <a:lnTo>
                    <a:pt x="944" y="1683"/>
                  </a:lnTo>
                  <a:lnTo>
                    <a:pt x="923" y="1647"/>
                  </a:lnTo>
                  <a:lnTo>
                    <a:pt x="883" y="1611"/>
                  </a:lnTo>
                  <a:lnTo>
                    <a:pt x="883" y="1557"/>
                  </a:lnTo>
                  <a:lnTo>
                    <a:pt x="904" y="1503"/>
                  </a:lnTo>
                  <a:lnTo>
                    <a:pt x="923" y="1449"/>
                  </a:lnTo>
                  <a:lnTo>
                    <a:pt x="944" y="1413"/>
                  </a:lnTo>
                  <a:lnTo>
                    <a:pt x="944" y="1380"/>
                  </a:lnTo>
                  <a:lnTo>
                    <a:pt x="923" y="1361"/>
                  </a:lnTo>
                  <a:lnTo>
                    <a:pt x="923" y="1325"/>
                  </a:lnTo>
                  <a:lnTo>
                    <a:pt x="923" y="1307"/>
                  </a:lnTo>
                  <a:lnTo>
                    <a:pt x="904" y="1271"/>
                  </a:lnTo>
                  <a:lnTo>
                    <a:pt x="904" y="1236"/>
                  </a:lnTo>
                  <a:lnTo>
                    <a:pt x="883" y="1217"/>
                  </a:lnTo>
                  <a:lnTo>
                    <a:pt x="864" y="1181"/>
                  </a:lnTo>
                  <a:lnTo>
                    <a:pt x="804" y="1146"/>
                  </a:lnTo>
                  <a:lnTo>
                    <a:pt x="804" y="1110"/>
                  </a:lnTo>
                  <a:lnTo>
                    <a:pt x="804" y="1092"/>
                  </a:lnTo>
                  <a:lnTo>
                    <a:pt x="804" y="1073"/>
                  </a:lnTo>
                  <a:lnTo>
                    <a:pt x="823" y="1073"/>
                  </a:lnTo>
                  <a:lnTo>
                    <a:pt x="823" y="1056"/>
                  </a:lnTo>
                  <a:lnTo>
                    <a:pt x="823" y="1039"/>
                  </a:lnTo>
                  <a:lnTo>
                    <a:pt x="823" y="1021"/>
                  </a:lnTo>
                  <a:lnTo>
                    <a:pt x="843" y="1004"/>
                  </a:lnTo>
                  <a:lnTo>
                    <a:pt x="823" y="985"/>
                  </a:lnTo>
                  <a:lnTo>
                    <a:pt x="804" y="968"/>
                  </a:lnTo>
                  <a:lnTo>
                    <a:pt x="764" y="968"/>
                  </a:lnTo>
                  <a:lnTo>
                    <a:pt x="743" y="968"/>
                  </a:lnTo>
                  <a:lnTo>
                    <a:pt x="724" y="968"/>
                  </a:lnTo>
                  <a:lnTo>
                    <a:pt x="704" y="950"/>
                  </a:lnTo>
                  <a:lnTo>
                    <a:pt x="664" y="914"/>
                  </a:lnTo>
                  <a:lnTo>
                    <a:pt x="641" y="914"/>
                  </a:lnTo>
                  <a:lnTo>
                    <a:pt x="582" y="914"/>
                  </a:lnTo>
                  <a:lnTo>
                    <a:pt x="541" y="931"/>
                  </a:lnTo>
                  <a:lnTo>
                    <a:pt x="501" y="950"/>
                  </a:lnTo>
                  <a:lnTo>
                    <a:pt x="482" y="950"/>
                  </a:lnTo>
                  <a:lnTo>
                    <a:pt x="463" y="968"/>
                  </a:lnTo>
                  <a:lnTo>
                    <a:pt x="441" y="968"/>
                  </a:lnTo>
                  <a:lnTo>
                    <a:pt x="422" y="950"/>
                  </a:lnTo>
                  <a:lnTo>
                    <a:pt x="401" y="950"/>
                  </a:lnTo>
                  <a:lnTo>
                    <a:pt x="361" y="950"/>
                  </a:lnTo>
                  <a:lnTo>
                    <a:pt x="322" y="968"/>
                  </a:lnTo>
                  <a:lnTo>
                    <a:pt x="282" y="968"/>
                  </a:lnTo>
                  <a:lnTo>
                    <a:pt x="261" y="968"/>
                  </a:lnTo>
                  <a:lnTo>
                    <a:pt x="223" y="931"/>
                  </a:lnTo>
                  <a:lnTo>
                    <a:pt x="182" y="914"/>
                  </a:lnTo>
                  <a:lnTo>
                    <a:pt x="140" y="860"/>
                  </a:lnTo>
                  <a:lnTo>
                    <a:pt x="119" y="841"/>
                  </a:lnTo>
                  <a:lnTo>
                    <a:pt x="119" y="824"/>
                  </a:lnTo>
                  <a:lnTo>
                    <a:pt x="81" y="787"/>
                  </a:lnTo>
                  <a:lnTo>
                    <a:pt x="59" y="787"/>
                  </a:lnTo>
                  <a:lnTo>
                    <a:pt x="40" y="770"/>
                  </a:lnTo>
                  <a:lnTo>
                    <a:pt x="19" y="751"/>
                  </a:lnTo>
                  <a:lnTo>
                    <a:pt x="0" y="751"/>
                  </a:lnTo>
                  <a:lnTo>
                    <a:pt x="0" y="733"/>
                  </a:lnTo>
                  <a:lnTo>
                    <a:pt x="0" y="716"/>
                  </a:lnTo>
                  <a:lnTo>
                    <a:pt x="0" y="699"/>
                  </a:lnTo>
                  <a:lnTo>
                    <a:pt x="0" y="682"/>
                  </a:lnTo>
                  <a:lnTo>
                    <a:pt x="0" y="664"/>
                  </a:lnTo>
                  <a:lnTo>
                    <a:pt x="19" y="628"/>
                  </a:lnTo>
                  <a:lnTo>
                    <a:pt x="40" y="591"/>
                  </a:lnTo>
                  <a:lnTo>
                    <a:pt x="19" y="574"/>
                  </a:lnTo>
                  <a:lnTo>
                    <a:pt x="19" y="520"/>
                  </a:lnTo>
                  <a:lnTo>
                    <a:pt x="0" y="484"/>
                  </a:lnTo>
                  <a:lnTo>
                    <a:pt x="19" y="467"/>
                  </a:lnTo>
                  <a:lnTo>
                    <a:pt x="40" y="447"/>
                  </a:lnTo>
                  <a:lnTo>
                    <a:pt x="59" y="394"/>
                  </a:lnTo>
                  <a:lnTo>
                    <a:pt x="81" y="357"/>
                  </a:lnTo>
                  <a:lnTo>
                    <a:pt x="119" y="325"/>
                  </a:lnTo>
                  <a:lnTo>
                    <a:pt x="119" y="305"/>
                  </a:lnTo>
                  <a:lnTo>
                    <a:pt x="159" y="305"/>
                  </a:lnTo>
                  <a:lnTo>
                    <a:pt x="182" y="288"/>
                  </a:lnTo>
                  <a:lnTo>
                    <a:pt x="201" y="269"/>
                  </a:lnTo>
                  <a:lnTo>
                    <a:pt x="223" y="269"/>
                  </a:lnTo>
                  <a:lnTo>
                    <a:pt x="223" y="252"/>
                  </a:lnTo>
                  <a:lnTo>
                    <a:pt x="242" y="215"/>
                  </a:lnTo>
                  <a:lnTo>
                    <a:pt x="242" y="198"/>
                  </a:lnTo>
                  <a:lnTo>
                    <a:pt x="261" y="181"/>
                  </a:lnTo>
                  <a:lnTo>
                    <a:pt x="282" y="144"/>
                  </a:lnTo>
                  <a:lnTo>
                    <a:pt x="322" y="108"/>
                  </a:lnTo>
                  <a:lnTo>
                    <a:pt x="342" y="90"/>
                  </a:lnTo>
                  <a:lnTo>
                    <a:pt x="322" y="90"/>
                  </a:lnTo>
                  <a:lnTo>
                    <a:pt x="342" y="71"/>
                  </a:lnTo>
                  <a:lnTo>
                    <a:pt x="361" y="54"/>
                  </a:lnTo>
                  <a:lnTo>
                    <a:pt x="401" y="71"/>
                  </a:lnTo>
                  <a:lnTo>
                    <a:pt x="422" y="90"/>
                  </a:lnTo>
                  <a:lnTo>
                    <a:pt x="463" y="90"/>
                  </a:lnTo>
                  <a:lnTo>
                    <a:pt x="463" y="71"/>
                  </a:lnTo>
                  <a:lnTo>
                    <a:pt x="482" y="71"/>
                  </a:lnTo>
                  <a:lnTo>
                    <a:pt x="501" y="54"/>
                  </a:lnTo>
                  <a:lnTo>
                    <a:pt x="541" y="37"/>
                  </a:lnTo>
                  <a:lnTo>
                    <a:pt x="601" y="37"/>
                  </a:lnTo>
                  <a:lnTo>
                    <a:pt x="664" y="17"/>
                  </a:lnTo>
                  <a:lnTo>
                    <a:pt x="683" y="17"/>
                  </a:lnTo>
                  <a:lnTo>
                    <a:pt x="704" y="37"/>
                  </a:lnTo>
                  <a:lnTo>
                    <a:pt x="724" y="37"/>
                  </a:lnTo>
                  <a:lnTo>
                    <a:pt x="724" y="17"/>
                  </a:lnTo>
                  <a:lnTo>
                    <a:pt x="743" y="17"/>
                  </a:lnTo>
                  <a:lnTo>
                    <a:pt x="764" y="17"/>
                  </a:lnTo>
                  <a:lnTo>
                    <a:pt x="783" y="17"/>
                  </a:lnTo>
                  <a:lnTo>
                    <a:pt x="804" y="17"/>
                  </a:lnTo>
                  <a:lnTo>
                    <a:pt x="804" y="0"/>
                  </a:lnTo>
                  <a:lnTo>
                    <a:pt x="823" y="0"/>
                  </a:lnTo>
                  <a:lnTo>
                    <a:pt x="843" y="17"/>
                  </a:lnTo>
                  <a:lnTo>
                    <a:pt x="864" y="17"/>
                  </a:lnTo>
                  <a:lnTo>
                    <a:pt x="864" y="37"/>
                  </a:lnTo>
                  <a:lnTo>
                    <a:pt x="864" y="54"/>
                  </a:lnTo>
                  <a:lnTo>
                    <a:pt x="864" y="71"/>
                  </a:lnTo>
                  <a:lnTo>
                    <a:pt x="864" y="90"/>
                  </a:lnTo>
                  <a:lnTo>
                    <a:pt x="864" y="125"/>
                  </a:lnTo>
                  <a:lnTo>
                    <a:pt x="883" y="144"/>
                  </a:lnTo>
                  <a:lnTo>
                    <a:pt x="904" y="144"/>
                  </a:lnTo>
                  <a:lnTo>
                    <a:pt x="923" y="144"/>
                  </a:lnTo>
                  <a:lnTo>
                    <a:pt x="983" y="161"/>
                  </a:lnTo>
                  <a:lnTo>
                    <a:pt x="1023" y="181"/>
                  </a:lnTo>
                  <a:lnTo>
                    <a:pt x="1063" y="215"/>
                  </a:lnTo>
                  <a:lnTo>
                    <a:pt x="1104" y="215"/>
                  </a:lnTo>
                  <a:lnTo>
                    <a:pt x="1104" y="198"/>
                  </a:lnTo>
                  <a:lnTo>
                    <a:pt x="1123" y="161"/>
                  </a:lnTo>
                  <a:lnTo>
                    <a:pt x="1146" y="161"/>
                  </a:lnTo>
                  <a:lnTo>
                    <a:pt x="1186" y="161"/>
                  </a:lnTo>
                  <a:close/>
                </a:path>
              </a:pathLst>
            </a:custGeom>
            <a:solidFill>
              <a:srgbClr val="C0C0C0"/>
            </a:solidFill>
            <a:ln w="9525">
              <a:solidFill>
                <a:srgbClr val="C0C0C0"/>
              </a:solidFill>
              <a:round/>
              <a:headEnd/>
              <a:tailEnd/>
            </a:ln>
          </p:spPr>
          <p:txBody>
            <a:bodyPr/>
            <a:lstStyle/>
            <a:p>
              <a:endParaRPr lang="en-US"/>
            </a:p>
          </p:txBody>
        </p:sp>
        <p:sp>
          <p:nvSpPr>
            <p:cNvPr id="9410" name="Freeform 101"/>
            <p:cNvSpPr>
              <a:spLocks/>
            </p:cNvSpPr>
            <p:nvPr/>
          </p:nvSpPr>
          <p:spPr bwMode="auto">
            <a:xfrm>
              <a:off x="3321" y="2118"/>
              <a:ext cx="582" cy="446"/>
            </a:xfrm>
            <a:custGeom>
              <a:avLst/>
              <a:gdLst>
                <a:gd name="T0" fmla="*/ 1 w 1164"/>
                <a:gd name="T1" fmla="*/ 0 h 893"/>
                <a:gd name="T2" fmla="*/ 1 w 1164"/>
                <a:gd name="T3" fmla="*/ 0 h 893"/>
                <a:gd name="T4" fmla="*/ 1 w 1164"/>
                <a:gd name="T5" fmla="*/ 0 h 893"/>
                <a:gd name="T6" fmla="*/ 1 w 1164"/>
                <a:gd name="T7" fmla="*/ 0 h 893"/>
                <a:gd name="T8" fmla="*/ 1 w 1164"/>
                <a:gd name="T9" fmla="*/ 0 h 893"/>
                <a:gd name="T10" fmla="*/ 1 w 1164"/>
                <a:gd name="T11" fmla="*/ 0 h 893"/>
                <a:gd name="T12" fmla="*/ 1 w 1164"/>
                <a:gd name="T13" fmla="*/ 0 h 893"/>
                <a:gd name="T14" fmla="*/ 1 w 1164"/>
                <a:gd name="T15" fmla="*/ 0 h 893"/>
                <a:gd name="T16" fmla="*/ 1 w 1164"/>
                <a:gd name="T17" fmla="*/ 0 h 893"/>
                <a:gd name="T18" fmla="*/ 1 w 1164"/>
                <a:gd name="T19" fmla="*/ 0 h 893"/>
                <a:gd name="T20" fmla="*/ 1 w 1164"/>
                <a:gd name="T21" fmla="*/ 0 h 893"/>
                <a:gd name="T22" fmla="*/ 1 w 1164"/>
                <a:gd name="T23" fmla="*/ 0 h 893"/>
                <a:gd name="T24" fmla="*/ 1 w 1164"/>
                <a:gd name="T25" fmla="*/ 0 h 893"/>
                <a:gd name="T26" fmla="*/ 1 w 1164"/>
                <a:gd name="T27" fmla="*/ 0 h 893"/>
                <a:gd name="T28" fmla="*/ 1 w 1164"/>
                <a:gd name="T29" fmla="*/ 0 h 893"/>
                <a:gd name="T30" fmla="*/ 1 w 1164"/>
                <a:gd name="T31" fmla="*/ 0 h 893"/>
                <a:gd name="T32" fmla="*/ 1 w 1164"/>
                <a:gd name="T33" fmla="*/ 0 h 893"/>
                <a:gd name="T34" fmla="*/ 1 w 1164"/>
                <a:gd name="T35" fmla="*/ 0 h 893"/>
                <a:gd name="T36" fmla="*/ 1 w 1164"/>
                <a:gd name="T37" fmla="*/ 0 h 893"/>
                <a:gd name="T38" fmla="*/ 1 w 1164"/>
                <a:gd name="T39" fmla="*/ 0 h 893"/>
                <a:gd name="T40" fmla="*/ 1 w 1164"/>
                <a:gd name="T41" fmla="*/ 0 h 893"/>
                <a:gd name="T42" fmla="*/ 1 w 1164"/>
                <a:gd name="T43" fmla="*/ 0 h 893"/>
                <a:gd name="T44" fmla="*/ 1 w 1164"/>
                <a:gd name="T45" fmla="*/ 0 h 893"/>
                <a:gd name="T46" fmla="*/ 1 w 1164"/>
                <a:gd name="T47" fmla="*/ 0 h 893"/>
                <a:gd name="T48" fmla="*/ 1 w 1164"/>
                <a:gd name="T49" fmla="*/ 0 h 893"/>
                <a:gd name="T50" fmla="*/ 1 w 1164"/>
                <a:gd name="T51" fmla="*/ 0 h 893"/>
                <a:gd name="T52" fmla="*/ 1 w 1164"/>
                <a:gd name="T53" fmla="*/ 0 h 893"/>
                <a:gd name="T54" fmla="*/ 1 w 1164"/>
                <a:gd name="T55" fmla="*/ 0 h 893"/>
                <a:gd name="T56" fmla="*/ 1 w 1164"/>
                <a:gd name="T57" fmla="*/ 0 h 893"/>
                <a:gd name="T58" fmla="*/ 1 w 1164"/>
                <a:gd name="T59" fmla="*/ 0 h 893"/>
                <a:gd name="T60" fmla="*/ 1 w 1164"/>
                <a:gd name="T61" fmla="*/ 0 h 893"/>
                <a:gd name="T62" fmla="*/ 1 w 1164"/>
                <a:gd name="T63" fmla="*/ 0 h 893"/>
                <a:gd name="T64" fmla="*/ 1 w 1164"/>
                <a:gd name="T65" fmla="*/ 0 h 893"/>
                <a:gd name="T66" fmla="*/ 1 w 1164"/>
                <a:gd name="T67" fmla="*/ 0 h 893"/>
                <a:gd name="T68" fmla="*/ 1 w 1164"/>
                <a:gd name="T69" fmla="*/ 0 h 893"/>
                <a:gd name="T70" fmla="*/ 1 w 1164"/>
                <a:gd name="T71" fmla="*/ 0 h 893"/>
                <a:gd name="T72" fmla="*/ 1 w 1164"/>
                <a:gd name="T73" fmla="*/ 0 h 893"/>
                <a:gd name="T74" fmla="*/ 1 w 1164"/>
                <a:gd name="T75" fmla="*/ 0 h 893"/>
                <a:gd name="T76" fmla="*/ 1 w 1164"/>
                <a:gd name="T77" fmla="*/ 0 h 893"/>
                <a:gd name="T78" fmla="*/ 1 w 1164"/>
                <a:gd name="T79" fmla="*/ 0 h 893"/>
                <a:gd name="T80" fmla="*/ 1 w 1164"/>
                <a:gd name="T81" fmla="*/ 0 h 893"/>
                <a:gd name="T82" fmla="*/ 1 w 1164"/>
                <a:gd name="T83" fmla="*/ 0 h 893"/>
                <a:gd name="T84" fmla="*/ 1 w 1164"/>
                <a:gd name="T85" fmla="*/ 0 h 893"/>
                <a:gd name="T86" fmla="*/ 1 w 1164"/>
                <a:gd name="T87" fmla="*/ 0 h 893"/>
                <a:gd name="T88" fmla="*/ 1 w 1164"/>
                <a:gd name="T89" fmla="*/ 0 h 893"/>
                <a:gd name="T90" fmla="*/ 1 w 1164"/>
                <a:gd name="T91" fmla="*/ 0 h 893"/>
                <a:gd name="T92" fmla="*/ 1 w 1164"/>
                <a:gd name="T93" fmla="*/ 0 h 893"/>
                <a:gd name="T94" fmla="*/ 1 w 1164"/>
                <a:gd name="T95" fmla="*/ 0 h 893"/>
                <a:gd name="T96" fmla="*/ 1 w 1164"/>
                <a:gd name="T97" fmla="*/ 0 h 893"/>
                <a:gd name="T98" fmla="*/ 1 w 1164"/>
                <a:gd name="T99" fmla="*/ 0 h 893"/>
                <a:gd name="T100" fmla="*/ 1 w 1164"/>
                <a:gd name="T101" fmla="*/ 0 h 893"/>
                <a:gd name="T102" fmla="*/ 1 w 1164"/>
                <a:gd name="T103" fmla="*/ 0 h 893"/>
                <a:gd name="T104" fmla="*/ 1 w 1164"/>
                <a:gd name="T105" fmla="*/ 0 h 893"/>
                <a:gd name="T106" fmla="*/ 1 w 1164"/>
                <a:gd name="T107" fmla="*/ 0 h 893"/>
                <a:gd name="T108" fmla="*/ 1 w 1164"/>
                <a:gd name="T109" fmla="*/ 0 h 89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64"/>
                <a:gd name="T166" fmla="*/ 0 h 893"/>
                <a:gd name="T167" fmla="*/ 1164 w 1164"/>
                <a:gd name="T168" fmla="*/ 893 h 89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64" h="893">
                  <a:moveTo>
                    <a:pt x="281" y="394"/>
                  </a:moveTo>
                  <a:lnTo>
                    <a:pt x="281" y="376"/>
                  </a:lnTo>
                  <a:lnTo>
                    <a:pt x="261" y="357"/>
                  </a:lnTo>
                  <a:lnTo>
                    <a:pt x="261" y="340"/>
                  </a:lnTo>
                  <a:lnTo>
                    <a:pt x="261" y="323"/>
                  </a:lnTo>
                  <a:lnTo>
                    <a:pt x="281" y="323"/>
                  </a:lnTo>
                  <a:lnTo>
                    <a:pt x="281" y="303"/>
                  </a:lnTo>
                  <a:lnTo>
                    <a:pt x="281" y="267"/>
                  </a:lnTo>
                  <a:lnTo>
                    <a:pt x="281" y="250"/>
                  </a:lnTo>
                  <a:lnTo>
                    <a:pt x="300" y="232"/>
                  </a:lnTo>
                  <a:lnTo>
                    <a:pt x="323" y="232"/>
                  </a:lnTo>
                  <a:lnTo>
                    <a:pt x="323" y="213"/>
                  </a:lnTo>
                  <a:lnTo>
                    <a:pt x="300" y="196"/>
                  </a:lnTo>
                  <a:lnTo>
                    <a:pt x="300" y="179"/>
                  </a:lnTo>
                  <a:lnTo>
                    <a:pt x="323" y="179"/>
                  </a:lnTo>
                  <a:lnTo>
                    <a:pt x="300" y="179"/>
                  </a:lnTo>
                  <a:lnTo>
                    <a:pt x="281" y="179"/>
                  </a:lnTo>
                  <a:lnTo>
                    <a:pt x="261" y="179"/>
                  </a:lnTo>
                  <a:lnTo>
                    <a:pt x="240" y="179"/>
                  </a:lnTo>
                  <a:lnTo>
                    <a:pt x="200" y="179"/>
                  </a:lnTo>
                  <a:lnTo>
                    <a:pt x="181" y="179"/>
                  </a:lnTo>
                  <a:lnTo>
                    <a:pt x="160" y="179"/>
                  </a:lnTo>
                  <a:lnTo>
                    <a:pt x="140" y="179"/>
                  </a:lnTo>
                  <a:lnTo>
                    <a:pt x="121" y="179"/>
                  </a:lnTo>
                  <a:lnTo>
                    <a:pt x="100" y="179"/>
                  </a:lnTo>
                  <a:lnTo>
                    <a:pt x="81" y="179"/>
                  </a:lnTo>
                  <a:lnTo>
                    <a:pt x="60" y="179"/>
                  </a:lnTo>
                  <a:lnTo>
                    <a:pt x="81" y="179"/>
                  </a:lnTo>
                  <a:lnTo>
                    <a:pt x="60" y="159"/>
                  </a:lnTo>
                  <a:lnTo>
                    <a:pt x="41" y="142"/>
                  </a:lnTo>
                  <a:lnTo>
                    <a:pt x="41" y="125"/>
                  </a:lnTo>
                  <a:lnTo>
                    <a:pt x="21" y="125"/>
                  </a:lnTo>
                  <a:lnTo>
                    <a:pt x="0" y="125"/>
                  </a:lnTo>
                  <a:lnTo>
                    <a:pt x="21" y="108"/>
                  </a:lnTo>
                  <a:lnTo>
                    <a:pt x="21" y="90"/>
                  </a:lnTo>
                  <a:lnTo>
                    <a:pt x="21" y="71"/>
                  </a:lnTo>
                  <a:lnTo>
                    <a:pt x="0" y="71"/>
                  </a:lnTo>
                  <a:lnTo>
                    <a:pt x="21" y="54"/>
                  </a:lnTo>
                  <a:lnTo>
                    <a:pt x="81" y="54"/>
                  </a:lnTo>
                  <a:lnTo>
                    <a:pt x="100" y="37"/>
                  </a:lnTo>
                  <a:lnTo>
                    <a:pt x="100" y="17"/>
                  </a:lnTo>
                  <a:lnTo>
                    <a:pt x="121" y="17"/>
                  </a:lnTo>
                  <a:lnTo>
                    <a:pt x="140" y="17"/>
                  </a:lnTo>
                  <a:lnTo>
                    <a:pt x="160" y="17"/>
                  </a:lnTo>
                  <a:lnTo>
                    <a:pt x="181" y="17"/>
                  </a:lnTo>
                  <a:lnTo>
                    <a:pt x="200" y="0"/>
                  </a:lnTo>
                  <a:lnTo>
                    <a:pt x="221" y="0"/>
                  </a:lnTo>
                  <a:lnTo>
                    <a:pt x="240" y="0"/>
                  </a:lnTo>
                  <a:lnTo>
                    <a:pt x="281" y="0"/>
                  </a:lnTo>
                  <a:lnTo>
                    <a:pt x="300" y="0"/>
                  </a:lnTo>
                  <a:lnTo>
                    <a:pt x="323" y="0"/>
                  </a:lnTo>
                  <a:lnTo>
                    <a:pt x="342" y="17"/>
                  </a:lnTo>
                  <a:lnTo>
                    <a:pt x="342" y="37"/>
                  </a:lnTo>
                  <a:lnTo>
                    <a:pt x="382" y="37"/>
                  </a:lnTo>
                  <a:lnTo>
                    <a:pt x="401" y="37"/>
                  </a:lnTo>
                  <a:lnTo>
                    <a:pt x="423" y="37"/>
                  </a:lnTo>
                  <a:lnTo>
                    <a:pt x="442" y="37"/>
                  </a:lnTo>
                  <a:lnTo>
                    <a:pt x="463" y="17"/>
                  </a:lnTo>
                  <a:lnTo>
                    <a:pt x="482" y="0"/>
                  </a:lnTo>
                  <a:lnTo>
                    <a:pt x="522" y="0"/>
                  </a:lnTo>
                  <a:lnTo>
                    <a:pt x="542" y="0"/>
                  </a:lnTo>
                  <a:lnTo>
                    <a:pt x="542" y="17"/>
                  </a:lnTo>
                  <a:lnTo>
                    <a:pt x="563" y="54"/>
                  </a:lnTo>
                  <a:lnTo>
                    <a:pt x="582" y="54"/>
                  </a:lnTo>
                  <a:lnTo>
                    <a:pt x="603" y="71"/>
                  </a:lnTo>
                  <a:lnTo>
                    <a:pt x="603" y="90"/>
                  </a:lnTo>
                  <a:lnTo>
                    <a:pt x="641" y="90"/>
                  </a:lnTo>
                  <a:lnTo>
                    <a:pt x="663" y="90"/>
                  </a:lnTo>
                  <a:lnTo>
                    <a:pt x="682" y="71"/>
                  </a:lnTo>
                  <a:lnTo>
                    <a:pt x="682" y="54"/>
                  </a:lnTo>
                  <a:lnTo>
                    <a:pt x="682" y="71"/>
                  </a:lnTo>
                  <a:lnTo>
                    <a:pt x="703" y="71"/>
                  </a:lnTo>
                  <a:lnTo>
                    <a:pt x="703" y="90"/>
                  </a:lnTo>
                  <a:lnTo>
                    <a:pt x="703" y="108"/>
                  </a:lnTo>
                  <a:lnTo>
                    <a:pt x="722" y="108"/>
                  </a:lnTo>
                  <a:lnTo>
                    <a:pt x="722" y="125"/>
                  </a:lnTo>
                  <a:lnTo>
                    <a:pt x="722" y="142"/>
                  </a:lnTo>
                  <a:lnTo>
                    <a:pt x="743" y="142"/>
                  </a:lnTo>
                  <a:lnTo>
                    <a:pt x="762" y="142"/>
                  </a:lnTo>
                  <a:lnTo>
                    <a:pt x="762" y="159"/>
                  </a:lnTo>
                  <a:lnTo>
                    <a:pt x="782" y="179"/>
                  </a:lnTo>
                  <a:lnTo>
                    <a:pt x="805" y="179"/>
                  </a:lnTo>
                  <a:lnTo>
                    <a:pt x="824" y="179"/>
                  </a:lnTo>
                  <a:lnTo>
                    <a:pt x="845" y="179"/>
                  </a:lnTo>
                  <a:lnTo>
                    <a:pt x="864" y="179"/>
                  </a:lnTo>
                  <a:lnTo>
                    <a:pt x="885" y="159"/>
                  </a:lnTo>
                  <a:lnTo>
                    <a:pt x="885" y="142"/>
                  </a:lnTo>
                  <a:lnTo>
                    <a:pt x="885" y="125"/>
                  </a:lnTo>
                  <a:lnTo>
                    <a:pt x="904" y="125"/>
                  </a:lnTo>
                  <a:lnTo>
                    <a:pt x="924" y="125"/>
                  </a:lnTo>
                  <a:lnTo>
                    <a:pt x="945" y="125"/>
                  </a:lnTo>
                  <a:lnTo>
                    <a:pt x="964" y="108"/>
                  </a:lnTo>
                  <a:lnTo>
                    <a:pt x="985" y="125"/>
                  </a:lnTo>
                  <a:lnTo>
                    <a:pt x="1004" y="125"/>
                  </a:lnTo>
                  <a:lnTo>
                    <a:pt x="1023" y="125"/>
                  </a:lnTo>
                  <a:lnTo>
                    <a:pt x="1045" y="142"/>
                  </a:lnTo>
                  <a:lnTo>
                    <a:pt x="1085" y="159"/>
                  </a:lnTo>
                  <a:lnTo>
                    <a:pt x="1104" y="179"/>
                  </a:lnTo>
                  <a:lnTo>
                    <a:pt x="1104" y="196"/>
                  </a:lnTo>
                  <a:lnTo>
                    <a:pt x="1104" y="213"/>
                  </a:lnTo>
                  <a:lnTo>
                    <a:pt x="1085" y="232"/>
                  </a:lnTo>
                  <a:lnTo>
                    <a:pt x="1085" y="250"/>
                  </a:lnTo>
                  <a:lnTo>
                    <a:pt x="1085" y="267"/>
                  </a:lnTo>
                  <a:lnTo>
                    <a:pt x="1085" y="286"/>
                  </a:lnTo>
                  <a:lnTo>
                    <a:pt x="1085" y="303"/>
                  </a:lnTo>
                  <a:lnTo>
                    <a:pt x="1085" y="323"/>
                  </a:lnTo>
                  <a:lnTo>
                    <a:pt x="1104" y="323"/>
                  </a:lnTo>
                  <a:lnTo>
                    <a:pt x="1104" y="340"/>
                  </a:lnTo>
                  <a:lnTo>
                    <a:pt x="1125" y="340"/>
                  </a:lnTo>
                  <a:lnTo>
                    <a:pt x="1104" y="357"/>
                  </a:lnTo>
                  <a:lnTo>
                    <a:pt x="1085" y="376"/>
                  </a:lnTo>
                  <a:lnTo>
                    <a:pt x="1104" y="394"/>
                  </a:lnTo>
                  <a:lnTo>
                    <a:pt x="1144" y="411"/>
                  </a:lnTo>
                  <a:lnTo>
                    <a:pt x="1144" y="430"/>
                  </a:lnTo>
                  <a:lnTo>
                    <a:pt x="1164" y="484"/>
                  </a:lnTo>
                  <a:lnTo>
                    <a:pt x="1144" y="484"/>
                  </a:lnTo>
                  <a:lnTo>
                    <a:pt x="1125" y="484"/>
                  </a:lnTo>
                  <a:lnTo>
                    <a:pt x="1125" y="518"/>
                  </a:lnTo>
                  <a:lnTo>
                    <a:pt x="1125" y="536"/>
                  </a:lnTo>
                  <a:lnTo>
                    <a:pt x="1085" y="536"/>
                  </a:lnTo>
                  <a:lnTo>
                    <a:pt x="1045" y="518"/>
                  </a:lnTo>
                  <a:lnTo>
                    <a:pt x="1004" y="518"/>
                  </a:lnTo>
                  <a:lnTo>
                    <a:pt x="985" y="499"/>
                  </a:lnTo>
                  <a:lnTo>
                    <a:pt x="964" y="484"/>
                  </a:lnTo>
                  <a:lnTo>
                    <a:pt x="945" y="467"/>
                  </a:lnTo>
                  <a:lnTo>
                    <a:pt x="945" y="484"/>
                  </a:lnTo>
                  <a:lnTo>
                    <a:pt x="924" y="484"/>
                  </a:lnTo>
                  <a:lnTo>
                    <a:pt x="904" y="484"/>
                  </a:lnTo>
                  <a:lnTo>
                    <a:pt x="885" y="484"/>
                  </a:lnTo>
                  <a:lnTo>
                    <a:pt x="864" y="484"/>
                  </a:lnTo>
                  <a:lnTo>
                    <a:pt x="845" y="467"/>
                  </a:lnTo>
                  <a:lnTo>
                    <a:pt x="824" y="467"/>
                  </a:lnTo>
                  <a:lnTo>
                    <a:pt x="805" y="447"/>
                  </a:lnTo>
                  <a:lnTo>
                    <a:pt x="782" y="430"/>
                  </a:lnTo>
                  <a:lnTo>
                    <a:pt x="782" y="411"/>
                  </a:lnTo>
                  <a:lnTo>
                    <a:pt x="762" y="394"/>
                  </a:lnTo>
                  <a:lnTo>
                    <a:pt x="743" y="376"/>
                  </a:lnTo>
                  <a:lnTo>
                    <a:pt x="722" y="357"/>
                  </a:lnTo>
                  <a:lnTo>
                    <a:pt x="703" y="376"/>
                  </a:lnTo>
                  <a:lnTo>
                    <a:pt x="682" y="394"/>
                  </a:lnTo>
                  <a:lnTo>
                    <a:pt x="682" y="411"/>
                  </a:lnTo>
                  <a:lnTo>
                    <a:pt x="703" y="447"/>
                  </a:lnTo>
                  <a:lnTo>
                    <a:pt x="743" y="484"/>
                  </a:lnTo>
                  <a:lnTo>
                    <a:pt x="762" y="499"/>
                  </a:lnTo>
                  <a:lnTo>
                    <a:pt x="762" y="518"/>
                  </a:lnTo>
                  <a:lnTo>
                    <a:pt x="782" y="499"/>
                  </a:lnTo>
                  <a:lnTo>
                    <a:pt x="782" y="518"/>
                  </a:lnTo>
                  <a:lnTo>
                    <a:pt x="782" y="536"/>
                  </a:lnTo>
                  <a:lnTo>
                    <a:pt x="805" y="553"/>
                  </a:lnTo>
                  <a:lnTo>
                    <a:pt x="824" y="553"/>
                  </a:lnTo>
                  <a:lnTo>
                    <a:pt x="885" y="536"/>
                  </a:lnTo>
                  <a:lnTo>
                    <a:pt x="904" y="518"/>
                  </a:lnTo>
                  <a:lnTo>
                    <a:pt x="945" y="484"/>
                  </a:lnTo>
                  <a:lnTo>
                    <a:pt x="945" y="499"/>
                  </a:lnTo>
                  <a:lnTo>
                    <a:pt x="945" y="518"/>
                  </a:lnTo>
                  <a:lnTo>
                    <a:pt x="945" y="536"/>
                  </a:lnTo>
                  <a:lnTo>
                    <a:pt x="964" y="553"/>
                  </a:lnTo>
                  <a:lnTo>
                    <a:pt x="985" y="553"/>
                  </a:lnTo>
                  <a:lnTo>
                    <a:pt x="1004" y="572"/>
                  </a:lnTo>
                  <a:lnTo>
                    <a:pt x="1023" y="589"/>
                  </a:lnTo>
                  <a:lnTo>
                    <a:pt x="1045" y="589"/>
                  </a:lnTo>
                  <a:lnTo>
                    <a:pt x="1064" y="609"/>
                  </a:lnTo>
                  <a:lnTo>
                    <a:pt x="1045" y="626"/>
                  </a:lnTo>
                  <a:lnTo>
                    <a:pt x="1023" y="643"/>
                  </a:lnTo>
                  <a:lnTo>
                    <a:pt x="1023" y="662"/>
                  </a:lnTo>
                  <a:lnTo>
                    <a:pt x="1004" y="662"/>
                  </a:lnTo>
                  <a:lnTo>
                    <a:pt x="985" y="680"/>
                  </a:lnTo>
                  <a:lnTo>
                    <a:pt x="985" y="697"/>
                  </a:lnTo>
                  <a:lnTo>
                    <a:pt x="964" y="716"/>
                  </a:lnTo>
                  <a:lnTo>
                    <a:pt x="945" y="716"/>
                  </a:lnTo>
                  <a:lnTo>
                    <a:pt x="945" y="733"/>
                  </a:lnTo>
                  <a:lnTo>
                    <a:pt x="924" y="753"/>
                  </a:lnTo>
                  <a:lnTo>
                    <a:pt x="904" y="770"/>
                  </a:lnTo>
                  <a:lnTo>
                    <a:pt x="885" y="770"/>
                  </a:lnTo>
                  <a:lnTo>
                    <a:pt x="824" y="770"/>
                  </a:lnTo>
                  <a:lnTo>
                    <a:pt x="805" y="806"/>
                  </a:lnTo>
                  <a:lnTo>
                    <a:pt x="805" y="824"/>
                  </a:lnTo>
                  <a:lnTo>
                    <a:pt x="762" y="824"/>
                  </a:lnTo>
                  <a:lnTo>
                    <a:pt x="743" y="824"/>
                  </a:lnTo>
                  <a:lnTo>
                    <a:pt x="722" y="841"/>
                  </a:lnTo>
                  <a:lnTo>
                    <a:pt x="682" y="858"/>
                  </a:lnTo>
                  <a:lnTo>
                    <a:pt x="663" y="875"/>
                  </a:lnTo>
                  <a:lnTo>
                    <a:pt x="641" y="875"/>
                  </a:lnTo>
                  <a:lnTo>
                    <a:pt x="622" y="875"/>
                  </a:lnTo>
                  <a:lnTo>
                    <a:pt x="603" y="875"/>
                  </a:lnTo>
                  <a:lnTo>
                    <a:pt x="603" y="893"/>
                  </a:lnTo>
                  <a:lnTo>
                    <a:pt x="582" y="893"/>
                  </a:lnTo>
                  <a:lnTo>
                    <a:pt x="563" y="893"/>
                  </a:lnTo>
                  <a:lnTo>
                    <a:pt x="542" y="893"/>
                  </a:lnTo>
                  <a:lnTo>
                    <a:pt x="542" y="875"/>
                  </a:lnTo>
                  <a:lnTo>
                    <a:pt x="542" y="841"/>
                  </a:lnTo>
                  <a:lnTo>
                    <a:pt x="522" y="824"/>
                  </a:lnTo>
                  <a:lnTo>
                    <a:pt x="522" y="806"/>
                  </a:lnTo>
                  <a:lnTo>
                    <a:pt x="522" y="787"/>
                  </a:lnTo>
                  <a:lnTo>
                    <a:pt x="522" y="770"/>
                  </a:lnTo>
                  <a:lnTo>
                    <a:pt x="503" y="770"/>
                  </a:lnTo>
                  <a:lnTo>
                    <a:pt x="503" y="753"/>
                  </a:lnTo>
                  <a:lnTo>
                    <a:pt x="482" y="733"/>
                  </a:lnTo>
                  <a:lnTo>
                    <a:pt x="463" y="716"/>
                  </a:lnTo>
                  <a:lnTo>
                    <a:pt x="463" y="680"/>
                  </a:lnTo>
                  <a:lnTo>
                    <a:pt x="423" y="662"/>
                  </a:lnTo>
                  <a:lnTo>
                    <a:pt x="401" y="643"/>
                  </a:lnTo>
                  <a:lnTo>
                    <a:pt x="401" y="609"/>
                  </a:lnTo>
                  <a:lnTo>
                    <a:pt x="401" y="589"/>
                  </a:lnTo>
                  <a:lnTo>
                    <a:pt x="382" y="572"/>
                  </a:lnTo>
                  <a:lnTo>
                    <a:pt x="382" y="553"/>
                  </a:lnTo>
                  <a:lnTo>
                    <a:pt x="382" y="572"/>
                  </a:lnTo>
                  <a:lnTo>
                    <a:pt x="382" y="553"/>
                  </a:lnTo>
                  <a:lnTo>
                    <a:pt x="363" y="553"/>
                  </a:lnTo>
                  <a:lnTo>
                    <a:pt x="342" y="553"/>
                  </a:lnTo>
                  <a:lnTo>
                    <a:pt x="342" y="536"/>
                  </a:lnTo>
                  <a:lnTo>
                    <a:pt x="342" y="518"/>
                  </a:lnTo>
                  <a:lnTo>
                    <a:pt x="342" y="499"/>
                  </a:lnTo>
                  <a:lnTo>
                    <a:pt x="323" y="484"/>
                  </a:lnTo>
                  <a:lnTo>
                    <a:pt x="300" y="484"/>
                  </a:lnTo>
                  <a:lnTo>
                    <a:pt x="281" y="447"/>
                  </a:lnTo>
                  <a:lnTo>
                    <a:pt x="281" y="430"/>
                  </a:lnTo>
                  <a:lnTo>
                    <a:pt x="281" y="411"/>
                  </a:lnTo>
                  <a:lnTo>
                    <a:pt x="281" y="376"/>
                  </a:lnTo>
                  <a:lnTo>
                    <a:pt x="281" y="394"/>
                  </a:lnTo>
                  <a:close/>
                </a:path>
              </a:pathLst>
            </a:custGeom>
            <a:solidFill>
              <a:srgbClr val="C0C0C0"/>
            </a:solidFill>
            <a:ln w="9525">
              <a:solidFill>
                <a:srgbClr val="C0C0C0"/>
              </a:solidFill>
              <a:round/>
              <a:headEnd/>
              <a:tailEnd/>
            </a:ln>
          </p:spPr>
          <p:txBody>
            <a:bodyPr/>
            <a:lstStyle/>
            <a:p>
              <a:endParaRPr lang="en-US"/>
            </a:p>
          </p:txBody>
        </p:sp>
        <p:sp>
          <p:nvSpPr>
            <p:cNvPr id="9411" name="Freeform 102"/>
            <p:cNvSpPr>
              <a:spLocks/>
            </p:cNvSpPr>
            <p:nvPr/>
          </p:nvSpPr>
          <p:spPr bwMode="auto">
            <a:xfrm>
              <a:off x="3863" y="2171"/>
              <a:ext cx="624" cy="438"/>
            </a:xfrm>
            <a:custGeom>
              <a:avLst/>
              <a:gdLst>
                <a:gd name="T0" fmla="*/ 1 w 1248"/>
                <a:gd name="T1" fmla="*/ 1 h 875"/>
                <a:gd name="T2" fmla="*/ 1 w 1248"/>
                <a:gd name="T3" fmla="*/ 1 h 875"/>
                <a:gd name="T4" fmla="*/ 1 w 1248"/>
                <a:gd name="T5" fmla="*/ 1 h 875"/>
                <a:gd name="T6" fmla="*/ 1 w 1248"/>
                <a:gd name="T7" fmla="*/ 1 h 875"/>
                <a:gd name="T8" fmla="*/ 1 w 1248"/>
                <a:gd name="T9" fmla="*/ 1 h 875"/>
                <a:gd name="T10" fmla="*/ 1 w 1248"/>
                <a:gd name="T11" fmla="*/ 1 h 875"/>
                <a:gd name="T12" fmla="*/ 1 w 1248"/>
                <a:gd name="T13" fmla="*/ 1 h 875"/>
                <a:gd name="T14" fmla="*/ 1 w 1248"/>
                <a:gd name="T15" fmla="*/ 1 h 875"/>
                <a:gd name="T16" fmla="*/ 1 w 1248"/>
                <a:gd name="T17" fmla="*/ 1 h 875"/>
                <a:gd name="T18" fmla="*/ 1 w 1248"/>
                <a:gd name="T19" fmla="*/ 1 h 875"/>
                <a:gd name="T20" fmla="*/ 1 w 1248"/>
                <a:gd name="T21" fmla="*/ 1 h 875"/>
                <a:gd name="T22" fmla="*/ 1 w 1248"/>
                <a:gd name="T23" fmla="*/ 1 h 875"/>
                <a:gd name="T24" fmla="*/ 1 w 1248"/>
                <a:gd name="T25" fmla="*/ 1 h 875"/>
                <a:gd name="T26" fmla="*/ 1 w 1248"/>
                <a:gd name="T27" fmla="*/ 1 h 875"/>
                <a:gd name="T28" fmla="*/ 1 w 1248"/>
                <a:gd name="T29" fmla="*/ 1 h 875"/>
                <a:gd name="T30" fmla="*/ 1 w 1248"/>
                <a:gd name="T31" fmla="*/ 1 h 875"/>
                <a:gd name="T32" fmla="*/ 1 w 1248"/>
                <a:gd name="T33" fmla="*/ 1 h 875"/>
                <a:gd name="T34" fmla="*/ 1 w 1248"/>
                <a:gd name="T35" fmla="*/ 1 h 875"/>
                <a:gd name="T36" fmla="*/ 1 w 1248"/>
                <a:gd name="T37" fmla="*/ 1 h 875"/>
                <a:gd name="T38" fmla="*/ 1 w 1248"/>
                <a:gd name="T39" fmla="*/ 1 h 875"/>
                <a:gd name="T40" fmla="*/ 1 w 1248"/>
                <a:gd name="T41" fmla="*/ 1 h 875"/>
                <a:gd name="T42" fmla="*/ 1 w 1248"/>
                <a:gd name="T43" fmla="*/ 1 h 875"/>
                <a:gd name="T44" fmla="*/ 1 w 1248"/>
                <a:gd name="T45" fmla="*/ 1 h 875"/>
                <a:gd name="T46" fmla="*/ 1 w 1248"/>
                <a:gd name="T47" fmla="*/ 1 h 875"/>
                <a:gd name="T48" fmla="*/ 1 w 1248"/>
                <a:gd name="T49" fmla="*/ 1 h 875"/>
                <a:gd name="T50" fmla="*/ 1 w 1248"/>
                <a:gd name="T51" fmla="*/ 1 h 875"/>
                <a:gd name="T52" fmla="*/ 1 w 1248"/>
                <a:gd name="T53" fmla="*/ 1 h 875"/>
                <a:gd name="T54" fmla="*/ 1 w 1248"/>
                <a:gd name="T55" fmla="*/ 1 h 875"/>
                <a:gd name="T56" fmla="*/ 1 w 1248"/>
                <a:gd name="T57" fmla="*/ 1 h 875"/>
                <a:gd name="T58" fmla="*/ 1 w 1248"/>
                <a:gd name="T59" fmla="*/ 1 h 875"/>
                <a:gd name="T60" fmla="*/ 1 w 1248"/>
                <a:gd name="T61" fmla="*/ 1 h 875"/>
                <a:gd name="T62" fmla="*/ 1 w 1248"/>
                <a:gd name="T63" fmla="*/ 1 h 875"/>
                <a:gd name="T64" fmla="*/ 1 w 1248"/>
                <a:gd name="T65" fmla="*/ 1 h 875"/>
                <a:gd name="T66" fmla="*/ 1 w 1248"/>
                <a:gd name="T67" fmla="*/ 1 h 875"/>
                <a:gd name="T68" fmla="*/ 1 w 1248"/>
                <a:gd name="T69" fmla="*/ 1 h 875"/>
                <a:gd name="T70" fmla="*/ 1 w 1248"/>
                <a:gd name="T71" fmla="*/ 1 h 875"/>
                <a:gd name="T72" fmla="*/ 1 w 1248"/>
                <a:gd name="T73" fmla="*/ 1 h 875"/>
                <a:gd name="T74" fmla="*/ 1 w 1248"/>
                <a:gd name="T75" fmla="*/ 1 h 875"/>
                <a:gd name="T76" fmla="*/ 1 w 1248"/>
                <a:gd name="T77" fmla="*/ 1 h 875"/>
                <a:gd name="T78" fmla="*/ 1 w 1248"/>
                <a:gd name="T79" fmla="*/ 1 h 875"/>
                <a:gd name="T80" fmla="*/ 1 w 1248"/>
                <a:gd name="T81" fmla="*/ 1 h 875"/>
                <a:gd name="T82" fmla="*/ 1 w 1248"/>
                <a:gd name="T83" fmla="*/ 1 h 875"/>
                <a:gd name="T84" fmla="*/ 1 w 1248"/>
                <a:gd name="T85" fmla="*/ 1 h 875"/>
                <a:gd name="T86" fmla="*/ 1 w 1248"/>
                <a:gd name="T87" fmla="*/ 1 h 875"/>
                <a:gd name="T88" fmla="*/ 1 w 1248"/>
                <a:gd name="T89" fmla="*/ 1 h 875"/>
                <a:gd name="T90" fmla="*/ 1 w 1248"/>
                <a:gd name="T91" fmla="*/ 1 h 875"/>
                <a:gd name="T92" fmla="*/ 1 w 1248"/>
                <a:gd name="T93" fmla="*/ 1 h 875"/>
                <a:gd name="T94" fmla="*/ 0 w 1248"/>
                <a:gd name="T95" fmla="*/ 1 h 875"/>
                <a:gd name="T96" fmla="*/ 0 w 1248"/>
                <a:gd name="T97" fmla="*/ 1 h 875"/>
                <a:gd name="T98" fmla="*/ 1 w 1248"/>
                <a:gd name="T99" fmla="*/ 1 h 875"/>
                <a:gd name="T100" fmla="*/ 1 w 1248"/>
                <a:gd name="T101" fmla="*/ 1 h 875"/>
                <a:gd name="T102" fmla="*/ 1 w 1248"/>
                <a:gd name="T103" fmla="*/ 1 h 875"/>
                <a:gd name="T104" fmla="*/ 1 w 1248"/>
                <a:gd name="T105" fmla="*/ 1 h 875"/>
                <a:gd name="T106" fmla="*/ 1 w 1248"/>
                <a:gd name="T107" fmla="*/ 1 h 875"/>
                <a:gd name="T108" fmla="*/ 1 w 1248"/>
                <a:gd name="T109" fmla="*/ 1 h 875"/>
                <a:gd name="T110" fmla="*/ 1 w 1248"/>
                <a:gd name="T111" fmla="*/ 1 h 875"/>
                <a:gd name="T112" fmla="*/ 1 w 1248"/>
                <a:gd name="T113" fmla="*/ 1 h 875"/>
                <a:gd name="T114" fmla="*/ 1 w 1248"/>
                <a:gd name="T115" fmla="*/ 1 h 875"/>
                <a:gd name="T116" fmla="*/ 1 w 1248"/>
                <a:gd name="T117" fmla="*/ 1 h 87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248"/>
                <a:gd name="T178" fmla="*/ 0 h 875"/>
                <a:gd name="T179" fmla="*/ 1248 w 1248"/>
                <a:gd name="T180" fmla="*/ 875 h 87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248" h="875">
                  <a:moveTo>
                    <a:pt x="382" y="591"/>
                  </a:moveTo>
                  <a:lnTo>
                    <a:pt x="363" y="591"/>
                  </a:lnTo>
                  <a:lnTo>
                    <a:pt x="363" y="608"/>
                  </a:lnTo>
                  <a:lnTo>
                    <a:pt x="382" y="608"/>
                  </a:lnTo>
                  <a:lnTo>
                    <a:pt x="382" y="625"/>
                  </a:lnTo>
                  <a:lnTo>
                    <a:pt x="403" y="662"/>
                  </a:lnTo>
                  <a:lnTo>
                    <a:pt x="403" y="679"/>
                  </a:lnTo>
                  <a:lnTo>
                    <a:pt x="403" y="698"/>
                  </a:lnTo>
                  <a:lnTo>
                    <a:pt x="422" y="716"/>
                  </a:lnTo>
                  <a:lnTo>
                    <a:pt x="422" y="735"/>
                  </a:lnTo>
                  <a:lnTo>
                    <a:pt x="422" y="750"/>
                  </a:lnTo>
                  <a:lnTo>
                    <a:pt x="441" y="767"/>
                  </a:lnTo>
                  <a:lnTo>
                    <a:pt x="441" y="787"/>
                  </a:lnTo>
                  <a:lnTo>
                    <a:pt x="463" y="804"/>
                  </a:lnTo>
                  <a:lnTo>
                    <a:pt x="463" y="821"/>
                  </a:lnTo>
                  <a:lnTo>
                    <a:pt x="482" y="840"/>
                  </a:lnTo>
                  <a:lnTo>
                    <a:pt x="503" y="875"/>
                  </a:lnTo>
                  <a:lnTo>
                    <a:pt x="522" y="875"/>
                  </a:lnTo>
                  <a:lnTo>
                    <a:pt x="543" y="858"/>
                  </a:lnTo>
                  <a:lnTo>
                    <a:pt x="562" y="858"/>
                  </a:lnTo>
                  <a:lnTo>
                    <a:pt x="562" y="840"/>
                  </a:lnTo>
                  <a:lnTo>
                    <a:pt x="562" y="821"/>
                  </a:lnTo>
                  <a:lnTo>
                    <a:pt x="582" y="821"/>
                  </a:lnTo>
                  <a:lnTo>
                    <a:pt x="603" y="821"/>
                  </a:lnTo>
                  <a:lnTo>
                    <a:pt x="603" y="804"/>
                  </a:lnTo>
                  <a:lnTo>
                    <a:pt x="603" y="787"/>
                  </a:lnTo>
                  <a:lnTo>
                    <a:pt x="603" y="750"/>
                  </a:lnTo>
                  <a:lnTo>
                    <a:pt x="603" y="735"/>
                  </a:lnTo>
                  <a:lnTo>
                    <a:pt x="603" y="716"/>
                  </a:lnTo>
                  <a:lnTo>
                    <a:pt x="603" y="698"/>
                  </a:lnTo>
                  <a:lnTo>
                    <a:pt x="622" y="679"/>
                  </a:lnTo>
                  <a:lnTo>
                    <a:pt x="643" y="679"/>
                  </a:lnTo>
                  <a:lnTo>
                    <a:pt x="662" y="662"/>
                  </a:lnTo>
                  <a:lnTo>
                    <a:pt x="685" y="645"/>
                  </a:lnTo>
                  <a:lnTo>
                    <a:pt x="704" y="625"/>
                  </a:lnTo>
                  <a:lnTo>
                    <a:pt x="726" y="608"/>
                  </a:lnTo>
                  <a:lnTo>
                    <a:pt x="745" y="591"/>
                  </a:lnTo>
                  <a:lnTo>
                    <a:pt x="785" y="572"/>
                  </a:lnTo>
                  <a:lnTo>
                    <a:pt x="804" y="554"/>
                  </a:lnTo>
                  <a:lnTo>
                    <a:pt x="804" y="535"/>
                  </a:lnTo>
                  <a:lnTo>
                    <a:pt x="825" y="518"/>
                  </a:lnTo>
                  <a:lnTo>
                    <a:pt x="845" y="501"/>
                  </a:lnTo>
                  <a:lnTo>
                    <a:pt x="866" y="518"/>
                  </a:lnTo>
                  <a:lnTo>
                    <a:pt x="904" y="518"/>
                  </a:lnTo>
                  <a:lnTo>
                    <a:pt x="925" y="501"/>
                  </a:lnTo>
                  <a:lnTo>
                    <a:pt x="925" y="481"/>
                  </a:lnTo>
                  <a:lnTo>
                    <a:pt x="944" y="481"/>
                  </a:lnTo>
                  <a:lnTo>
                    <a:pt x="965" y="481"/>
                  </a:lnTo>
                  <a:lnTo>
                    <a:pt x="965" y="501"/>
                  </a:lnTo>
                  <a:lnTo>
                    <a:pt x="965" y="518"/>
                  </a:lnTo>
                  <a:lnTo>
                    <a:pt x="985" y="535"/>
                  </a:lnTo>
                  <a:lnTo>
                    <a:pt x="985" y="554"/>
                  </a:lnTo>
                  <a:lnTo>
                    <a:pt x="1006" y="554"/>
                  </a:lnTo>
                  <a:lnTo>
                    <a:pt x="1006" y="572"/>
                  </a:lnTo>
                  <a:lnTo>
                    <a:pt x="1025" y="591"/>
                  </a:lnTo>
                  <a:lnTo>
                    <a:pt x="1025" y="608"/>
                  </a:lnTo>
                  <a:lnTo>
                    <a:pt x="1025" y="625"/>
                  </a:lnTo>
                  <a:lnTo>
                    <a:pt x="1044" y="625"/>
                  </a:lnTo>
                  <a:lnTo>
                    <a:pt x="1044" y="645"/>
                  </a:lnTo>
                  <a:lnTo>
                    <a:pt x="1044" y="662"/>
                  </a:lnTo>
                  <a:lnTo>
                    <a:pt x="1025" y="662"/>
                  </a:lnTo>
                  <a:lnTo>
                    <a:pt x="1044" y="679"/>
                  </a:lnTo>
                  <a:lnTo>
                    <a:pt x="1044" y="698"/>
                  </a:lnTo>
                  <a:lnTo>
                    <a:pt x="1065" y="679"/>
                  </a:lnTo>
                  <a:lnTo>
                    <a:pt x="1084" y="662"/>
                  </a:lnTo>
                  <a:lnTo>
                    <a:pt x="1106" y="645"/>
                  </a:lnTo>
                  <a:lnTo>
                    <a:pt x="1106" y="662"/>
                  </a:lnTo>
                  <a:lnTo>
                    <a:pt x="1125" y="662"/>
                  </a:lnTo>
                  <a:lnTo>
                    <a:pt x="1125" y="679"/>
                  </a:lnTo>
                  <a:lnTo>
                    <a:pt x="1125" y="698"/>
                  </a:lnTo>
                  <a:lnTo>
                    <a:pt x="1125" y="716"/>
                  </a:lnTo>
                  <a:lnTo>
                    <a:pt x="1146" y="735"/>
                  </a:lnTo>
                  <a:lnTo>
                    <a:pt x="1167" y="787"/>
                  </a:lnTo>
                  <a:lnTo>
                    <a:pt x="1167" y="804"/>
                  </a:lnTo>
                  <a:lnTo>
                    <a:pt x="1167" y="821"/>
                  </a:lnTo>
                  <a:lnTo>
                    <a:pt x="1188" y="821"/>
                  </a:lnTo>
                  <a:lnTo>
                    <a:pt x="1188" y="804"/>
                  </a:lnTo>
                  <a:lnTo>
                    <a:pt x="1188" y="787"/>
                  </a:lnTo>
                  <a:lnTo>
                    <a:pt x="1188" y="750"/>
                  </a:lnTo>
                  <a:lnTo>
                    <a:pt x="1188" y="716"/>
                  </a:lnTo>
                  <a:lnTo>
                    <a:pt x="1167" y="716"/>
                  </a:lnTo>
                  <a:lnTo>
                    <a:pt x="1146" y="716"/>
                  </a:lnTo>
                  <a:lnTo>
                    <a:pt x="1146" y="698"/>
                  </a:lnTo>
                  <a:lnTo>
                    <a:pt x="1167" y="698"/>
                  </a:lnTo>
                  <a:lnTo>
                    <a:pt x="1167" y="679"/>
                  </a:lnTo>
                  <a:lnTo>
                    <a:pt x="1167" y="662"/>
                  </a:lnTo>
                  <a:lnTo>
                    <a:pt x="1167" y="645"/>
                  </a:lnTo>
                  <a:lnTo>
                    <a:pt x="1146" y="625"/>
                  </a:lnTo>
                  <a:lnTo>
                    <a:pt x="1125" y="625"/>
                  </a:lnTo>
                  <a:lnTo>
                    <a:pt x="1125" y="608"/>
                  </a:lnTo>
                  <a:lnTo>
                    <a:pt x="1146" y="591"/>
                  </a:lnTo>
                  <a:lnTo>
                    <a:pt x="1146" y="572"/>
                  </a:lnTo>
                  <a:lnTo>
                    <a:pt x="1167" y="572"/>
                  </a:lnTo>
                  <a:lnTo>
                    <a:pt x="1167" y="554"/>
                  </a:lnTo>
                  <a:lnTo>
                    <a:pt x="1188" y="554"/>
                  </a:lnTo>
                  <a:lnTo>
                    <a:pt x="1207" y="554"/>
                  </a:lnTo>
                  <a:lnTo>
                    <a:pt x="1227" y="535"/>
                  </a:lnTo>
                  <a:lnTo>
                    <a:pt x="1248" y="501"/>
                  </a:lnTo>
                  <a:lnTo>
                    <a:pt x="1227" y="518"/>
                  </a:lnTo>
                  <a:lnTo>
                    <a:pt x="1207" y="501"/>
                  </a:lnTo>
                  <a:lnTo>
                    <a:pt x="1188" y="481"/>
                  </a:lnTo>
                  <a:lnTo>
                    <a:pt x="1188" y="464"/>
                  </a:lnTo>
                  <a:lnTo>
                    <a:pt x="1188" y="447"/>
                  </a:lnTo>
                  <a:lnTo>
                    <a:pt x="1167" y="428"/>
                  </a:lnTo>
                  <a:lnTo>
                    <a:pt x="1167" y="447"/>
                  </a:lnTo>
                  <a:lnTo>
                    <a:pt x="1146" y="447"/>
                  </a:lnTo>
                  <a:lnTo>
                    <a:pt x="1146" y="428"/>
                  </a:lnTo>
                  <a:lnTo>
                    <a:pt x="1146" y="410"/>
                  </a:lnTo>
                  <a:lnTo>
                    <a:pt x="1167" y="391"/>
                  </a:lnTo>
                  <a:lnTo>
                    <a:pt x="1167" y="376"/>
                  </a:lnTo>
                  <a:lnTo>
                    <a:pt x="1167" y="339"/>
                  </a:lnTo>
                  <a:lnTo>
                    <a:pt x="1167" y="322"/>
                  </a:lnTo>
                  <a:lnTo>
                    <a:pt x="1146" y="322"/>
                  </a:lnTo>
                  <a:lnTo>
                    <a:pt x="1106" y="305"/>
                  </a:lnTo>
                  <a:lnTo>
                    <a:pt x="1084" y="286"/>
                  </a:lnTo>
                  <a:lnTo>
                    <a:pt x="1065" y="286"/>
                  </a:lnTo>
                  <a:lnTo>
                    <a:pt x="1044" y="286"/>
                  </a:lnTo>
                  <a:lnTo>
                    <a:pt x="1025" y="305"/>
                  </a:lnTo>
                  <a:lnTo>
                    <a:pt x="1006" y="322"/>
                  </a:lnTo>
                  <a:lnTo>
                    <a:pt x="985" y="322"/>
                  </a:lnTo>
                  <a:lnTo>
                    <a:pt x="965" y="322"/>
                  </a:lnTo>
                  <a:lnTo>
                    <a:pt x="944" y="322"/>
                  </a:lnTo>
                  <a:lnTo>
                    <a:pt x="925" y="322"/>
                  </a:lnTo>
                  <a:lnTo>
                    <a:pt x="904" y="322"/>
                  </a:lnTo>
                  <a:lnTo>
                    <a:pt x="885" y="339"/>
                  </a:lnTo>
                  <a:lnTo>
                    <a:pt x="866" y="339"/>
                  </a:lnTo>
                  <a:lnTo>
                    <a:pt x="866" y="322"/>
                  </a:lnTo>
                  <a:lnTo>
                    <a:pt x="845" y="322"/>
                  </a:lnTo>
                  <a:lnTo>
                    <a:pt x="825" y="322"/>
                  </a:lnTo>
                  <a:lnTo>
                    <a:pt x="804" y="322"/>
                  </a:lnTo>
                  <a:lnTo>
                    <a:pt x="785" y="322"/>
                  </a:lnTo>
                  <a:lnTo>
                    <a:pt x="764" y="305"/>
                  </a:lnTo>
                  <a:lnTo>
                    <a:pt x="745" y="305"/>
                  </a:lnTo>
                  <a:lnTo>
                    <a:pt x="726" y="305"/>
                  </a:lnTo>
                  <a:lnTo>
                    <a:pt x="726" y="286"/>
                  </a:lnTo>
                  <a:lnTo>
                    <a:pt x="704" y="286"/>
                  </a:lnTo>
                  <a:lnTo>
                    <a:pt x="685" y="268"/>
                  </a:lnTo>
                  <a:lnTo>
                    <a:pt x="662" y="249"/>
                  </a:lnTo>
                  <a:lnTo>
                    <a:pt x="622" y="249"/>
                  </a:lnTo>
                  <a:lnTo>
                    <a:pt x="603" y="249"/>
                  </a:lnTo>
                  <a:lnTo>
                    <a:pt x="582" y="232"/>
                  </a:lnTo>
                  <a:lnTo>
                    <a:pt x="562" y="232"/>
                  </a:lnTo>
                  <a:lnTo>
                    <a:pt x="562" y="215"/>
                  </a:lnTo>
                  <a:lnTo>
                    <a:pt x="562" y="195"/>
                  </a:lnTo>
                  <a:lnTo>
                    <a:pt x="582" y="195"/>
                  </a:lnTo>
                  <a:lnTo>
                    <a:pt x="582" y="178"/>
                  </a:lnTo>
                  <a:lnTo>
                    <a:pt x="582" y="161"/>
                  </a:lnTo>
                  <a:lnTo>
                    <a:pt x="562" y="142"/>
                  </a:lnTo>
                  <a:lnTo>
                    <a:pt x="582" y="124"/>
                  </a:lnTo>
                  <a:lnTo>
                    <a:pt x="603" y="124"/>
                  </a:lnTo>
                  <a:lnTo>
                    <a:pt x="603" y="105"/>
                  </a:lnTo>
                  <a:lnTo>
                    <a:pt x="603" y="88"/>
                  </a:lnTo>
                  <a:lnTo>
                    <a:pt x="603" y="71"/>
                  </a:lnTo>
                  <a:lnTo>
                    <a:pt x="582" y="71"/>
                  </a:lnTo>
                  <a:lnTo>
                    <a:pt x="562" y="71"/>
                  </a:lnTo>
                  <a:lnTo>
                    <a:pt x="543" y="88"/>
                  </a:lnTo>
                  <a:lnTo>
                    <a:pt x="522" y="88"/>
                  </a:lnTo>
                  <a:lnTo>
                    <a:pt x="503" y="88"/>
                  </a:lnTo>
                  <a:lnTo>
                    <a:pt x="482" y="71"/>
                  </a:lnTo>
                  <a:lnTo>
                    <a:pt x="463" y="71"/>
                  </a:lnTo>
                  <a:lnTo>
                    <a:pt x="463" y="51"/>
                  </a:lnTo>
                  <a:lnTo>
                    <a:pt x="441" y="51"/>
                  </a:lnTo>
                  <a:lnTo>
                    <a:pt x="441" y="34"/>
                  </a:lnTo>
                  <a:lnTo>
                    <a:pt x="422" y="34"/>
                  </a:lnTo>
                  <a:lnTo>
                    <a:pt x="403" y="34"/>
                  </a:lnTo>
                  <a:lnTo>
                    <a:pt x="363" y="51"/>
                  </a:lnTo>
                  <a:lnTo>
                    <a:pt x="342" y="51"/>
                  </a:lnTo>
                  <a:lnTo>
                    <a:pt x="322" y="34"/>
                  </a:lnTo>
                  <a:lnTo>
                    <a:pt x="322" y="19"/>
                  </a:lnTo>
                  <a:lnTo>
                    <a:pt x="322" y="0"/>
                  </a:lnTo>
                  <a:lnTo>
                    <a:pt x="301" y="19"/>
                  </a:lnTo>
                  <a:lnTo>
                    <a:pt x="282" y="19"/>
                  </a:lnTo>
                  <a:lnTo>
                    <a:pt x="263" y="34"/>
                  </a:lnTo>
                  <a:lnTo>
                    <a:pt x="263" y="51"/>
                  </a:lnTo>
                  <a:lnTo>
                    <a:pt x="242" y="51"/>
                  </a:lnTo>
                  <a:lnTo>
                    <a:pt x="223" y="51"/>
                  </a:lnTo>
                  <a:lnTo>
                    <a:pt x="223" y="34"/>
                  </a:lnTo>
                  <a:lnTo>
                    <a:pt x="201" y="34"/>
                  </a:lnTo>
                  <a:lnTo>
                    <a:pt x="180" y="34"/>
                  </a:lnTo>
                  <a:lnTo>
                    <a:pt x="159" y="34"/>
                  </a:lnTo>
                  <a:lnTo>
                    <a:pt x="140" y="34"/>
                  </a:lnTo>
                  <a:lnTo>
                    <a:pt x="119" y="51"/>
                  </a:lnTo>
                  <a:lnTo>
                    <a:pt x="119" y="71"/>
                  </a:lnTo>
                  <a:lnTo>
                    <a:pt x="100" y="71"/>
                  </a:lnTo>
                  <a:lnTo>
                    <a:pt x="81" y="88"/>
                  </a:lnTo>
                  <a:lnTo>
                    <a:pt x="59" y="88"/>
                  </a:lnTo>
                  <a:lnTo>
                    <a:pt x="59" y="105"/>
                  </a:lnTo>
                  <a:lnTo>
                    <a:pt x="40" y="88"/>
                  </a:lnTo>
                  <a:lnTo>
                    <a:pt x="19" y="88"/>
                  </a:lnTo>
                  <a:lnTo>
                    <a:pt x="19" y="105"/>
                  </a:lnTo>
                  <a:lnTo>
                    <a:pt x="0" y="124"/>
                  </a:lnTo>
                  <a:lnTo>
                    <a:pt x="0" y="142"/>
                  </a:lnTo>
                  <a:lnTo>
                    <a:pt x="0" y="161"/>
                  </a:lnTo>
                  <a:lnTo>
                    <a:pt x="0" y="178"/>
                  </a:lnTo>
                  <a:lnTo>
                    <a:pt x="0" y="195"/>
                  </a:lnTo>
                  <a:lnTo>
                    <a:pt x="0" y="215"/>
                  </a:lnTo>
                  <a:lnTo>
                    <a:pt x="19" y="215"/>
                  </a:lnTo>
                  <a:lnTo>
                    <a:pt x="19" y="232"/>
                  </a:lnTo>
                  <a:lnTo>
                    <a:pt x="40" y="232"/>
                  </a:lnTo>
                  <a:lnTo>
                    <a:pt x="19" y="249"/>
                  </a:lnTo>
                  <a:lnTo>
                    <a:pt x="0" y="268"/>
                  </a:lnTo>
                  <a:lnTo>
                    <a:pt x="19" y="286"/>
                  </a:lnTo>
                  <a:lnTo>
                    <a:pt x="59" y="305"/>
                  </a:lnTo>
                  <a:lnTo>
                    <a:pt x="59" y="322"/>
                  </a:lnTo>
                  <a:lnTo>
                    <a:pt x="81" y="376"/>
                  </a:lnTo>
                  <a:lnTo>
                    <a:pt x="59" y="376"/>
                  </a:lnTo>
                  <a:lnTo>
                    <a:pt x="40" y="376"/>
                  </a:lnTo>
                  <a:lnTo>
                    <a:pt x="40" y="410"/>
                  </a:lnTo>
                  <a:lnTo>
                    <a:pt x="40" y="428"/>
                  </a:lnTo>
                  <a:lnTo>
                    <a:pt x="59" y="428"/>
                  </a:lnTo>
                  <a:lnTo>
                    <a:pt x="81" y="410"/>
                  </a:lnTo>
                  <a:lnTo>
                    <a:pt x="100" y="410"/>
                  </a:lnTo>
                  <a:lnTo>
                    <a:pt x="119" y="428"/>
                  </a:lnTo>
                  <a:lnTo>
                    <a:pt x="119" y="410"/>
                  </a:lnTo>
                  <a:lnTo>
                    <a:pt x="140" y="410"/>
                  </a:lnTo>
                  <a:lnTo>
                    <a:pt x="159" y="410"/>
                  </a:lnTo>
                  <a:lnTo>
                    <a:pt x="180" y="410"/>
                  </a:lnTo>
                  <a:lnTo>
                    <a:pt x="201" y="428"/>
                  </a:lnTo>
                  <a:lnTo>
                    <a:pt x="201" y="447"/>
                  </a:lnTo>
                  <a:lnTo>
                    <a:pt x="223" y="464"/>
                  </a:lnTo>
                  <a:lnTo>
                    <a:pt x="242" y="481"/>
                  </a:lnTo>
                  <a:lnTo>
                    <a:pt x="263" y="481"/>
                  </a:lnTo>
                  <a:lnTo>
                    <a:pt x="282" y="481"/>
                  </a:lnTo>
                  <a:lnTo>
                    <a:pt x="282" y="501"/>
                  </a:lnTo>
                  <a:lnTo>
                    <a:pt x="263" y="501"/>
                  </a:lnTo>
                  <a:lnTo>
                    <a:pt x="263" y="518"/>
                  </a:lnTo>
                  <a:lnTo>
                    <a:pt x="282" y="554"/>
                  </a:lnTo>
                  <a:lnTo>
                    <a:pt x="322" y="554"/>
                  </a:lnTo>
                  <a:lnTo>
                    <a:pt x="322" y="535"/>
                  </a:lnTo>
                  <a:lnTo>
                    <a:pt x="342" y="518"/>
                  </a:lnTo>
                  <a:lnTo>
                    <a:pt x="363" y="501"/>
                  </a:lnTo>
                  <a:lnTo>
                    <a:pt x="363" y="518"/>
                  </a:lnTo>
                  <a:lnTo>
                    <a:pt x="363" y="535"/>
                  </a:lnTo>
                  <a:lnTo>
                    <a:pt x="363" y="554"/>
                  </a:lnTo>
                  <a:lnTo>
                    <a:pt x="382" y="554"/>
                  </a:lnTo>
                  <a:lnTo>
                    <a:pt x="363" y="572"/>
                  </a:lnTo>
                  <a:lnTo>
                    <a:pt x="363" y="591"/>
                  </a:lnTo>
                  <a:lnTo>
                    <a:pt x="382" y="591"/>
                  </a:lnTo>
                  <a:close/>
                </a:path>
              </a:pathLst>
            </a:custGeom>
            <a:solidFill>
              <a:srgbClr val="C0C0C0"/>
            </a:solidFill>
            <a:ln w="9525">
              <a:solidFill>
                <a:srgbClr val="C0C0C0"/>
              </a:solidFill>
              <a:round/>
              <a:headEnd/>
              <a:tailEnd/>
            </a:ln>
          </p:spPr>
          <p:txBody>
            <a:bodyPr/>
            <a:lstStyle/>
            <a:p>
              <a:endParaRPr lang="en-US"/>
            </a:p>
          </p:txBody>
        </p:sp>
        <p:sp>
          <p:nvSpPr>
            <p:cNvPr id="9412" name="Freeform 103"/>
            <p:cNvSpPr>
              <a:spLocks/>
            </p:cNvSpPr>
            <p:nvPr/>
          </p:nvSpPr>
          <p:spPr bwMode="auto">
            <a:xfrm>
              <a:off x="4425" y="2404"/>
              <a:ext cx="192" cy="305"/>
            </a:xfrm>
            <a:custGeom>
              <a:avLst/>
              <a:gdLst>
                <a:gd name="T0" fmla="*/ 1 w 384"/>
                <a:gd name="T1" fmla="*/ 1 h 610"/>
                <a:gd name="T2" fmla="*/ 1 w 384"/>
                <a:gd name="T3" fmla="*/ 1 h 610"/>
                <a:gd name="T4" fmla="*/ 1 w 384"/>
                <a:gd name="T5" fmla="*/ 1 h 610"/>
                <a:gd name="T6" fmla="*/ 1 w 384"/>
                <a:gd name="T7" fmla="*/ 1 h 610"/>
                <a:gd name="T8" fmla="*/ 1 w 384"/>
                <a:gd name="T9" fmla="*/ 1 h 610"/>
                <a:gd name="T10" fmla="*/ 1 w 384"/>
                <a:gd name="T11" fmla="*/ 1 h 610"/>
                <a:gd name="T12" fmla="*/ 1 w 384"/>
                <a:gd name="T13" fmla="*/ 1 h 610"/>
                <a:gd name="T14" fmla="*/ 0 w 384"/>
                <a:gd name="T15" fmla="*/ 1 h 610"/>
                <a:gd name="T16" fmla="*/ 1 w 384"/>
                <a:gd name="T17" fmla="*/ 1 h 610"/>
                <a:gd name="T18" fmla="*/ 1 w 384"/>
                <a:gd name="T19" fmla="*/ 1 h 610"/>
                <a:gd name="T20" fmla="*/ 1 w 384"/>
                <a:gd name="T21" fmla="*/ 1 h 610"/>
                <a:gd name="T22" fmla="*/ 1 w 384"/>
                <a:gd name="T23" fmla="*/ 1 h 610"/>
                <a:gd name="T24" fmla="*/ 1 w 384"/>
                <a:gd name="T25" fmla="*/ 1 h 610"/>
                <a:gd name="T26" fmla="*/ 1 w 384"/>
                <a:gd name="T27" fmla="*/ 1 h 610"/>
                <a:gd name="T28" fmla="*/ 1 w 384"/>
                <a:gd name="T29" fmla="*/ 1 h 610"/>
                <a:gd name="T30" fmla="*/ 1 w 384"/>
                <a:gd name="T31" fmla="*/ 1 h 610"/>
                <a:gd name="T32" fmla="*/ 1 w 384"/>
                <a:gd name="T33" fmla="*/ 0 h 610"/>
                <a:gd name="T34" fmla="*/ 1 w 384"/>
                <a:gd name="T35" fmla="*/ 1 h 610"/>
                <a:gd name="T36" fmla="*/ 1 w 384"/>
                <a:gd name="T37" fmla="*/ 1 h 610"/>
                <a:gd name="T38" fmla="*/ 1 w 384"/>
                <a:gd name="T39" fmla="*/ 1 h 610"/>
                <a:gd name="T40" fmla="*/ 1 w 384"/>
                <a:gd name="T41" fmla="*/ 1 h 610"/>
                <a:gd name="T42" fmla="*/ 1 w 384"/>
                <a:gd name="T43" fmla="*/ 1 h 610"/>
                <a:gd name="T44" fmla="*/ 1 w 384"/>
                <a:gd name="T45" fmla="*/ 1 h 610"/>
                <a:gd name="T46" fmla="*/ 1 w 384"/>
                <a:gd name="T47" fmla="*/ 1 h 610"/>
                <a:gd name="T48" fmla="*/ 1 w 384"/>
                <a:gd name="T49" fmla="*/ 1 h 610"/>
                <a:gd name="T50" fmla="*/ 1 w 384"/>
                <a:gd name="T51" fmla="*/ 1 h 610"/>
                <a:gd name="T52" fmla="*/ 1 w 384"/>
                <a:gd name="T53" fmla="*/ 1 h 610"/>
                <a:gd name="T54" fmla="*/ 1 w 384"/>
                <a:gd name="T55" fmla="*/ 1 h 610"/>
                <a:gd name="T56" fmla="*/ 1 w 384"/>
                <a:gd name="T57" fmla="*/ 1 h 610"/>
                <a:gd name="T58" fmla="*/ 1 w 384"/>
                <a:gd name="T59" fmla="*/ 1 h 610"/>
                <a:gd name="T60" fmla="*/ 1 w 384"/>
                <a:gd name="T61" fmla="*/ 1 h 610"/>
                <a:gd name="T62" fmla="*/ 1 w 384"/>
                <a:gd name="T63" fmla="*/ 1 h 610"/>
                <a:gd name="T64" fmla="*/ 1 w 384"/>
                <a:gd name="T65" fmla="*/ 1 h 610"/>
                <a:gd name="T66" fmla="*/ 1 w 384"/>
                <a:gd name="T67" fmla="*/ 1 h 610"/>
                <a:gd name="T68" fmla="*/ 1 w 384"/>
                <a:gd name="T69" fmla="*/ 1 h 610"/>
                <a:gd name="T70" fmla="*/ 1 w 384"/>
                <a:gd name="T71" fmla="*/ 1 h 610"/>
                <a:gd name="T72" fmla="*/ 1 w 384"/>
                <a:gd name="T73" fmla="*/ 1 h 610"/>
                <a:gd name="T74" fmla="*/ 1 w 384"/>
                <a:gd name="T75" fmla="*/ 1 h 610"/>
                <a:gd name="T76" fmla="*/ 1 w 384"/>
                <a:gd name="T77" fmla="*/ 1 h 610"/>
                <a:gd name="T78" fmla="*/ 1 w 384"/>
                <a:gd name="T79" fmla="*/ 1 h 610"/>
                <a:gd name="T80" fmla="*/ 1 w 384"/>
                <a:gd name="T81" fmla="*/ 1 h 610"/>
                <a:gd name="T82" fmla="*/ 1 w 384"/>
                <a:gd name="T83" fmla="*/ 1 h 610"/>
                <a:gd name="T84" fmla="*/ 1 w 384"/>
                <a:gd name="T85" fmla="*/ 1 h 610"/>
                <a:gd name="T86" fmla="*/ 1 w 384"/>
                <a:gd name="T87" fmla="*/ 1 h 610"/>
                <a:gd name="T88" fmla="*/ 1 w 384"/>
                <a:gd name="T89" fmla="*/ 1 h 610"/>
                <a:gd name="T90" fmla="*/ 1 w 384"/>
                <a:gd name="T91" fmla="*/ 1 h 610"/>
                <a:gd name="T92" fmla="*/ 1 w 384"/>
                <a:gd name="T93" fmla="*/ 1 h 610"/>
                <a:gd name="T94" fmla="*/ 1 w 384"/>
                <a:gd name="T95" fmla="*/ 1 h 610"/>
                <a:gd name="T96" fmla="*/ 1 w 384"/>
                <a:gd name="T97" fmla="*/ 1 h 610"/>
                <a:gd name="T98" fmla="*/ 1 w 384"/>
                <a:gd name="T99" fmla="*/ 1 h 610"/>
                <a:gd name="T100" fmla="*/ 1 w 384"/>
                <a:gd name="T101" fmla="*/ 1 h 610"/>
                <a:gd name="T102" fmla="*/ 1 w 384"/>
                <a:gd name="T103" fmla="*/ 1 h 610"/>
                <a:gd name="T104" fmla="*/ 1 w 384"/>
                <a:gd name="T105" fmla="*/ 1 h 610"/>
                <a:gd name="T106" fmla="*/ 1 w 384"/>
                <a:gd name="T107" fmla="*/ 1 h 610"/>
                <a:gd name="T108" fmla="*/ 1 w 384"/>
                <a:gd name="T109" fmla="*/ 1 h 6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84"/>
                <a:gd name="T166" fmla="*/ 0 h 610"/>
                <a:gd name="T167" fmla="*/ 384 w 384"/>
                <a:gd name="T168" fmla="*/ 610 h 61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84" h="610">
                  <a:moveTo>
                    <a:pt x="42" y="357"/>
                  </a:moveTo>
                  <a:lnTo>
                    <a:pt x="63" y="357"/>
                  </a:lnTo>
                  <a:lnTo>
                    <a:pt x="63" y="340"/>
                  </a:lnTo>
                  <a:lnTo>
                    <a:pt x="63" y="323"/>
                  </a:lnTo>
                  <a:lnTo>
                    <a:pt x="63" y="286"/>
                  </a:lnTo>
                  <a:lnTo>
                    <a:pt x="63" y="252"/>
                  </a:lnTo>
                  <a:lnTo>
                    <a:pt x="42" y="252"/>
                  </a:lnTo>
                  <a:lnTo>
                    <a:pt x="21" y="252"/>
                  </a:lnTo>
                  <a:lnTo>
                    <a:pt x="21" y="234"/>
                  </a:lnTo>
                  <a:lnTo>
                    <a:pt x="42" y="234"/>
                  </a:lnTo>
                  <a:lnTo>
                    <a:pt x="42" y="215"/>
                  </a:lnTo>
                  <a:lnTo>
                    <a:pt x="42" y="198"/>
                  </a:lnTo>
                  <a:lnTo>
                    <a:pt x="42" y="181"/>
                  </a:lnTo>
                  <a:lnTo>
                    <a:pt x="21" y="161"/>
                  </a:lnTo>
                  <a:lnTo>
                    <a:pt x="0" y="161"/>
                  </a:lnTo>
                  <a:lnTo>
                    <a:pt x="0" y="144"/>
                  </a:lnTo>
                  <a:lnTo>
                    <a:pt x="21" y="127"/>
                  </a:lnTo>
                  <a:lnTo>
                    <a:pt x="21" y="108"/>
                  </a:lnTo>
                  <a:lnTo>
                    <a:pt x="42" y="108"/>
                  </a:lnTo>
                  <a:lnTo>
                    <a:pt x="42" y="90"/>
                  </a:lnTo>
                  <a:lnTo>
                    <a:pt x="63" y="90"/>
                  </a:lnTo>
                  <a:lnTo>
                    <a:pt x="82" y="90"/>
                  </a:lnTo>
                  <a:lnTo>
                    <a:pt x="104" y="71"/>
                  </a:lnTo>
                  <a:lnTo>
                    <a:pt x="123" y="37"/>
                  </a:lnTo>
                  <a:lnTo>
                    <a:pt x="123" y="54"/>
                  </a:lnTo>
                  <a:lnTo>
                    <a:pt x="123" y="37"/>
                  </a:lnTo>
                  <a:lnTo>
                    <a:pt x="123" y="17"/>
                  </a:lnTo>
                  <a:lnTo>
                    <a:pt x="144" y="17"/>
                  </a:lnTo>
                  <a:lnTo>
                    <a:pt x="163" y="17"/>
                  </a:lnTo>
                  <a:lnTo>
                    <a:pt x="184" y="17"/>
                  </a:lnTo>
                  <a:lnTo>
                    <a:pt x="203" y="17"/>
                  </a:lnTo>
                  <a:lnTo>
                    <a:pt x="223" y="17"/>
                  </a:lnTo>
                  <a:lnTo>
                    <a:pt x="244" y="0"/>
                  </a:lnTo>
                  <a:lnTo>
                    <a:pt x="263" y="0"/>
                  </a:lnTo>
                  <a:lnTo>
                    <a:pt x="263" y="17"/>
                  </a:lnTo>
                  <a:lnTo>
                    <a:pt x="303" y="17"/>
                  </a:lnTo>
                  <a:lnTo>
                    <a:pt x="303" y="37"/>
                  </a:lnTo>
                  <a:lnTo>
                    <a:pt x="324" y="37"/>
                  </a:lnTo>
                  <a:lnTo>
                    <a:pt x="324" y="54"/>
                  </a:lnTo>
                  <a:lnTo>
                    <a:pt x="303" y="90"/>
                  </a:lnTo>
                  <a:lnTo>
                    <a:pt x="263" y="90"/>
                  </a:lnTo>
                  <a:lnTo>
                    <a:pt x="263" y="144"/>
                  </a:lnTo>
                  <a:lnTo>
                    <a:pt x="284" y="161"/>
                  </a:lnTo>
                  <a:lnTo>
                    <a:pt x="303" y="198"/>
                  </a:lnTo>
                  <a:lnTo>
                    <a:pt x="324" y="198"/>
                  </a:lnTo>
                  <a:lnTo>
                    <a:pt x="344" y="234"/>
                  </a:lnTo>
                  <a:lnTo>
                    <a:pt x="365" y="252"/>
                  </a:lnTo>
                  <a:lnTo>
                    <a:pt x="384" y="303"/>
                  </a:lnTo>
                  <a:lnTo>
                    <a:pt x="365" y="323"/>
                  </a:lnTo>
                  <a:lnTo>
                    <a:pt x="365" y="340"/>
                  </a:lnTo>
                  <a:lnTo>
                    <a:pt x="324" y="340"/>
                  </a:lnTo>
                  <a:lnTo>
                    <a:pt x="324" y="357"/>
                  </a:lnTo>
                  <a:lnTo>
                    <a:pt x="303" y="357"/>
                  </a:lnTo>
                  <a:lnTo>
                    <a:pt x="284" y="357"/>
                  </a:lnTo>
                  <a:lnTo>
                    <a:pt x="284" y="376"/>
                  </a:lnTo>
                  <a:lnTo>
                    <a:pt x="263" y="376"/>
                  </a:lnTo>
                  <a:lnTo>
                    <a:pt x="263" y="394"/>
                  </a:lnTo>
                  <a:lnTo>
                    <a:pt x="263" y="411"/>
                  </a:lnTo>
                  <a:lnTo>
                    <a:pt x="244" y="411"/>
                  </a:lnTo>
                  <a:lnTo>
                    <a:pt x="244" y="394"/>
                  </a:lnTo>
                  <a:lnTo>
                    <a:pt x="223" y="394"/>
                  </a:lnTo>
                  <a:lnTo>
                    <a:pt x="223" y="376"/>
                  </a:lnTo>
                  <a:lnTo>
                    <a:pt x="244" y="376"/>
                  </a:lnTo>
                  <a:lnTo>
                    <a:pt x="244" y="357"/>
                  </a:lnTo>
                  <a:lnTo>
                    <a:pt x="223" y="357"/>
                  </a:lnTo>
                  <a:lnTo>
                    <a:pt x="203" y="357"/>
                  </a:lnTo>
                  <a:lnTo>
                    <a:pt x="184" y="357"/>
                  </a:lnTo>
                  <a:lnTo>
                    <a:pt x="184" y="340"/>
                  </a:lnTo>
                  <a:lnTo>
                    <a:pt x="163" y="323"/>
                  </a:lnTo>
                  <a:lnTo>
                    <a:pt x="144" y="323"/>
                  </a:lnTo>
                  <a:lnTo>
                    <a:pt x="123" y="323"/>
                  </a:lnTo>
                  <a:lnTo>
                    <a:pt x="123" y="303"/>
                  </a:lnTo>
                  <a:lnTo>
                    <a:pt x="104" y="286"/>
                  </a:lnTo>
                  <a:lnTo>
                    <a:pt x="82" y="286"/>
                  </a:lnTo>
                  <a:lnTo>
                    <a:pt x="63" y="286"/>
                  </a:lnTo>
                  <a:lnTo>
                    <a:pt x="63" y="303"/>
                  </a:lnTo>
                  <a:lnTo>
                    <a:pt x="82" y="303"/>
                  </a:lnTo>
                  <a:lnTo>
                    <a:pt x="82" y="323"/>
                  </a:lnTo>
                  <a:lnTo>
                    <a:pt x="63" y="340"/>
                  </a:lnTo>
                  <a:lnTo>
                    <a:pt x="63" y="357"/>
                  </a:lnTo>
                  <a:lnTo>
                    <a:pt x="63" y="376"/>
                  </a:lnTo>
                  <a:lnTo>
                    <a:pt x="63" y="394"/>
                  </a:lnTo>
                  <a:lnTo>
                    <a:pt x="82" y="411"/>
                  </a:lnTo>
                  <a:lnTo>
                    <a:pt x="82" y="430"/>
                  </a:lnTo>
                  <a:lnTo>
                    <a:pt x="104" y="430"/>
                  </a:lnTo>
                  <a:lnTo>
                    <a:pt x="123" y="467"/>
                  </a:lnTo>
                  <a:lnTo>
                    <a:pt x="184" y="484"/>
                  </a:lnTo>
                  <a:lnTo>
                    <a:pt x="184" y="520"/>
                  </a:lnTo>
                  <a:lnTo>
                    <a:pt x="184" y="538"/>
                  </a:lnTo>
                  <a:lnTo>
                    <a:pt x="184" y="555"/>
                  </a:lnTo>
                  <a:lnTo>
                    <a:pt x="203" y="574"/>
                  </a:lnTo>
                  <a:lnTo>
                    <a:pt x="203" y="591"/>
                  </a:lnTo>
                  <a:lnTo>
                    <a:pt x="223" y="591"/>
                  </a:lnTo>
                  <a:lnTo>
                    <a:pt x="203" y="591"/>
                  </a:lnTo>
                  <a:lnTo>
                    <a:pt x="184" y="591"/>
                  </a:lnTo>
                  <a:lnTo>
                    <a:pt x="184" y="610"/>
                  </a:lnTo>
                  <a:lnTo>
                    <a:pt x="184" y="591"/>
                  </a:lnTo>
                  <a:lnTo>
                    <a:pt x="144" y="591"/>
                  </a:lnTo>
                  <a:lnTo>
                    <a:pt x="123" y="555"/>
                  </a:lnTo>
                  <a:lnTo>
                    <a:pt x="104" y="538"/>
                  </a:lnTo>
                  <a:lnTo>
                    <a:pt x="82" y="501"/>
                  </a:lnTo>
                  <a:lnTo>
                    <a:pt x="82" y="484"/>
                  </a:lnTo>
                  <a:lnTo>
                    <a:pt x="63" y="467"/>
                  </a:lnTo>
                  <a:lnTo>
                    <a:pt x="63" y="430"/>
                  </a:lnTo>
                  <a:lnTo>
                    <a:pt x="63" y="411"/>
                  </a:lnTo>
                  <a:lnTo>
                    <a:pt x="42" y="411"/>
                  </a:lnTo>
                  <a:lnTo>
                    <a:pt x="21" y="411"/>
                  </a:lnTo>
                  <a:lnTo>
                    <a:pt x="21" y="394"/>
                  </a:lnTo>
                  <a:lnTo>
                    <a:pt x="42" y="376"/>
                  </a:lnTo>
                  <a:lnTo>
                    <a:pt x="42" y="357"/>
                  </a:lnTo>
                  <a:close/>
                </a:path>
              </a:pathLst>
            </a:custGeom>
            <a:solidFill>
              <a:srgbClr val="C0C0C0"/>
            </a:solidFill>
            <a:ln w="9525">
              <a:solidFill>
                <a:srgbClr val="C0C0C0"/>
              </a:solidFill>
              <a:round/>
              <a:headEnd/>
              <a:tailEnd/>
            </a:ln>
          </p:spPr>
          <p:txBody>
            <a:bodyPr/>
            <a:lstStyle/>
            <a:p>
              <a:endParaRPr lang="en-US"/>
            </a:p>
          </p:txBody>
        </p:sp>
        <p:sp>
          <p:nvSpPr>
            <p:cNvPr id="9413" name="Freeform 104"/>
            <p:cNvSpPr>
              <a:spLocks/>
            </p:cNvSpPr>
            <p:nvPr/>
          </p:nvSpPr>
          <p:spPr bwMode="auto">
            <a:xfrm>
              <a:off x="2789" y="1832"/>
              <a:ext cx="593" cy="383"/>
            </a:xfrm>
            <a:custGeom>
              <a:avLst/>
              <a:gdLst>
                <a:gd name="T0" fmla="*/ 1 w 1184"/>
                <a:gd name="T1" fmla="*/ 0 h 768"/>
                <a:gd name="T2" fmla="*/ 1 w 1184"/>
                <a:gd name="T3" fmla="*/ 0 h 768"/>
                <a:gd name="T4" fmla="*/ 1 w 1184"/>
                <a:gd name="T5" fmla="*/ 0 h 768"/>
                <a:gd name="T6" fmla="*/ 1 w 1184"/>
                <a:gd name="T7" fmla="*/ 0 h 768"/>
                <a:gd name="T8" fmla="*/ 1 w 1184"/>
                <a:gd name="T9" fmla="*/ 0 h 768"/>
                <a:gd name="T10" fmla="*/ 1 w 1184"/>
                <a:gd name="T11" fmla="*/ 0 h 768"/>
                <a:gd name="T12" fmla="*/ 1 w 1184"/>
                <a:gd name="T13" fmla="*/ 0 h 768"/>
                <a:gd name="T14" fmla="*/ 1 w 1184"/>
                <a:gd name="T15" fmla="*/ 0 h 768"/>
                <a:gd name="T16" fmla="*/ 1 w 1184"/>
                <a:gd name="T17" fmla="*/ 0 h 768"/>
                <a:gd name="T18" fmla="*/ 1 w 1184"/>
                <a:gd name="T19" fmla="*/ 0 h 768"/>
                <a:gd name="T20" fmla="*/ 1 w 1184"/>
                <a:gd name="T21" fmla="*/ 0 h 768"/>
                <a:gd name="T22" fmla="*/ 1 w 1184"/>
                <a:gd name="T23" fmla="*/ 0 h 768"/>
                <a:gd name="T24" fmla="*/ 1 w 1184"/>
                <a:gd name="T25" fmla="*/ 0 h 768"/>
                <a:gd name="T26" fmla="*/ 1 w 1184"/>
                <a:gd name="T27" fmla="*/ 0 h 768"/>
                <a:gd name="T28" fmla="*/ 1 w 1184"/>
                <a:gd name="T29" fmla="*/ 0 h 768"/>
                <a:gd name="T30" fmla="*/ 1 w 1184"/>
                <a:gd name="T31" fmla="*/ 0 h 768"/>
                <a:gd name="T32" fmla="*/ 1 w 1184"/>
                <a:gd name="T33" fmla="*/ 0 h 768"/>
                <a:gd name="T34" fmla="*/ 1 w 1184"/>
                <a:gd name="T35" fmla="*/ 0 h 768"/>
                <a:gd name="T36" fmla="*/ 1 w 1184"/>
                <a:gd name="T37" fmla="*/ 0 h 768"/>
                <a:gd name="T38" fmla="*/ 1 w 1184"/>
                <a:gd name="T39" fmla="*/ 0 h 768"/>
                <a:gd name="T40" fmla="*/ 1 w 1184"/>
                <a:gd name="T41" fmla="*/ 0 h 768"/>
                <a:gd name="T42" fmla="*/ 1 w 1184"/>
                <a:gd name="T43" fmla="*/ 0 h 768"/>
                <a:gd name="T44" fmla="*/ 1 w 1184"/>
                <a:gd name="T45" fmla="*/ 0 h 768"/>
                <a:gd name="T46" fmla="*/ 1 w 1184"/>
                <a:gd name="T47" fmla="*/ 0 h 768"/>
                <a:gd name="T48" fmla="*/ 1 w 1184"/>
                <a:gd name="T49" fmla="*/ 0 h 768"/>
                <a:gd name="T50" fmla="*/ 1 w 1184"/>
                <a:gd name="T51" fmla="*/ 0 h 768"/>
                <a:gd name="T52" fmla="*/ 0 w 1184"/>
                <a:gd name="T53" fmla="*/ 0 h 768"/>
                <a:gd name="T54" fmla="*/ 1 w 1184"/>
                <a:gd name="T55" fmla="*/ 0 h 768"/>
                <a:gd name="T56" fmla="*/ 1 w 1184"/>
                <a:gd name="T57" fmla="*/ 0 h 768"/>
                <a:gd name="T58" fmla="*/ 1 w 1184"/>
                <a:gd name="T59" fmla="*/ 0 h 768"/>
                <a:gd name="T60" fmla="*/ 1 w 1184"/>
                <a:gd name="T61" fmla="*/ 0 h 768"/>
                <a:gd name="T62" fmla="*/ 1 w 1184"/>
                <a:gd name="T63" fmla="*/ 0 h 768"/>
                <a:gd name="T64" fmla="*/ 1 w 1184"/>
                <a:gd name="T65" fmla="*/ 0 h 768"/>
                <a:gd name="T66" fmla="*/ 1 w 1184"/>
                <a:gd name="T67" fmla="*/ 0 h 768"/>
                <a:gd name="T68" fmla="*/ 1 w 1184"/>
                <a:gd name="T69" fmla="*/ 0 h 768"/>
                <a:gd name="T70" fmla="*/ 1 w 1184"/>
                <a:gd name="T71" fmla="*/ 0 h 768"/>
                <a:gd name="T72" fmla="*/ 1 w 1184"/>
                <a:gd name="T73" fmla="*/ 0 h 768"/>
                <a:gd name="T74" fmla="*/ 1 w 1184"/>
                <a:gd name="T75" fmla="*/ 0 h 768"/>
                <a:gd name="T76" fmla="*/ 1 w 1184"/>
                <a:gd name="T77" fmla="*/ 0 h 768"/>
                <a:gd name="T78" fmla="*/ 1 w 1184"/>
                <a:gd name="T79" fmla="*/ 0 h 768"/>
                <a:gd name="T80" fmla="*/ 1 w 1184"/>
                <a:gd name="T81" fmla="*/ 0 h 768"/>
                <a:gd name="T82" fmla="*/ 1 w 1184"/>
                <a:gd name="T83" fmla="*/ 0 h 768"/>
                <a:gd name="T84" fmla="*/ 1 w 1184"/>
                <a:gd name="T85" fmla="*/ 0 h 768"/>
                <a:gd name="T86" fmla="*/ 1 w 1184"/>
                <a:gd name="T87" fmla="*/ 0 h 768"/>
                <a:gd name="T88" fmla="*/ 1 w 1184"/>
                <a:gd name="T89" fmla="*/ 0 h 768"/>
                <a:gd name="T90" fmla="*/ 1 w 1184"/>
                <a:gd name="T91" fmla="*/ 0 h 768"/>
                <a:gd name="T92" fmla="*/ 1 w 1184"/>
                <a:gd name="T93" fmla="*/ 0 h 768"/>
                <a:gd name="T94" fmla="*/ 1 w 1184"/>
                <a:gd name="T95" fmla="*/ 0 h 768"/>
                <a:gd name="T96" fmla="*/ 1 w 1184"/>
                <a:gd name="T97" fmla="*/ 0 h 768"/>
                <a:gd name="T98" fmla="*/ 1 w 1184"/>
                <a:gd name="T99" fmla="*/ 0 h 768"/>
                <a:gd name="T100" fmla="*/ 1 w 1184"/>
                <a:gd name="T101" fmla="*/ 0 h 768"/>
                <a:gd name="T102" fmla="*/ 1 w 1184"/>
                <a:gd name="T103" fmla="*/ 0 h 768"/>
                <a:gd name="T104" fmla="*/ 1 w 1184"/>
                <a:gd name="T105" fmla="*/ 0 h 76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84"/>
                <a:gd name="T160" fmla="*/ 0 h 768"/>
                <a:gd name="T161" fmla="*/ 1184 w 1184"/>
                <a:gd name="T162" fmla="*/ 768 h 76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84" h="768">
                  <a:moveTo>
                    <a:pt x="1144" y="465"/>
                  </a:moveTo>
                  <a:lnTo>
                    <a:pt x="1144" y="482"/>
                  </a:lnTo>
                  <a:lnTo>
                    <a:pt x="1144" y="499"/>
                  </a:lnTo>
                  <a:lnTo>
                    <a:pt x="1144" y="518"/>
                  </a:lnTo>
                  <a:lnTo>
                    <a:pt x="1123" y="536"/>
                  </a:lnTo>
                  <a:lnTo>
                    <a:pt x="1123" y="553"/>
                  </a:lnTo>
                  <a:lnTo>
                    <a:pt x="1123" y="572"/>
                  </a:lnTo>
                  <a:lnTo>
                    <a:pt x="1144" y="589"/>
                  </a:lnTo>
                  <a:lnTo>
                    <a:pt x="1144" y="609"/>
                  </a:lnTo>
                  <a:lnTo>
                    <a:pt x="1123" y="609"/>
                  </a:lnTo>
                  <a:lnTo>
                    <a:pt x="1104" y="609"/>
                  </a:lnTo>
                  <a:lnTo>
                    <a:pt x="1084" y="626"/>
                  </a:lnTo>
                  <a:lnTo>
                    <a:pt x="1063" y="626"/>
                  </a:lnTo>
                  <a:lnTo>
                    <a:pt x="1063" y="609"/>
                  </a:lnTo>
                  <a:lnTo>
                    <a:pt x="1044" y="609"/>
                  </a:lnTo>
                  <a:lnTo>
                    <a:pt x="1023" y="609"/>
                  </a:lnTo>
                  <a:lnTo>
                    <a:pt x="1004" y="609"/>
                  </a:lnTo>
                  <a:lnTo>
                    <a:pt x="1004" y="626"/>
                  </a:lnTo>
                  <a:lnTo>
                    <a:pt x="983" y="626"/>
                  </a:lnTo>
                  <a:lnTo>
                    <a:pt x="963" y="626"/>
                  </a:lnTo>
                  <a:lnTo>
                    <a:pt x="983" y="643"/>
                  </a:lnTo>
                  <a:lnTo>
                    <a:pt x="983" y="662"/>
                  </a:lnTo>
                  <a:lnTo>
                    <a:pt x="983" y="680"/>
                  </a:lnTo>
                  <a:lnTo>
                    <a:pt x="1004" y="697"/>
                  </a:lnTo>
                  <a:lnTo>
                    <a:pt x="1004" y="714"/>
                  </a:lnTo>
                  <a:lnTo>
                    <a:pt x="983" y="697"/>
                  </a:lnTo>
                  <a:lnTo>
                    <a:pt x="963" y="697"/>
                  </a:lnTo>
                  <a:lnTo>
                    <a:pt x="983" y="714"/>
                  </a:lnTo>
                  <a:lnTo>
                    <a:pt x="963" y="731"/>
                  </a:lnTo>
                  <a:lnTo>
                    <a:pt x="983" y="751"/>
                  </a:lnTo>
                  <a:lnTo>
                    <a:pt x="963" y="751"/>
                  </a:lnTo>
                  <a:lnTo>
                    <a:pt x="944" y="731"/>
                  </a:lnTo>
                  <a:lnTo>
                    <a:pt x="944" y="714"/>
                  </a:lnTo>
                  <a:lnTo>
                    <a:pt x="944" y="697"/>
                  </a:lnTo>
                  <a:lnTo>
                    <a:pt x="923" y="697"/>
                  </a:lnTo>
                  <a:lnTo>
                    <a:pt x="904" y="680"/>
                  </a:lnTo>
                  <a:lnTo>
                    <a:pt x="904" y="662"/>
                  </a:lnTo>
                  <a:lnTo>
                    <a:pt x="881" y="643"/>
                  </a:lnTo>
                  <a:lnTo>
                    <a:pt x="862" y="643"/>
                  </a:lnTo>
                  <a:lnTo>
                    <a:pt x="862" y="626"/>
                  </a:lnTo>
                  <a:lnTo>
                    <a:pt x="862" y="609"/>
                  </a:lnTo>
                  <a:lnTo>
                    <a:pt x="862" y="589"/>
                  </a:lnTo>
                  <a:lnTo>
                    <a:pt x="862" y="572"/>
                  </a:lnTo>
                  <a:lnTo>
                    <a:pt x="862" y="553"/>
                  </a:lnTo>
                  <a:lnTo>
                    <a:pt x="841" y="553"/>
                  </a:lnTo>
                  <a:lnTo>
                    <a:pt x="821" y="536"/>
                  </a:lnTo>
                  <a:lnTo>
                    <a:pt x="821" y="518"/>
                  </a:lnTo>
                  <a:lnTo>
                    <a:pt x="802" y="518"/>
                  </a:lnTo>
                  <a:lnTo>
                    <a:pt x="762" y="518"/>
                  </a:lnTo>
                  <a:lnTo>
                    <a:pt x="762" y="499"/>
                  </a:lnTo>
                  <a:lnTo>
                    <a:pt x="741" y="465"/>
                  </a:lnTo>
                  <a:lnTo>
                    <a:pt x="722" y="465"/>
                  </a:lnTo>
                  <a:lnTo>
                    <a:pt x="702" y="465"/>
                  </a:lnTo>
                  <a:lnTo>
                    <a:pt x="702" y="446"/>
                  </a:lnTo>
                  <a:lnTo>
                    <a:pt x="681" y="446"/>
                  </a:lnTo>
                  <a:lnTo>
                    <a:pt x="662" y="446"/>
                  </a:lnTo>
                  <a:lnTo>
                    <a:pt x="662" y="465"/>
                  </a:lnTo>
                  <a:lnTo>
                    <a:pt x="662" y="482"/>
                  </a:lnTo>
                  <a:lnTo>
                    <a:pt x="662" y="499"/>
                  </a:lnTo>
                  <a:lnTo>
                    <a:pt x="681" y="518"/>
                  </a:lnTo>
                  <a:lnTo>
                    <a:pt x="702" y="518"/>
                  </a:lnTo>
                  <a:lnTo>
                    <a:pt x="702" y="536"/>
                  </a:lnTo>
                  <a:lnTo>
                    <a:pt x="722" y="553"/>
                  </a:lnTo>
                  <a:lnTo>
                    <a:pt x="722" y="572"/>
                  </a:lnTo>
                  <a:lnTo>
                    <a:pt x="741" y="572"/>
                  </a:lnTo>
                  <a:lnTo>
                    <a:pt x="762" y="572"/>
                  </a:lnTo>
                  <a:lnTo>
                    <a:pt x="781" y="572"/>
                  </a:lnTo>
                  <a:lnTo>
                    <a:pt x="762" y="572"/>
                  </a:lnTo>
                  <a:lnTo>
                    <a:pt x="781" y="589"/>
                  </a:lnTo>
                  <a:lnTo>
                    <a:pt x="802" y="589"/>
                  </a:lnTo>
                  <a:lnTo>
                    <a:pt x="802" y="609"/>
                  </a:lnTo>
                  <a:lnTo>
                    <a:pt x="821" y="609"/>
                  </a:lnTo>
                  <a:lnTo>
                    <a:pt x="841" y="626"/>
                  </a:lnTo>
                  <a:lnTo>
                    <a:pt x="821" y="626"/>
                  </a:lnTo>
                  <a:lnTo>
                    <a:pt x="802" y="626"/>
                  </a:lnTo>
                  <a:lnTo>
                    <a:pt x="781" y="626"/>
                  </a:lnTo>
                  <a:lnTo>
                    <a:pt x="802" y="643"/>
                  </a:lnTo>
                  <a:lnTo>
                    <a:pt x="802" y="662"/>
                  </a:lnTo>
                  <a:lnTo>
                    <a:pt x="821" y="662"/>
                  </a:lnTo>
                  <a:lnTo>
                    <a:pt x="802" y="680"/>
                  </a:lnTo>
                  <a:lnTo>
                    <a:pt x="781" y="697"/>
                  </a:lnTo>
                  <a:lnTo>
                    <a:pt x="762" y="697"/>
                  </a:lnTo>
                  <a:lnTo>
                    <a:pt x="762" y="680"/>
                  </a:lnTo>
                  <a:lnTo>
                    <a:pt x="781" y="680"/>
                  </a:lnTo>
                  <a:lnTo>
                    <a:pt x="762" y="662"/>
                  </a:lnTo>
                  <a:lnTo>
                    <a:pt x="762" y="643"/>
                  </a:lnTo>
                  <a:lnTo>
                    <a:pt x="762" y="626"/>
                  </a:lnTo>
                  <a:lnTo>
                    <a:pt x="741" y="626"/>
                  </a:lnTo>
                  <a:lnTo>
                    <a:pt x="741" y="609"/>
                  </a:lnTo>
                  <a:lnTo>
                    <a:pt x="722" y="609"/>
                  </a:lnTo>
                  <a:lnTo>
                    <a:pt x="681" y="589"/>
                  </a:lnTo>
                  <a:lnTo>
                    <a:pt x="681" y="572"/>
                  </a:lnTo>
                  <a:lnTo>
                    <a:pt x="662" y="572"/>
                  </a:lnTo>
                  <a:lnTo>
                    <a:pt x="641" y="572"/>
                  </a:lnTo>
                  <a:lnTo>
                    <a:pt x="622" y="572"/>
                  </a:lnTo>
                  <a:lnTo>
                    <a:pt x="622" y="553"/>
                  </a:lnTo>
                  <a:lnTo>
                    <a:pt x="622" y="518"/>
                  </a:lnTo>
                  <a:lnTo>
                    <a:pt x="601" y="499"/>
                  </a:lnTo>
                  <a:lnTo>
                    <a:pt x="562" y="499"/>
                  </a:lnTo>
                  <a:lnTo>
                    <a:pt x="541" y="499"/>
                  </a:lnTo>
                  <a:lnTo>
                    <a:pt x="541" y="518"/>
                  </a:lnTo>
                  <a:lnTo>
                    <a:pt x="501" y="518"/>
                  </a:lnTo>
                  <a:lnTo>
                    <a:pt x="482" y="518"/>
                  </a:lnTo>
                  <a:lnTo>
                    <a:pt x="482" y="536"/>
                  </a:lnTo>
                  <a:lnTo>
                    <a:pt x="441" y="518"/>
                  </a:lnTo>
                  <a:lnTo>
                    <a:pt x="422" y="518"/>
                  </a:lnTo>
                  <a:lnTo>
                    <a:pt x="399" y="518"/>
                  </a:lnTo>
                  <a:lnTo>
                    <a:pt x="380" y="536"/>
                  </a:lnTo>
                  <a:lnTo>
                    <a:pt x="380" y="553"/>
                  </a:lnTo>
                  <a:lnTo>
                    <a:pt x="380" y="572"/>
                  </a:lnTo>
                  <a:lnTo>
                    <a:pt x="359" y="572"/>
                  </a:lnTo>
                  <a:lnTo>
                    <a:pt x="359" y="589"/>
                  </a:lnTo>
                  <a:lnTo>
                    <a:pt x="340" y="609"/>
                  </a:lnTo>
                  <a:lnTo>
                    <a:pt x="299" y="626"/>
                  </a:lnTo>
                  <a:lnTo>
                    <a:pt x="280" y="626"/>
                  </a:lnTo>
                  <a:lnTo>
                    <a:pt x="280" y="662"/>
                  </a:lnTo>
                  <a:lnTo>
                    <a:pt x="280" y="680"/>
                  </a:lnTo>
                  <a:lnTo>
                    <a:pt x="280" y="697"/>
                  </a:lnTo>
                  <a:lnTo>
                    <a:pt x="259" y="697"/>
                  </a:lnTo>
                  <a:lnTo>
                    <a:pt x="240" y="714"/>
                  </a:lnTo>
                  <a:lnTo>
                    <a:pt x="221" y="731"/>
                  </a:lnTo>
                  <a:lnTo>
                    <a:pt x="221" y="751"/>
                  </a:lnTo>
                  <a:lnTo>
                    <a:pt x="199" y="751"/>
                  </a:lnTo>
                  <a:lnTo>
                    <a:pt x="180" y="751"/>
                  </a:lnTo>
                  <a:lnTo>
                    <a:pt x="159" y="751"/>
                  </a:lnTo>
                  <a:lnTo>
                    <a:pt x="140" y="751"/>
                  </a:lnTo>
                  <a:lnTo>
                    <a:pt x="100" y="768"/>
                  </a:lnTo>
                  <a:lnTo>
                    <a:pt x="80" y="751"/>
                  </a:lnTo>
                  <a:lnTo>
                    <a:pt x="80" y="731"/>
                  </a:lnTo>
                  <a:lnTo>
                    <a:pt x="40" y="731"/>
                  </a:lnTo>
                  <a:lnTo>
                    <a:pt x="19" y="731"/>
                  </a:lnTo>
                  <a:lnTo>
                    <a:pt x="19" y="714"/>
                  </a:lnTo>
                  <a:lnTo>
                    <a:pt x="19" y="697"/>
                  </a:lnTo>
                  <a:lnTo>
                    <a:pt x="0" y="697"/>
                  </a:lnTo>
                  <a:lnTo>
                    <a:pt x="0" y="680"/>
                  </a:lnTo>
                  <a:lnTo>
                    <a:pt x="0" y="662"/>
                  </a:lnTo>
                  <a:lnTo>
                    <a:pt x="19" y="643"/>
                  </a:lnTo>
                  <a:lnTo>
                    <a:pt x="19" y="626"/>
                  </a:lnTo>
                  <a:lnTo>
                    <a:pt x="19" y="609"/>
                  </a:lnTo>
                  <a:lnTo>
                    <a:pt x="19" y="572"/>
                  </a:lnTo>
                  <a:lnTo>
                    <a:pt x="19" y="553"/>
                  </a:lnTo>
                  <a:lnTo>
                    <a:pt x="0" y="536"/>
                  </a:lnTo>
                  <a:lnTo>
                    <a:pt x="19" y="536"/>
                  </a:lnTo>
                  <a:lnTo>
                    <a:pt x="19" y="518"/>
                  </a:lnTo>
                  <a:lnTo>
                    <a:pt x="40" y="518"/>
                  </a:lnTo>
                  <a:lnTo>
                    <a:pt x="59" y="518"/>
                  </a:lnTo>
                  <a:lnTo>
                    <a:pt x="80" y="518"/>
                  </a:lnTo>
                  <a:lnTo>
                    <a:pt x="100" y="518"/>
                  </a:lnTo>
                  <a:lnTo>
                    <a:pt x="119" y="518"/>
                  </a:lnTo>
                  <a:lnTo>
                    <a:pt x="140" y="518"/>
                  </a:lnTo>
                  <a:lnTo>
                    <a:pt x="159" y="518"/>
                  </a:lnTo>
                  <a:lnTo>
                    <a:pt x="180" y="518"/>
                  </a:lnTo>
                  <a:lnTo>
                    <a:pt x="199" y="518"/>
                  </a:lnTo>
                  <a:lnTo>
                    <a:pt x="221" y="518"/>
                  </a:lnTo>
                  <a:lnTo>
                    <a:pt x="240" y="518"/>
                  </a:lnTo>
                  <a:lnTo>
                    <a:pt x="259" y="499"/>
                  </a:lnTo>
                  <a:lnTo>
                    <a:pt x="259" y="482"/>
                  </a:lnTo>
                  <a:lnTo>
                    <a:pt x="259" y="465"/>
                  </a:lnTo>
                  <a:lnTo>
                    <a:pt x="259" y="446"/>
                  </a:lnTo>
                  <a:lnTo>
                    <a:pt x="259" y="428"/>
                  </a:lnTo>
                  <a:lnTo>
                    <a:pt x="240" y="428"/>
                  </a:lnTo>
                  <a:lnTo>
                    <a:pt x="221" y="409"/>
                  </a:lnTo>
                  <a:lnTo>
                    <a:pt x="221" y="392"/>
                  </a:lnTo>
                  <a:lnTo>
                    <a:pt x="180" y="375"/>
                  </a:lnTo>
                  <a:lnTo>
                    <a:pt x="159" y="375"/>
                  </a:lnTo>
                  <a:lnTo>
                    <a:pt x="159" y="357"/>
                  </a:lnTo>
                  <a:lnTo>
                    <a:pt x="140" y="357"/>
                  </a:lnTo>
                  <a:lnTo>
                    <a:pt x="159" y="340"/>
                  </a:lnTo>
                  <a:lnTo>
                    <a:pt x="180" y="340"/>
                  </a:lnTo>
                  <a:lnTo>
                    <a:pt x="199" y="340"/>
                  </a:lnTo>
                  <a:lnTo>
                    <a:pt x="221" y="340"/>
                  </a:lnTo>
                  <a:lnTo>
                    <a:pt x="240" y="340"/>
                  </a:lnTo>
                  <a:lnTo>
                    <a:pt x="221" y="340"/>
                  </a:lnTo>
                  <a:lnTo>
                    <a:pt x="221" y="323"/>
                  </a:lnTo>
                  <a:lnTo>
                    <a:pt x="221" y="303"/>
                  </a:lnTo>
                  <a:lnTo>
                    <a:pt x="240" y="303"/>
                  </a:lnTo>
                  <a:lnTo>
                    <a:pt x="259" y="323"/>
                  </a:lnTo>
                  <a:lnTo>
                    <a:pt x="280" y="323"/>
                  </a:lnTo>
                  <a:lnTo>
                    <a:pt x="280" y="303"/>
                  </a:lnTo>
                  <a:lnTo>
                    <a:pt x="320" y="303"/>
                  </a:lnTo>
                  <a:lnTo>
                    <a:pt x="340" y="286"/>
                  </a:lnTo>
                  <a:lnTo>
                    <a:pt x="340" y="269"/>
                  </a:lnTo>
                  <a:lnTo>
                    <a:pt x="359" y="269"/>
                  </a:lnTo>
                  <a:lnTo>
                    <a:pt x="380" y="250"/>
                  </a:lnTo>
                  <a:lnTo>
                    <a:pt x="399" y="250"/>
                  </a:lnTo>
                  <a:lnTo>
                    <a:pt x="422" y="232"/>
                  </a:lnTo>
                  <a:lnTo>
                    <a:pt x="422" y="213"/>
                  </a:lnTo>
                  <a:lnTo>
                    <a:pt x="422" y="196"/>
                  </a:lnTo>
                  <a:lnTo>
                    <a:pt x="441" y="179"/>
                  </a:lnTo>
                  <a:lnTo>
                    <a:pt x="462" y="160"/>
                  </a:lnTo>
                  <a:lnTo>
                    <a:pt x="482" y="160"/>
                  </a:lnTo>
                  <a:lnTo>
                    <a:pt x="501" y="160"/>
                  </a:lnTo>
                  <a:lnTo>
                    <a:pt x="522" y="160"/>
                  </a:lnTo>
                  <a:lnTo>
                    <a:pt x="541" y="160"/>
                  </a:lnTo>
                  <a:lnTo>
                    <a:pt x="562" y="160"/>
                  </a:lnTo>
                  <a:lnTo>
                    <a:pt x="562" y="142"/>
                  </a:lnTo>
                  <a:lnTo>
                    <a:pt x="562" y="125"/>
                  </a:lnTo>
                  <a:lnTo>
                    <a:pt x="562" y="106"/>
                  </a:lnTo>
                  <a:lnTo>
                    <a:pt x="541" y="89"/>
                  </a:lnTo>
                  <a:lnTo>
                    <a:pt x="541" y="52"/>
                  </a:lnTo>
                  <a:lnTo>
                    <a:pt x="541" y="35"/>
                  </a:lnTo>
                  <a:lnTo>
                    <a:pt x="562" y="16"/>
                  </a:lnTo>
                  <a:lnTo>
                    <a:pt x="601" y="0"/>
                  </a:lnTo>
                  <a:lnTo>
                    <a:pt x="601" y="16"/>
                  </a:lnTo>
                  <a:lnTo>
                    <a:pt x="601" y="35"/>
                  </a:lnTo>
                  <a:lnTo>
                    <a:pt x="622" y="35"/>
                  </a:lnTo>
                  <a:lnTo>
                    <a:pt x="622" y="52"/>
                  </a:lnTo>
                  <a:lnTo>
                    <a:pt x="601" y="69"/>
                  </a:lnTo>
                  <a:lnTo>
                    <a:pt x="581" y="89"/>
                  </a:lnTo>
                  <a:lnTo>
                    <a:pt x="581" y="106"/>
                  </a:lnTo>
                  <a:lnTo>
                    <a:pt x="601" y="125"/>
                  </a:lnTo>
                  <a:lnTo>
                    <a:pt x="581" y="125"/>
                  </a:lnTo>
                  <a:lnTo>
                    <a:pt x="601" y="125"/>
                  </a:lnTo>
                  <a:lnTo>
                    <a:pt x="622" y="125"/>
                  </a:lnTo>
                  <a:lnTo>
                    <a:pt x="622" y="142"/>
                  </a:lnTo>
                  <a:lnTo>
                    <a:pt x="641" y="142"/>
                  </a:lnTo>
                  <a:lnTo>
                    <a:pt x="681" y="125"/>
                  </a:lnTo>
                  <a:lnTo>
                    <a:pt x="702" y="125"/>
                  </a:lnTo>
                  <a:lnTo>
                    <a:pt x="681" y="125"/>
                  </a:lnTo>
                  <a:lnTo>
                    <a:pt x="681" y="142"/>
                  </a:lnTo>
                  <a:lnTo>
                    <a:pt x="702" y="160"/>
                  </a:lnTo>
                  <a:lnTo>
                    <a:pt x="722" y="160"/>
                  </a:lnTo>
                  <a:lnTo>
                    <a:pt x="722" y="142"/>
                  </a:lnTo>
                  <a:lnTo>
                    <a:pt x="741" y="142"/>
                  </a:lnTo>
                  <a:lnTo>
                    <a:pt x="762" y="142"/>
                  </a:lnTo>
                  <a:lnTo>
                    <a:pt x="781" y="125"/>
                  </a:lnTo>
                  <a:lnTo>
                    <a:pt x="802" y="125"/>
                  </a:lnTo>
                  <a:lnTo>
                    <a:pt x="802" y="106"/>
                  </a:lnTo>
                  <a:lnTo>
                    <a:pt x="821" y="106"/>
                  </a:lnTo>
                  <a:lnTo>
                    <a:pt x="841" y="106"/>
                  </a:lnTo>
                  <a:lnTo>
                    <a:pt x="862" y="106"/>
                  </a:lnTo>
                  <a:lnTo>
                    <a:pt x="862" y="125"/>
                  </a:lnTo>
                  <a:lnTo>
                    <a:pt x="841" y="125"/>
                  </a:lnTo>
                  <a:lnTo>
                    <a:pt x="862" y="125"/>
                  </a:lnTo>
                  <a:lnTo>
                    <a:pt x="881" y="125"/>
                  </a:lnTo>
                  <a:lnTo>
                    <a:pt x="923" y="125"/>
                  </a:lnTo>
                  <a:lnTo>
                    <a:pt x="944" y="125"/>
                  </a:lnTo>
                  <a:lnTo>
                    <a:pt x="963" y="125"/>
                  </a:lnTo>
                  <a:lnTo>
                    <a:pt x="983" y="125"/>
                  </a:lnTo>
                  <a:lnTo>
                    <a:pt x="1004" y="160"/>
                  </a:lnTo>
                  <a:lnTo>
                    <a:pt x="1004" y="179"/>
                  </a:lnTo>
                  <a:lnTo>
                    <a:pt x="1004" y="196"/>
                  </a:lnTo>
                  <a:lnTo>
                    <a:pt x="983" y="213"/>
                  </a:lnTo>
                  <a:lnTo>
                    <a:pt x="1004" y="213"/>
                  </a:lnTo>
                  <a:lnTo>
                    <a:pt x="1004" y="250"/>
                  </a:lnTo>
                  <a:lnTo>
                    <a:pt x="1004" y="269"/>
                  </a:lnTo>
                  <a:lnTo>
                    <a:pt x="1004" y="286"/>
                  </a:lnTo>
                  <a:lnTo>
                    <a:pt x="983" y="286"/>
                  </a:lnTo>
                  <a:lnTo>
                    <a:pt x="963" y="303"/>
                  </a:lnTo>
                  <a:lnTo>
                    <a:pt x="963" y="323"/>
                  </a:lnTo>
                  <a:lnTo>
                    <a:pt x="963" y="340"/>
                  </a:lnTo>
                  <a:lnTo>
                    <a:pt x="963" y="357"/>
                  </a:lnTo>
                  <a:lnTo>
                    <a:pt x="1004" y="357"/>
                  </a:lnTo>
                  <a:lnTo>
                    <a:pt x="1044" y="357"/>
                  </a:lnTo>
                  <a:lnTo>
                    <a:pt x="1063" y="340"/>
                  </a:lnTo>
                  <a:lnTo>
                    <a:pt x="1084" y="340"/>
                  </a:lnTo>
                  <a:lnTo>
                    <a:pt x="1104" y="357"/>
                  </a:lnTo>
                  <a:lnTo>
                    <a:pt x="1123" y="392"/>
                  </a:lnTo>
                  <a:lnTo>
                    <a:pt x="1144" y="392"/>
                  </a:lnTo>
                  <a:lnTo>
                    <a:pt x="1144" y="409"/>
                  </a:lnTo>
                  <a:lnTo>
                    <a:pt x="1144" y="428"/>
                  </a:lnTo>
                  <a:lnTo>
                    <a:pt x="1144" y="446"/>
                  </a:lnTo>
                  <a:lnTo>
                    <a:pt x="1163" y="446"/>
                  </a:lnTo>
                  <a:lnTo>
                    <a:pt x="1184" y="446"/>
                  </a:lnTo>
                  <a:lnTo>
                    <a:pt x="1163" y="446"/>
                  </a:lnTo>
                  <a:lnTo>
                    <a:pt x="1163" y="465"/>
                  </a:lnTo>
                  <a:lnTo>
                    <a:pt x="1144" y="465"/>
                  </a:lnTo>
                  <a:close/>
                </a:path>
              </a:pathLst>
            </a:custGeom>
            <a:solidFill>
              <a:srgbClr val="C0C0C0"/>
            </a:solidFill>
            <a:ln w="9525">
              <a:solidFill>
                <a:srgbClr val="C0C0C0"/>
              </a:solidFill>
              <a:round/>
              <a:headEnd/>
              <a:tailEnd/>
            </a:ln>
          </p:spPr>
          <p:txBody>
            <a:bodyPr/>
            <a:lstStyle/>
            <a:p>
              <a:endParaRPr lang="en-US"/>
            </a:p>
          </p:txBody>
        </p:sp>
        <p:sp>
          <p:nvSpPr>
            <p:cNvPr id="9414" name="Freeform 105"/>
            <p:cNvSpPr>
              <a:spLocks/>
            </p:cNvSpPr>
            <p:nvPr/>
          </p:nvSpPr>
          <p:spPr bwMode="auto">
            <a:xfrm>
              <a:off x="3010" y="1536"/>
              <a:ext cx="391" cy="348"/>
            </a:xfrm>
            <a:custGeom>
              <a:avLst/>
              <a:gdLst>
                <a:gd name="T0" fmla="*/ 1 w 782"/>
                <a:gd name="T1" fmla="*/ 0 h 697"/>
                <a:gd name="T2" fmla="*/ 1 w 782"/>
                <a:gd name="T3" fmla="*/ 0 h 697"/>
                <a:gd name="T4" fmla="*/ 1 w 782"/>
                <a:gd name="T5" fmla="*/ 0 h 697"/>
                <a:gd name="T6" fmla="*/ 1 w 782"/>
                <a:gd name="T7" fmla="*/ 0 h 697"/>
                <a:gd name="T8" fmla="*/ 0 w 782"/>
                <a:gd name="T9" fmla="*/ 0 h 697"/>
                <a:gd name="T10" fmla="*/ 0 w 782"/>
                <a:gd name="T11" fmla="*/ 0 h 697"/>
                <a:gd name="T12" fmla="*/ 1 w 782"/>
                <a:gd name="T13" fmla="*/ 0 h 697"/>
                <a:gd name="T14" fmla="*/ 1 w 782"/>
                <a:gd name="T15" fmla="*/ 0 h 697"/>
                <a:gd name="T16" fmla="*/ 1 w 782"/>
                <a:gd name="T17" fmla="*/ 0 h 697"/>
                <a:gd name="T18" fmla="*/ 1 w 782"/>
                <a:gd name="T19" fmla="*/ 0 h 697"/>
                <a:gd name="T20" fmla="*/ 1 w 782"/>
                <a:gd name="T21" fmla="*/ 0 h 697"/>
                <a:gd name="T22" fmla="*/ 1 w 782"/>
                <a:gd name="T23" fmla="*/ 0 h 697"/>
                <a:gd name="T24" fmla="*/ 1 w 782"/>
                <a:gd name="T25" fmla="*/ 0 h 697"/>
                <a:gd name="T26" fmla="*/ 1 w 782"/>
                <a:gd name="T27" fmla="*/ 0 h 697"/>
                <a:gd name="T28" fmla="*/ 1 w 782"/>
                <a:gd name="T29" fmla="*/ 0 h 697"/>
                <a:gd name="T30" fmla="*/ 1 w 782"/>
                <a:gd name="T31" fmla="*/ 0 h 697"/>
                <a:gd name="T32" fmla="*/ 1 w 782"/>
                <a:gd name="T33" fmla="*/ 0 h 697"/>
                <a:gd name="T34" fmla="*/ 1 w 782"/>
                <a:gd name="T35" fmla="*/ 0 h 697"/>
                <a:gd name="T36" fmla="*/ 1 w 782"/>
                <a:gd name="T37" fmla="*/ 0 h 697"/>
                <a:gd name="T38" fmla="*/ 1 w 782"/>
                <a:gd name="T39" fmla="*/ 0 h 697"/>
                <a:gd name="T40" fmla="*/ 1 w 782"/>
                <a:gd name="T41" fmla="*/ 0 h 697"/>
                <a:gd name="T42" fmla="*/ 1 w 782"/>
                <a:gd name="T43" fmla="*/ 0 h 697"/>
                <a:gd name="T44" fmla="*/ 1 w 782"/>
                <a:gd name="T45" fmla="*/ 0 h 697"/>
                <a:gd name="T46" fmla="*/ 1 w 782"/>
                <a:gd name="T47" fmla="*/ 0 h 697"/>
                <a:gd name="T48" fmla="*/ 1 w 782"/>
                <a:gd name="T49" fmla="*/ 0 h 697"/>
                <a:gd name="T50" fmla="*/ 1 w 782"/>
                <a:gd name="T51" fmla="*/ 0 h 697"/>
                <a:gd name="T52" fmla="*/ 1 w 782"/>
                <a:gd name="T53" fmla="*/ 0 h 697"/>
                <a:gd name="T54" fmla="*/ 1 w 782"/>
                <a:gd name="T55" fmla="*/ 0 h 697"/>
                <a:gd name="T56" fmla="*/ 1 w 782"/>
                <a:gd name="T57" fmla="*/ 0 h 697"/>
                <a:gd name="T58" fmla="*/ 1 w 782"/>
                <a:gd name="T59" fmla="*/ 0 h 697"/>
                <a:gd name="T60" fmla="*/ 1 w 782"/>
                <a:gd name="T61" fmla="*/ 0 h 697"/>
                <a:gd name="T62" fmla="*/ 1 w 782"/>
                <a:gd name="T63" fmla="*/ 0 h 697"/>
                <a:gd name="T64" fmla="*/ 1 w 782"/>
                <a:gd name="T65" fmla="*/ 0 h 697"/>
                <a:gd name="T66" fmla="*/ 1 w 782"/>
                <a:gd name="T67" fmla="*/ 0 h 697"/>
                <a:gd name="T68" fmla="*/ 1 w 782"/>
                <a:gd name="T69" fmla="*/ 0 h 697"/>
                <a:gd name="T70" fmla="*/ 1 w 782"/>
                <a:gd name="T71" fmla="*/ 0 h 697"/>
                <a:gd name="T72" fmla="*/ 1 w 782"/>
                <a:gd name="T73" fmla="*/ 0 h 697"/>
                <a:gd name="T74" fmla="*/ 1 w 782"/>
                <a:gd name="T75" fmla="*/ 0 h 697"/>
                <a:gd name="T76" fmla="*/ 1 w 782"/>
                <a:gd name="T77" fmla="*/ 0 h 697"/>
                <a:gd name="T78" fmla="*/ 1 w 782"/>
                <a:gd name="T79" fmla="*/ 0 h 697"/>
                <a:gd name="T80" fmla="*/ 1 w 782"/>
                <a:gd name="T81" fmla="*/ 0 h 697"/>
                <a:gd name="T82" fmla="*/ 1 w 782"/>
                <a:gd name="T83" fmla="*/ 0 h 697"/>
                <a:gd name="T84" fmla="*/ 1 w 782"/>
                <a:gd name="T85" fmla="*/ 0 h 697"/>
                <a:gd name="T86" fmla="*/ 1 w 782"/>
                <a:gd name="T87" fmla="*/ 0 h 697"/>
                <a:gd name="T88" fmla="*/ 1 w 782"/>
                <a:gd name="T89" fmla="*/ 0 h 697"/>
                <a:gd name="T90" fmla="*/ 1 w 782"/>
                <a:gd name="T91" fmla="*/ 0 h 697"/>
                <a:gd name="T92" fmla="*/ 1 w 782"/>
                <a:gd name="T93" fmla="*/ 0 h 697"/>
                <a:gd name="T94" fmla="*/ 1 w 782"/>
                <a:gd name="T95" fmla="*/ 0 h 697"/>
                <a:gd name="T96" fmla="*/ 1 w 782"/>
                <a:gd name="T97" fmla="*/ 0 h 697"/>
                <a:gd name="T98" fmla="*/ 1 w 782"/>
                <a:gd name="T99" fmla="*/ 0 h 697"/>
                <a:gd name="T100" fmla="*/ 1 w 782"/>
                <a:gd name="T101" fmla="*/ 0 h 697"/>
                <a:gd name="T102" fmla="*/ 1 w 782"/>
                <a:gd name="T103" fmla="*/ 0 h 697"/>
                <a:gd name="T104" fmla="*/ 1 w 782"/>
                <a:gd name="T105" fmla="*/ 0 h 697"/>
                <a:gd name="T106" fmla="*/ 1 w 782"/>
                <a:gd name="T107" fmla="*/ 0 h 697"/>
                <a:gd name="T108" fmla="*/ 1 w 782"/>
                <a:gd name="T109" fmla="*/ 0 h 697"/>
                <a:gd name="T110" fmla="*/ 1 w 782"/>
                <a:gd name="T111" fmla="*/ 0 h 697"/>
                <a:gd name="T112" fmla="*/ 1 w 782"/>
                <a:gd name="T113" fmla="*/ 0 h 697"/>
                <a:gd name="T114" fmla="*/ 1 w 782"/>
                <a:gd name="T115" fmla="*/ 0 h 697"/>
                <a:gd name="T116" fmla="*/ 1 w 782"/>
                <a:gd name="T117" fmla="*/ 0 h 697"/>
                <a:gd name="T118" fmla="*/ 1 w 782"/>
                <a:gd name="T119" fmla="*/ 0 h 69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82"/>
                <a:gd name="T181" fmla="*/ 0 h 697"/>
                <a:gd name="T182" fmla="*/ 782 w 782"/>
                <a:gd name="T183" fmla="*/ 697 h 69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82" h="697">
                  <a:moveTo>
                    <a:pt x="181" y="518"/>
                  </a:moveTo>
                  <a:lnTo>
                    <a:pt x="160" y="501"/>
                  </a:lnTo>
                  <a:lnTo>
                    <a:pt x="140" y="538"/>
                  </a:lnTo>
                  <a:lnTo>
                    <a:pt x="100" y="574"/>
                  </a:lnTo>
                  <a:lnTo>
                    <a:pt x="60" y="574"/>
                  </a:lnTo>
                  <a:lnTo>
                    <a:pt x="41" y="574"/>
                  </a:lnTo>
                  <a:lnTo>
                    <a:pt x="21" y="555"/>
                  </a:lnTo>
                  <a:lnTo>
                    <a:pt x="0" y="538"/>
                  </a:lnTo>
                  <a:lnTo>
                    <a:pt x="21" y="538"/>
                  </a:lnTo>
                  <a:lnTo>
                    <a:pt x="21" y="518"/>
                  </a:lnTo>
                  <a:lnTo>
                    <a:pt x="41" y="518"/>
                  </a:lnTo>
                  <a:lnTo>
                    <a:pt x="21" y="518"/>
                  </a:lnTo>
                  <a:lnTo>
                    <a:pt x="0" y="518"/>
                  </a:lnTo>
                  <a:lnTo>
                    <a:pt x="21" y="501"/>
                  </a:lnTo>
                  <a:lnTo>
                    <a:pt x="0" y="465"/>
                  </a:lnTo>
                  <a:lnTo>
                    <a:pt x="0" y="447"/>
                  </a:lnTo>
                  <a:lnTo>
                    <a:pt x="0" y="430"/>
                  </a:lnTo>
                  <a:lnTo>
                    <a:pt x="0" y="411"/>
                  </a:lnTo>
                  <a:lnTo>
                    <a:pt x="21" y="411"/>
                  </a:lnTo>
                  <a:lnTo>
                    <a:pt x="21" y="394"/>
                  </a:lnTo>
                  <a:lnTo>
                    <a:pt x="41" y="394"/>
                  </a:lnTo>
                  <a:lnTo>
                    <a:pt x="41" y="374"/>
                  </a:lnTo>
                  <a:lnTo>
                    <a:pt x="81" y="374"/>
                  </a:lnTo>
                  <a:lnTo>
                    <a:pt x="100" y="357"/>
                  </a:lnTo>
                  <a:lnTo>
                    <a:pt x="121" y="340"/>
                  </a:lnTo>
                  <a:lnTo>
                    <a:pt x="140" y="340"/>
                  </a:lnTo>
                  <a:lnTo>
                    <a:pt x="121" y="340"/>
                  </a:lnTo>
                  <a:lnTo>
                    <a:pt x="160" y="321"/>
                  </a:lnTo>
                  <a:lnTo>
                    <a:pt x="181" y="286"/>
                  </a:lnTo>
                  <a:lnTo>
                    <a:pt x="200" y="286"/>
                  </a:lnTo>
                  <a:lnTo>
                    <a:pt x="221" y="267"/>
                  </a:lnTo>
                  <a:lnTo>
                    <a:pt x="221" y="250"/>
                  </a:lnTo>
                  <a:lnTo>
                    <a:pt x="240" y="250"/>
                  </a:lnTo>
                  <a:lnTo>
                    <a:pt x="240" y="232"/>
                  </a:lnTo>
                  <a:lnTo>
                    <a:pt x="240" y="215"/>
                  </a:lnTo>
                  <a:lnTo>
                    <a:pt x="261" y="198"/>
                  </a:lnTo>
                  <a:lnTo>
                    <a:pt x="300" y="179"/>
                  </a:lnTo>
                  <a:lnTo>
                    <a:pt x="321" y="179"/>
                  </a:lnTo>
                  <a:lnTo>
                    <a:pt x="340" y="144"/>
                  </a:lnTo>
                  <a:lnTo>
                    <a:pt x="361" y="108"/>
                  </a:lnTo>
                  <a:lnTo>
                    <a:pt x="321" y="125"/>
                  </a:lnTo>
                  <a:lnTo>
                    <a:pt x="281" y="144"/>
                  </a:lnTo>
                  <a:lnTo>
                    <a:pt x="300" y="125"/>
                  </a:lnTo>
                  <a:lnTo>
                    <a:pt x="321" y="125"/>
                  </a:lnTo>
                  <a:lnTo>
                    <a:pt x="300" y="125"/>
                  </a:lnTo>
                  <a:lnTo>
                    <a:pt x="300" y="108"/>
                  </a:lnTo>
                  <a:lnTo>
                    <a:pt x="321" y="108"/>
                  </a:lnTo>
                  <a:lnTo>
                    <a:pt x="340" y="108"/>
                  </a:lnTo>
                  <a:lnTo>
                    <a:pt x="361" y="108"/>
                  </a:lnTo>
                  <a:lnTo>
                    <a:pt x="380" y="125"/>
                  </a:lnTo>
                  <a:lnTo>
                    <a:pt x="380" y="108"/>
                  </a:lnTo>
                  <a:lnTo>
                    <a:pt x="380" y="88"/>
                  </a:lnTo>
                  <a:lnTo>
                    <a:pt x="400" y="88"/>
                  </a:lnTo>
                  <a:lnTo>
                    <a:pt x="421" y="71"/>
                  </a:lnTo>
                  <a:lnTo>
                    <a:pt x="400" y="71"/>
                  </a:lnTo>
                  <a:lnTo>
                    <a:pt x="421" y="54"/>
                  </a:lnTo>
                  <a:lnTo>
                    <a:pt x="421" y="71"/>
                  </a:lnTo>
                  <a:lnTo>
                    <a:pt x="440" y="54"/>
                  </a:lnTo>
                  <a:lnTo>
                    <a:pt x="463" y="54"/>
                  </a:lnTo>
                  <a:lnTo>
                    <a:pt x="482" y="54"/>
                  </a:lnTo>
                  <a:lnTo>
                    <a:pt x="503" y="54"/>
                  </a:lnTo>
                  <a:lnTo>
                    <a:pt x="522" y="35"/>
                  </a:lnTo>
                  <a:lnTo>
                    <a:pt x="503" y="35"/>
                  </a:lnTo>
                  <a:lnTo>
                    <a:pt x="503" y="17"/>
                  </a:lnTo>
                  <a:lnTo>
                    <a:pt x="522" y="17"/>
                  </a:lnTo>
                  <a:lnTo>
                    <a:pt x="542" y="0"/>
                  </a:lnTo>
                  <a:lnTo>
                    <a:pt x="542" y="17"/>
                  </a:lnTo>
                  <a:lnTo>
                    <a:pt x="563" y="17"/>
                  </a:lnTo>
                  <a:lnTo>
                    <a:pt x="582" y="17"/>
                  </a:lnTo>
                  <a:lnTo>
                    <a:pt x="603" y="0"/>
                  </a:lnTo>
                  <a:lnTo>
                    <a:pt x="622" y="17"/>
                  </a:lnTo>
                  <a:lnTo>
                    <a:pt x="603" y="35"/>
                  </a:lnTo>
                  <a:lnTo>
                    <a:pt x="582" y="54"/>
                  </a:lnTo>
                  <a:lnTo>
                    <a:pt x="622" y="35"/>
                  </a:lnTo>
                  <a:lnTo>
                    <a:pt x="622" y="17"/>
                  </a:lnTo>
                  <a:lnTo>
                    <a:pt x="643" y="17"/>
                  </a:lnTo>
                  <a:lnTo>
                    <a:pt x="643" y="35"/>
                  </a:lnTo>
                  <a:lnTo>
                    <a:pt x="663" y="17"/>
                  </a:lnTo>
                  <a:lnTo>
                    <a:pt x="682" y="17"/>
                  </a:lnTo>
                  <a:lnTo>
                    <a:pt x="682" y="0"/>
                  </a:lnTo>
                  <a:lnTo>
                    <a:pt x="703" y="17"/>
                  </a:lnTo>
                  <a:lnTo>
                    <a:pt x="703" y="35"/>
                  </a:lnTo>
                  <a:lnTo>
                    <a:pt x="703" y="17"/>
                  </a:lnTo>
                  <a:lnTo>
                    <a:pt x="722" y="17"/>
                  </a:lnTo>
                  <a:lnTo>
                    <a:pt x="743" y="17"/>
                  </a:lnTo>
                  <a:lnTo>
                    <a:pt x="762" y="35"/>
                  </a:lnTo>
                  <a:lnTo>
                    <a:pt x="743" y="54"/>
                  </a:lnTo>
                  <a:lnTo>
                    <a:pt x="722" y="54"/>
                  </a:lnTo>
                  <a:lnTo>
                    <a:pt x="703" y="54"/>
                  </a:lnTo>
                  <a:lnTo>
                    <a:pt x="722" y="54"/>
                  </a:lnTo>
                  <a:lnTo>
                    <a:pt x="743" y="71"/>
                  </a:lnTo>
                  <a:lnTo>
                    <a:pt x="762" y="71"/>
                  </a:lnTo>
                  <a:lnTo>
                    <a:pt x="743" y="88"/>
                  </a:lnTo>
                  <a:lnTo>
                    <a:pt x="722" y="108"/>
                  </a:lnTo>
                  <a:lnTo>
                    <a:pt x="703" y="108"/>
                  </a:lnTo>
                  <a:lnTo>
                    <a:pt x="722" y="125"/>
                  </a:lnTo>
                  <a:lnTo>
                    <a:pt x="743" y="144"/>
                  </a:lnTo>
                  <a:lnTo>
                    <a:pt x="743" y="161"/>
                  </a:lnTo>
                  <a:lnTo>
                    <a:pt x="743" y="179"/>
                  </a:lnTo>
                  <a:lnTo>
                    <a:pt x="722" y="179"/>
                  </a:lnTo>
                  <a:lnTo>
                    <a:pt x="722" y="198"/>
                  </a:lnTo>
                  <a:lnTo>
                    <a:pt x="722" y="215"/>
                  </a:lnTo>
                  <a:lnTo>
                    <a:pt x="743" y="232"/>
                  </a:lnTo>
                  <a:lnTo>
                    <a:pt x="762" y="250"/>
                  </a:lnTo>
                  <a:lnTo>
                    <a:pt x="743" y="250"/>
                  </a:lnTo>
                  <a:lnTo>
                    <a:pt x="743" y="267"/>
                  </a:lnTo>
                  <a:lnTo>
                    <a:pt x="743" y="286"/>
                  </a:lnTo>
                  <a:lnTo>
                    <a:pt x="762" y="286"/>
                  </a:lnTo>
                  <a:lnTo>
                    <a:pt x="762" y="303"/>
                  </a:lnTo>
                  <a:lnTo>
                    <a:pt x="762" y="321"/>
                  </a:lnTo>
                  <a:lnTo>
                    <a:pt x="762" y="340"/>
                  </a:lnTo>
                  <a:lnTo>
                    <a:pt x="782" y="340"/>
                  </a:lnTo>
                  <a:lnTo>
                    <a:pt x="782" y="357"/>
                  </a:lnTo>
                  <a:lnTo>
                    <a:pt x="762" y="394"/>
                  </a:lnTo>
                  <a:lnTo>
                    <a:pt x="722" y="430"/>
                  </a:lnTo>
                  <a:lnTo>
                    <a:pt x="703" y="447"/>
                  </a:lnTo>
                  <a:lnTo>
                    <a:pt x="682" y="465"/>
                  </a:lnTo>
                  <a:lnTo>
                    <a:pt x="622" y="484"/>
                  </a:lnTo>
                  <a:lnTo>
                    <a:pt x="582" y="484"/>
                  </a:lnTo>
                  <a:lnTo>
                    <a:pt x="563" y="484"/>
                  </a:lnTo>
                  <a:lnTo>
                    <a:pt x="542" y="501"/>
                  </a:lnTo>
                  <a:lnTo>
                    <a:pt x="522" y="484"/>
                  </a:lnTo>
                  <a:lnTo>
                    <a:pt x="503" y="465"/>
                  </a:lnTo>
                  <a:lnTo>
                    <a:pt x="482" y="465"/>
                  </a:lnTo>
                  <a:lnTo>
                    <a:pt x="482" y="447"/>
                  </a:lnTo>
                  <a:lnTo>
                    <a:pt x="482" y="430"/>
                  </a:lnTo>
                  <a:lnTo>
                    <a:pt x="503" y="430"/>
                  </a:lnTo>
                  <a:lnTo>
                    <a:pt x="482" y="411"/>
                  </a:lnTo>
                  <a:lnTo>
                    <a:pt x="482" y="394"/>
                  </a:lnTo>
                  <a:lnTo>
                    <a:pt x="463" y="394"/>
                  </a:lnTo>
                  <a:lnTo>
                    <a:pt x="463" y="374"/>
                  </a:lnTo>
                  <a:lnTo>
                    <a:pt x="482" y="374"/>
                  </a:lnTo>
                  <a:lnTo>
                    <a:pt x="463" y="374"/>
                  </a:lnTo>
                  <a:lnTo>
                    <a:pt x="503" y="357"/>
                  </a:lnTo>
                  <a:lnTo>
                    <a:pt x="542" y="321"/>
                  </a:lnTo>
                  <a:lnTo>
                    <a:pt x="563" y="303"/>
                  </a:lnTo>
                  <a:lnTo>
                    <a:pt x="582" y="286"/>
                  </a:lnTo>
                  <a:lnTo>
                    <a:pt x="603" y="286"/>
                  </a:lnTo>
                  <a:lnTo>
                    <a:pt x="622" y="286"/>
                  </a:lnTo>
                  <a:lnTo>
                    <a:pt x="603" y="267"/>
                  </a:lnTo>
                  <a:lnTo>
                    <a:pt x="563" y="267"/>
                  </a:lnTo>
                  <a:lnTo>
                    <a:pt x="542" y="250"/>
                  </a:lnTo>
                  <a:lnTo>
                    <a:pt x="503" y="267"/>
                  </a:lnTo>
                  <a:lnTo>
                    <a:pt x="503" y="286"/>
                  </a:lnTo>
                  <a:lnTo>
                    <a:pt x="482" y="286"/>
                  </a:lnTo>
                  <a:lnTo>
                    <a:pt x="482" y="303"/>
                  </a:lnTo>
                  <a:lnTo>
                    <a:pt x="463" y="321"/>
                  </a:lnTo>
                  <a:lnTo>
                    <a:pt x="421" y="340"/>
                  </a:lnTo>
                  <a:lnTo>
                    <a:pt x="421" y="357"/>
                  </a:lnTo>
                  <a:lnTo>
                    <a:pt x="400" y="357"/>
                  </a:lnTo>
                  <a:lnTo>
                    <a:pt x="380" y="374"/>
                  </a:lnTo>
                  <a:lnTo>
                    <a:pt x="380" y="394"/>
                  </a:lnTo>
                  <a:lnTo>
                    <a:pt x="380" y="411"/>
                  </a:lnTo>
                  <a:lnTo>
                    <a:pt x="361" y="430"/>
                  </a:lnTo>
                  <a:lnTo>
                    <a:pt x="361" y="447"/>
                  </a:lnTo>
                  <a:lnTo>
                    <a:pt x="380" y="447"/>
                  </a:lnTo>
                  <a:lnTo>
                    <a:pt x="380" y="465"/>
                  </a:lnTo>
                  <a:lnTo>
                    <a:pt x="421" y="484"/>
                  </a:lnTo>
                  <a:lnTo>
                    <a:pt x="421" y="501"/>
                  </a:lnTo>
                  <a:lnTo>
                    <a:pt x="400" y="518"/>
                  </a:lnTo>
                  <a:lnTo>
                    <a:pt x="380" y="538"/>
                  </a:lnTo>
                  <a:lnTo>
                    <a:pt x="361" y="555"/>
                  </a:lnTo>
                  <a:lnTo>
                    <a:pt x="340" y="574"/>
                  </a:lnTo>
                  <a:lnTo>
                    <a:pt x="340" y="591"/>
                  </a:lnTo>
                  <a:lnTo>
                    <a:pt x="361" y="607"/>
                  </a:lnTo>
                  <a:lnTo>
                    <a:pt x="361" y="626"/>
                  </a:lnTo>
                  <a:lnTo>
                    <a:pt x="340" y="626"/>
                  </a:lnTo>
                  <a:lnTo>
                    <a:pt x="321" y="643"/>
                  </a:lnTo>
                  <a:lnTo>
                    <a:pt x="300" y="643"/>
                  </a:lnTo>
                  <a:lnTo>
                    <a:pt x="281" y="660"/>
                  </a:lnTo>
                  <a:lnTo>
                    <a:pt x="261" y="680"/>
                  </a:lnTo>
                  <a:lnTo>
                    <a:pt x="240" y="697"/>
                  </a:lnTo>
                  <a:lnTo>
                    <a:pt x="240" y="680"/>
                  </a:lnTo>
                  <a:lnTo>
                    <a:pt x="240" y="643"/>
                  </a:lnTo>
                  <a:lnTo>
                    <a:pt x="221" y="626"/>
                  </a:lnTo>
                  <a:lnTo>
                    <a:pt x="221" y="607"/>
                  </a:lnTo>
                  <a:lnTo>
                    <a:pt x="200" y="591"/>
                  </a:lnTo>
                  <a:lnTo>
                    <a:pt x="200" y="574"/>
                  </a:lnTo>
                  <a:lnTo>
                    <a:pt x="181" y="574"/>
                  </a:lnTo>
                  <a:lnTo>
                    <a:pt x="181" y="555"/>
                  </a:lnTo>
                  <a:lnTo>
                    <a:pt x="181" y="538"/>
                  </a:lnTo>
                  <a:lnTo>
                    <a:pt x="181" y="518"/>
                  </a:lnTo>
                  <a:close/>
                </a:path>
              </a:pathLst>
            </a:custGeom>
            <a:solidFill>
              <a:srgbClr val="C0C0C0"/>
            </a:solidFill>
            <a:ln w="9525">
              <a:solidFill>
                <a:srgbClr val="C0C0C0"/>
              </a:solidFill>
              <a:round/>
              <a:headEnd/>
              <a:tailEnd/>
            </a:ln>
          </p:spPr>
          <p:txBody>
            <a:bodyPr/>
            <a:lstStyle/>
            <a:p>
              <a:endParaRPr lang="en-US"/>
            </a:p>
          </p:txBody>
        </p:sp>
        <p:sp>
          <p:nvSpPr>
            <p:cNvPr id="9415" name="Freeform 106"/>
            <p:cNvSpPr>
              <a:spLocks/>
            </p:cNvSpPr>
            <p:nvPr/>
          </p:nvSpPr>
          <p:spPr bwMode="auto">
            <a:xfrm>
              <a:off x="3220" y="1357"/>
              <a:ext cx="2642" cy="867"/>
            </a:xfrm>
            <a:custGeom>
              <a:avLst/>
              <a:gdLst>
                <a:gd name="T0" fmla="*/ 1 w 5283"/>
                <a:gd name="T1" fmla="*/ 0 h 1735"/>
                <a:gd name="T2" fmla="*/ 1 w 5283"/>
                <a:gd name="T3" fmla="*/ 0 h 1735"/>
                <a:gd name="T4" fmla="*/ 1 w 5283"/>
                <a:gd name="T5" fmla="*/ 0 h 1735"/>
                <a:gd name="T6" fmla="*/ 1 w 5283"/>
                <a:gd name="T7" fmla="*/ 0 h 1735"/>
                <a:gd name="T8" fmla="*/ 1 w 5283"/>
                <a:gd name="T9" fmla="*/ 0 h 1735"/>
                <a:gd name="T10" fmla="*/ 1 w 5283"/>
                <a:gd name="T11" fmla="*/ 0 h 1735"/>
                <a:gd name="T12" fmla="*/ 1 w 5283"/>
                <a:gd name="T13" fmla="*/ 0 h 1735"/>
                <a:gd name="T14" fmla="*/ 1 w 5283"/>
                <a:gd name="T15" fmla="*/ 0 h 1735"/>
                <a:gd name="T16" fmla="*/ 1 w 5283"/>
                <a:gd name="T17" fmla="*/ 0 h 1735"/>
                <a:gd name="T18" fmla="*/ 1 w 5283"/>
                <a:gd name="T19" fmla="*/ 0 h 1735"/>
                <a:gd name="T20" fmla="*/ 1 w 5283"/>
                <a:gd name="T21" fmla="*/ 0 h 1735"/>
                <a:gd name="T22" fmla="*/ 1 w 5283"/>
                <a:gd name="T23" fmla="*/ 0 h 1735"/>
                <a:gd name="T24" fmla="*/ 1 w 5283"/>
                <a:gd name="T25" fmla="*/ 0 h 1735"/>
                <a:gd name="T26" fmla="*/ 1 w 5283"/>
                <a:gd name="T27" fmla="*/ 0 h 1735"/>
                <a:gd name="T28" fmla="*/ 1 w 5283"/>
                <a:gd name="T29" fmla="*/ 0 h 1735"/>
                <a:gd name="T30" fmla="*/ 1 w 5283"/>
                <a:gd name="T31" fmla="*/ 0 h 1735"/>
                <a:gd name="T32" fmla="*/ 1 w 5283"/>
                <a:gd name="T33" fmla="*/ 0 h 1735"/>
                <a:gd name="T34" fmla="*/ 1 w 5283"/>
                <a:gd name="T35" fmla="*/ 0 h 1735"/>
                <a:gd name="T36" fmla="*/ 1 w 5283"/>
                <a:gd name="T37" fmla="*/ 0 h 1735"/>
                <a:gd name="T38" fmla="*/ 1 w 5283"/>
                <a:gd name="T39" fmla="*/ 0 h 1735"/>
                <a:gd name="T40" fmla="*/ 1 w 5283"/>
                <a:gd name="T41" fmla="*/ 0 h 1735"/>
                <a:gd name="T42" fmla="*/ 1 w 5283"/>
                <a:gd name="T43" fmla="*/ 0 h 1735"/>
                <a:gd name="T44" fmla="*/ 1 w 5283"/>
                <a:gd name="T45" fmla="*/ 0 h 1735"/>
                <a:gd name="T46" fmla="*/ 1 w 5283"/>
                <a:gd name="T47" fmla="*/ 0 h 1735"/>
                <a:gd name="T48" fmla="*/ 1 w 5283"/>
                <a:gd name="T49" fmla="*/ 0 h 1735"/>
                <a:gd name="T50" fmla="*/ 1 w 5283"/>
                <a:gd name="T51" fmla="*/ 0 h 1735"/>
                <a:gd name="T52" fmla="*/ 1 w 5283"/>
                <a:gd name="T53" fmla="*/ 0 h 1735"/>
                <a:gd name="T54" fmla="*/ 1 w 5283"/>
                <a:gd name="T55" fmla="*/ 0 h 1735"/>
                <a:gd name="T56" fmla="*/ 1 w 5283"/>
                <a:gd name="T57" fmla="*/ 0 h 1735"/>
                <a:gd name="T58" fmla="*/ 1 w 5283"/>
                <a:gd name="T59" fmla="*/ 0 h 1735"/>
                <a:gd name="T60" fmla="*/ 1 w 5283"/>
                <a:gd name="T61" fmla="*/ 0 h 1735"/>
                <a:gd name="T62" fmla="*/ 1 w 5283"/>
                <a:gd name="T63" fmla="*/ 0 h 1735"/>
                <a:gd name="T64" fmla="*/ 1 w 5283"/>
                <a:gd name="T65" fmla="*/ 0 h 1735"/>
                <a:gd name="T66" fmla="*/ 1 w 5283"/>
                <a:gd name="T67" fmla="*/ 0 h 1735"/>
                <a:gd name="T68" fmla="*/ 1 w 5283"/>
                <a:gd name="T69" fmla="*/ 0 h 1735"/>
                <a:gd name="T70" fmla="*/ 1 w 5283"/>
                <a:gd name="T71" fmla="*/ 0 h 1735"/>
                <a:gd name="T72" fmla="*/ 1 w 5283"/>
                <a:gd name="T73" fmla="*/ 0 h 1735"/>
                <a:gd name="T74" fmla="*/ 1 w 5283"/>
                <a:gd name="T75" fmla="*/ 0 h 1735"/>
                <a:gd name="T76" fmla="*/ 1 w 5283"/>
                <a:gd name="T77" fmla="*/ 0 h 1735"/>
                <a:gd name="T78" fmla="*/ 1 w 5283"/>
                <a:gd name="T79" fmla="*/ 0 h 1735"/>
                <a:gd name="T80" fmla="*/ 1 w 5283"/>
                <a:gd name="T81" fmla="*/ 0 h 1735"/>
                <a:gd name="T82" fmla="*/ 1 w 5283"/>
                <a:gd name="T83" fmla="*/ 0 h 1735"/>
                <a:gd name="T84" fmla="*/ 1 w 5283"/>
                <a:gd name="T85" fmla="*/ 0 h 1735"/>
                <a:gd name="T86" fmla="*/ 1 w 5283"/>
                <a:gd name="T87" fmla="*/ 0 h 1735"/>
                <a:gd name="T88" fmla="*/ 1 w 5283"/>
                <a:gd name="T89" fmla="*/ 0 h 1735"/>
                <a:gd name="T90" fmla="*/ 1 w 5283"/>
                <a:gd name="T91" fmla="*/ 0 h 1735"/>
                <a:gd name="T92" fmla="*/ 1 w 5283"/>
                <a:gd name="T93" fmla="*/ 0 h 1735"/>
                <a:gd name="T94" fmla="*/ 1 w 5283"/>
                <a:gd name="T95" fmla="*/ 0 h 1735"/>
                <a:gd name="T96" fmla="*/ 1 w 5283"/>
                <a:gd name="T97" fmla="*/ 0 h 1735"/>
                <a:gd name="T98" fmla="*/ 1 w 5283"/>
                <a:gd name="T99" fmla="*/ 0 h 1735"/>
                <a:gd name="T100" fmla="*/ 1 w 5283"/>
                <a:gd name="T101" fmla="*/ 0 h 1735"/>
                <a:gd name="T102" fmla="*/ 1 w 5283"/>
                <a:gd name="T103" fmla="*/ 0 h 1735"/>
                <a:gd name="T104" fmla="*/ 1 w 5283"/>
                <a:gd name="T105" fmla="*/ 0 h 1735"/>
                <a:gd name="T106" fmla="*/ 1 w 5283"/>
                <a:gd name="T107" fmla="*/ 0 h 1735"/>
                <a:gd name="T108" fmla="*/ 1 w 5283"/>
                <a:gd name="T109" fmla="*/ 0 h 1735"/>
                <a:gd name="T110" fmla="*/ 1 w 5283"/>
                <a:gd name="T111" fmla="*/ 0 h 1735"/>
                <a:gd name="T112" fmla="*/ 1 w 5283"/>
                <a:gd name="T113" fmla="*/ 0 h 173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283"/>
                <a:gd name="T172" fmla="*/ 0 h 1735"/>
                <a:gd name="T173" fmla="*/ 5283 w 5283"/>
                <a:gd name="T174" fmla="*/ 1735 h 173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283" h="1735">
                  <a:moveTo>
                    <a:pt x="3457" y="1486"/>
                  </a:moveTo>
                  <a:lnTo>
                    <a:pt x="3497" y="1486"/>
                  </a:lnTo>
                  <a:lnTo>
                    <a:pt x="3536" y="1505"/>
                  </a:lnTo>
                  <a:lnTo>
                    <a:pt x="3576" y="1486"/>
                  </a:lnTo>
                  <a:lnTo>
                    <a:pt x="3597" y="1468"/>
                  </a:lnTo>
                  <a:lnTo>
                    <a:pt x="3637" y="1415"/>
                  </a:lnTo>
                  <a:lnTo>
                    <a:pt x="3657" y="1378"/>
                  </a:lnTo>
                  <a:lnTo>
                    <a:pt x="3697" y="1342"/>
                  </a:lnTo>
                  <a:lnTo>
                    <a:pt x="3716" y="1325"/>
                  </a:lnTo>
                  <a:lnTo>
                    <a:pt x="3737" y="1290"/>
                  </a:lnTo>
                  <a:lnTo>
                    <a:pt x="3737" y="1273"/>
                  </a:lnTo>
                  <a:lnTo>
                    <a:pt x="3737" y="1236"/>
                  </a:lnTo>
                  <a:lnTo>
                    <a:pt x="3756" y="1236"/>
                  </a:lnTo>
                  <a:lnTo>
                    <a:pt x="3756" y="1200"/>
                  </a:lnTo>
                  <a:lnTo>
                    <a:pt x="3776" y="1182"/>
                  </a:lnTo>
                  <a:lnTo>
                    <a:pt x="3776" y="1165"/>
                  </a:lnTo>
                  <a:lnTo>
                    <a:pt x="3776" y="1146"/>
                  </a:lnTo>
                  <a:lnTo>
                    <a:pt x="3756" y="1110"/>
                  </a:lnTo>
                  <a:lnTo>
                    <a:pt x="3737" y="1092"/>
                  </a:lnTo>
                  <a:lnTo>
                    <a:pt x="3716" y="1075"/>
                  </a:lnTo>
                  <a:lnTo>
                    <a:pt x="3657" y="1092"/>
                  </a:lnTo>
                  <a:lnTo>
                    <a:pt x="3616" y="1075"/>
                  </a:lnTo>
                  <a:lnTo>
                    <a:pt x="3597" y="1056"/>
                  </a:lnTo>
                  <a:lnTo>
                    <a:pt x="3637" y="1021"/>
                  </a:lnTo>
                  <a:lnTo>
                    <a:pt x="3657" y="985"/>
                  </a:lnTo>
                  <a:lnTo>
                    <a:pt x="3697" y="966"/>
                  </a:lnTo>
                  <a:lnTo>
                    <a:pt x="3737" y="933"/>
                  </a:lnTo>
                  <a:lnTo>
                    <a:pt x="3776" y="897"/>
                  </a:lnTo>
                  <a:lnTo>
                    <a:pt x="3816" y="879"/>
                  </a:lnTo>
                  <a:lnTo>
                    <a:pt x="3877" y="879"/>
                  </a:lnTo>
                  <a:lnTo>
                    <a:pt x="3958" y="879"/>
                  </a:lnTo>
                  <a:lnTo>
                    <a:pt x="4019" y="860"/>
                  </a:lnTo>
                  <a:lnTo>
                    <a:pt x="4058" y="879"/>
                  </a:lnTo>
                  <a:lnTo>
                    <a:pt x="4098" y="879"/>
                  </a:lnTo>
                  <a:lnTo>
                    <a:pt x="4119" y="879"/>
                  </a:lnTo>
                  <a:lnTo>
                    <a:pt x="4138" y="879"/>
                  </a:lnTo>
                  <a:lnTo>
                    <a:pt x="4158" y="879"/>
                  </a:lnTo>
                  <a:lnTo>
                    <a:pt x="4179" y="879"/>
                  </a:lnTo>
                  <a:lnTo>
                    <a:pt x="4198" y="824"/>
                  </a:lnTo>
                  <a:lnTo>
                    <a:pt x="4238" y="789"/>
                  </a:lnTo>
                  <a:lnTo>
                    <a:pt x="4298" y="770"/>
                  </a:lnTo>
                  <a:lnTo>
                    <a:pt x="4338" y="770"/>
                  </a:lnTo>
                  <a:lnTo>
                    <a:pt x="4380" y="770"/>
                  </a:lnTo>
                  <a:lnTo>
                    <a:pt x="4359" y="789"/>
                  </a:lnTo>
                  <a:lnTo>
                    <a:pt x="4359" y="806"/>
                  </a:lnTo>
                  <a:lnTo>
                    <a:pt x="4380" y="806"/>
                  </a:lnTo>
                  <a:lnTo>
                    <a:pt x="4401" y="806"/>
                  </a:lnTo>
                  <a:lnTo>
                    <a:pt x="4461" y="753"/>
                  </a:lnTo>
                  <a:lnTo>
                    <a:pt x="4480" y="753"/>
                  </a:lnTo>
                  <a:lnTo>
                    <a:pt x="4501" y="770"/>
                  </a:lnTo>
                  <a:lnTo>
                    <a:pt x="4461" y="806"/>
                  </a:lnTo>
                  <a:lnTo>
                    <a:pt x="4421" y="824"/>
                  </a:lnTo>
                  <a:lnTo>
                    <a:pt x="4401" y="824"/>
                  </a:lnTo>
                  <a:lnTo>
                    <a:pt x="4380" y="843"/>
                  </a:lnTo>
                  <a:lnTo>
                    <a:pt x="4338" y="879"/>
                  </a:lnTo>
                  <a:lnTo>
                    <a:pt x="4338" y="914"/>
                  </a:lnTo>
                  <a:lnTo>
                    <a:pt x="4298" y="933"/>
                  </a:lnTo>
                  <a:lnTo>
                    <a:pt x="4259" y="950"/>
                  </a:lnTo>
                  <a:lnTo>
                    <a:pt x="4238" y="966"/>
                  </a:lnTo>
                  <a:lnTo>
                    <a:pt x="4219" y="1002"/>
                  </a:lnTo>
                  <a:lnTo>
                    <a:pt x="4238" y="1056"/>
                  </a:lnTo>
                  <a:lnTo>
                    <a:pt x="4259" y="1129"/>
                  </a:lnTo>
                  <a:lnTo>
                    <a:pt x="4259" y="1182"/>
                  </a:lnTo>
                  <a:lnTo>
                    <a:pt x="4298" y="1146"/>
                  </a:lnTo>
                  <a:lnTo>
                    <a:pt x="4319" y="1110"/>
                  </a:lnTo>
                  <a:lnTo>
                    <a:pt x="4359" y="1092"/>
                  </a:lnTo>
                  <a:lnTo>
                    <a:pt x="4359" y="1056"/>
                  </a:lnTo>
                  <a:lnTo>
                    <a:pt x="4401" y="1056"/>
                  </a:lnTo>
                  <a:lnTo>
                    <a:pt x="4401" y="1039"/>
                  </a:lnTo>
                  <a:lnTo>
                    <a:pt x="4401" y="1002"/>
                  </a:lnTo>
                  <a:lnTo>
                    <a:pt x="4421" y="985"/>
                  </a:lnTo>
                  <a:lnTo>
                    <a:pt x="4440" y="985"/>
                  </a:lnTo>
                  <a:lnTo>
                    <a:pt x="4440" y="966"/>
                  </a:lnTo>
                  <a:lnTo>
                    <a:pt x="4440" y="950"/>
                  </a:lnTo>
                  <a:lnTo>
                    <a:pt x="4440" y="933"/>
                  </a:lnTo>
                  <a:lnTo>
                    <a:pt x="4461" y="879"/>
                  </a:lnTo>
                  <a:lnTo>
                    <a:pt x="4521" y="843"/>
                  </a:lnTo>
                  <a:lnTo>
                    <a:pt x="4542" y="824"/>
                  </a:lnTo>
                  <a:lnTo>
                    <a:pt x="4580" y="824"/>
                  </a:lnTo>
                  <a:lnTo>
                    <a:pt x="4601" y="843"/>
                  </a:lnTo>
                  <a:lnTo>
                    <a:pt x="4620" y="860"/>
                  </a:lnTo>
                  <a:lnTo>
                    <a:pt x="4661" y="843"/>
                  </a:lnTo>
                  <a:lnTo>
                    <a:pt x="4720" y="824"/>
                  </a:lnTo>
                  <a:lnTo>
                    <a:pt x="4760" y="806"/>
                  </a:lnTo>
                  <a:lnTo>
                    <a:pt x="4782" y="770"/>
                  </a:lnTo>
                  <a:lnTo>
                    <a:pt x="4841" y="753"/>
                  </a:lnTo>
                  <a:lnTo>
                    <a:pt x="4862" y="753"/>
                  </a:lnTo>
                  <a:lnTo>
                    <a:pt x="4924" y="735"/>
                  </a:lnTo>
                  <a:lnTo>
                    <a:pt x="4962" y="735"/>
                  </a:lnTo>
                  <a:lnTo>
                    <a:pt x="4943" y="716"/>
                  </a:lnTo>
                  <a:lnTo>
                    <a:pt x="4924" y="699"/>
                  </a:lnTo>
                  <a:lnTo>
                    <a:pt x="4924" y="680"/>
                  </a:lnTo>
                  <a:lnTo>
                    <a:pt x="4903" y="680"/>
                  </a:lnTo>
                  <a:lnTo>
                    <a:pt x="4924" y="645"/>
                  </a:lnTo>
                  <a:lnTo>
                    <a:pt x="4962" y="645"/>
                  </a:lnTo>
                  <a:lnTo>
                    <a:pt x="4983" y="626"/>
                  </a:lnTo>
                  <a:lnTo>
                    <a:pt x="4983" y="609"/>
                  </a:lnTo>
                  <a:lnTo>
                    <a:pt x="4983" y="593"/>
                  </a:lnTo>
                  <a:lnTo>
                    <a:pt x="5002" y="593"/>
                  </a:lnTo>
                  <a:lnTo>
                    <a:pt x="5043" y="609"/>
                  </a:lnTo>
                  <a:lnTo>
                    <a:pt x="5102" y="645"/>
                  </a:lnTo>
                  <a:lnTo>
                    <a:pt x="5123" y="645"/>
                  </a:lnTo>
                  <a:lnTo>
                    <a:pt x="5183" y="662"/>
                  </a:lnTo>
                  <a:lnTo>
                    <a:pt x="5183" y="645"/>
                  </a:lnTo>
                  <a:lnTo>
                    <a:pt x="5202" y="645"/>
                  </a:lnTo>
                  <a:lnTo>
                    <a:pt x="5202" y="626"/>
                  </a:lnTo>
                  <a:lnTo>
                    <a:pt x="5242" y="609"/>
                  </a:lnTo>
                  <a:lnTo>
                    <a:pt x="5283" y="593"/>
                  </a:lnTo>
                  <a:lnTo>
                    <a:pt x="5242" y="574"/>
                  </a:lnTo>
                  <a:lnTo>
                    <a:pt x="5183" y="557"/>
                  </a:lnTo>
                  <a:lnTo>
                    <a:pt x="5142" y="538"/>
                  </a:lnTo>
                  <a:lnTo>
                    <a:pt x="5102" y="520"/>
                  </a:lnTo>
                  <a:lnTo>
                    <a:pt x="5043" y="503"/>
                  </a:lnTo>
                  <a:lnTo>
                    <a:pt x="5002" y="467"/>
                  </a:lnTo>
                  <a:lnTo>
                    <a:pt x="4962" y="467"/>
                  </a:lnTo>
                  <a:lnTo>
                    <a:pt x="4903" y="430"/>
                  </a:lnTo>
                  <a:lnTo>
                    <a:pt x="4841" y="413"/>
                  </a:lnTo>
                  <a:lnTo>
                    <a:pt x="4782" y="413"/>
                  </a:lnTo>
                  <a:lnTo>
                    <a:pt x="4720" y="413"/>
                  </a:lnTo>
                  <a:lnTo>
                    <a:pt x="4680" y="413"/>
                  </a:lnTo>
                  <a:lnTo>
                    <a:pt x="4661" y="413"/>
                  </a:lnTo>
                  <a:lnTo>
                    <a:pt x="4661" y="467"/>
                  </a:lnTo>
                  <a:lnTo>
                    <a:pt x="4641" y="449"/>
                  </a:lnTo>
                  <a:lnTo>
                    <a:pt x="4620" y="430"/>
                  </a:lnTo>
                  <a:lnTo>
                    <a:pt x="4601" y="413"/>
                  </a:lnTo>
                  <a:lnTo>
                    <a:pt x="4580" y="413"/>
                  </a:lnTo>
                  <a:lnTo>
                    <a:pt x="4480" y="413"/>
                  </a:lnTo>
                  <a:lnTo>
                    <a:pt x="4401" y="413"/>
                  </a:lnTo>
                  <a:lnTo>
                    <a:pt x="4359" y="413"/>
                  </a:lnTo>
                  <a:lnTo>
                    <a:pt x="4338" y="376"/>
                  </a:lnTo>
                  <a:lnTo>
                    <a:pt x="4298" y="359"/>
                  </a:lnTo>
                  <a:lnTo>
                    <a:pt x="4238" y="359"/>
                  </a:lnTo>
                  <a:lnTo>
                    <a:pt x="4198" y="359"/>
                  </a:lnTo>
                  <a:lnTo>
                    <a:pt x="4138" y="359"/>
                  </a:lnTo>
                  <a:lnTo>
                    <a:pt x="4119" y="359"/>
                  </a:lnTo>
                  <a:lnTo>
                    <a:pt x="4098" y="323"/>
                  </a:lnTo>
                  <a:lnTo>
                    <a:pt x="4079" y="305"/>
                  </a:lnTo>
                  <a:lnTo>
                    <a:pt x="4058" y="305"/>
                  </a:lnTo>
                  <a:lnTo>
                    <a:pt x="3998" y="286"/>
                  </a:lnTo>
                  <a:lnTo>
                    <a:pt x="3939" y="269"/>
                  </a:lnTo>
                  <a:lnTo>
                    <a:pt x="3899" y="269"/>
                  </a:lnTo>
                  <a:lnTo>
                    <a:pt x="3837" y="269"/>
                  </a:lnTo>
                  <a:lnTo>
                    <a:pt x="3776" y="286"/>
                  </a:lnTo>
                  <a:lnTo>
                    <a:pt x="3737" y="305"/>
                  </a:lnTo>
                  <a:lnTo>
                    <a:pt x="3737" y="340"/>
                  </a:lnTo>
                  <a:lnTo>
                    <a:pt x="3657" y="340"/>
                  </a:lnTo>
                  <a:lnTo>
                    <a:pt x="3597" y="340"/>
                  </a:lnTo>
                  <a:lnTo>
                    <a:pt x="3557" y="340"/>
                  </a:lnTo>
                  <a:lnTo>
                    <a:pt x="3536" y="340"/>
                  </a:lnTo>
                  <a:lnTo>
                    <a:pt x="3517" y="323"/>
                  </a:lnTo>
                  <a:lnTo>
                    <a:pt x="3476" y="323"/>
                  </a:lnTo>
                  <a:lnTo>
                    <a:pt x="3476" y="340"/>
                  </a:lnTo>
                  <a:lnTo>
                    <a:pt x="3457" y="359"/>
                  </a:lnTo>
                  <a:lnTo>
                    <a:pt x="3417" y="359"/>
                  </a:lnTo>
                  <a:lnTo>
                    <a:pt x="3394" y="323"/>
                  </a:lnTo>
                  <a:lnTo>
                    <a:pt x="3394" y="286"/>
                  </a:lnTo>
                  <a:lnTo>
                    <a:pt x="3394" y="269"/>
                  </a:lnTo>
                  <a:lnTo>
                    <a:pt x="3394" y="250"/>
                  </a:lnTo>
                  <a:lnTo>
                    <a:pt x="3394" y="234"/>
                  </a:lnTo>
                  <a:lnTo>
                    <a:pt x="3334" y="234"/>
                  </a:lnTo>
                  <a:lnTo>
                    <a:pt x="3254" y="217"/>
                  </a:lnTo>
                  <a:lnTo>
                    <a:pt x="3234" y="217"/>
                  </a:lnTo>
                  <a:lnTo>
                    <a:pt x="3215" y="234"/>
                  </a:lnTo>
                  <a:lnTo>
                    <a:pt x="3194" y="250"/>
                  </a:lnTo>
                  <a:lnTo>
                    <a:pt x="3175" y="250"/>
                  </a:lnTo>
                  <a:lnTo>
                    <a:pt x="3115" y="250"/>
                  </a:lnTo>
                  <a:lnTo>
                    <a:pt x="3075" y="250"/>
                  </a:lnTo>
                  <a:lnTo>
                    <a:pt x="3054" y="234"/>
                  </a:lnTo>
                  <a:lnTo>
                    <a:pt x="2994" y="234"/>
                  </a:lnTo>
                  <a:lnTo>
                    <a:pt x="2935" y="234"/>
                  </a:lnTo>
                  <a:lnTo>
                    <a:pt x="2852" y="198"/>
                  </a:lnTo>
                  <a:lnTo>
                    <a:pt x="2833" y="181"/>
                  </a:lnTo>
                  <a:lnTo>
                    <a:pt x="2753" y="234"/>
                  </a:lnTo>
                  <a:lnTo>
                    <a:pt x="2731" y="234"/>
                  </a:lnTo>
                  <a:lnTo>
                    <a:pt x="2731" y="217"/>
                  </a:lnTo>
                  <a:lnTo>
                    <a:pt x="2753" y="217"/>
                  </a:lnTo>
                  <a:lnTo>
                    <a:pt x="2793" y="198"/>
                  </a:lnTo>
                  <a:lnTo>
                    <a:pt x="2793" y="181"/>
                  </a:lnTo>
                  <a:lnTo>
                    <a:pt x="2833" y="181"/>
                  </a:lnTo>
                  <a:lnTo>
                    <a:pt x="2852" y="163"/>
                  </a:lnTo>
                  <a:lnTo>
                    <a:pt x="2893" y="144"/>
                  </a:lnTo>
                  <a:lnTo>
                    <a:pt x="2912" y="127"/>
                  </a:lnTo>
                  <a:lnTo>
                    <a:pt x="2935" y="127"/>
                  </a:lnTo>
                  <a:lnTo>
                    <a:pt x="2935" y="110"/>
                  </a:lnTo>
                  <a:lnTo>
                    <a:pt x="2935" y="90"/>
                  </a:lnTo>
                  <a:lnTo>
                    <a:pt x="2893" y="73"/>
                  </a:lnTo>
                  <a:lnTo>
                    <a:pt x="2852" y="54"/>
                  </a:lnTo>
                  <a:lnTo>
                    <a:pt x="2812" y="54"/>
                  </a:lnTo>
                  <a:lnTo>
                    <a:pt x="2793" y="54"/>
                  </a:lnTo>
                  <a:lnTo>
                    <a:pt x="2731" y="54"/>
                  </a:lnTo>
                  <a:lnTo>
                    <a:pt x="2712" y="54"/>
                  </a:lnTo>
                  <a:lnTo>
                    <a:pt x="2693" y="19"/>
                  </a:lnTo>
                  <a:lnTo>
                    <a:pt x="2672" y="0"/>
                  </a:lnTo>
                  <a:lnTo>
                    <a:pt x="2612" y="0"/>
                  </a:lnTo>
                  <a:lnTo>
                    <a:pt x="2572" y="0"/>
                  </a:lnTo>
                  <a:lnTo>
                    <a:pt x="2532" y="37"/>
                  </a:lnTo>
                  <a:lnTo>
                    <a:pt x="2513" y="54"/>
                  </a:lnTo>
                  <a:lnTo>
                    <a:pt x="2472" y="73"/>
                  </a:lnTo>
                  <a:lnTo>
                    <a:pt x="2430" y="90"/>
                  </a:lnTo>
                  <a:lnTo>
                    <a:pt x="2370" y="90"/>
                  </a:lnTo>
                  <a:lnTo>
                    <a:pt x="2349" y="73"/>
                  </a:lnTo>
                  <a:lnTo>
                    <a:pt x="2330" y="73"/>
                  </a:lnTo>
                  <a:lnTo>
                    <a:pt x="2290" y="90"/>
                  </a:lnTo>
                  <a:lnTo>
                    <a:pt x="2230" y="110"/>
                  </a:lnTo>
                  <a:lnTo>
                    <a:pt x="2171" y="127"/>
                  </a:lnTo>
                  <a:lnTo>
                    <a:pt x="2109" y="163"/>
                  </a:lnTo>
                  <a:lnTo>
                    <a:pt x="2090" y="181"/>
                  </a:lnTo>
                  <a:lnTo>
                    <a:pt x="2090" y="198"/>
                  </a:lnTo>
                  <a:lnTo>
                    <a:pt x="2071" y="217"/>
                  </a:lnTo>
                  <a:lnTo>
                    <a:pt x="2010" y="217"/>
                  </a:lnTo>
                  <a:lnTo>
                    <a:pt x="1969" y="217"/>
                  </a:lnTo>
                  <a:lnTo>
                    <a:pt x="1908" y="234"/>
                  </a:lnTo>
                  <a:lnTo>
                    <a:pt x="1889" y="250"/>
                  </a:lnTo>
                  <a:lnTo>
                    <a:pt x="1889" y="269"/>
                  </a:lnTo>
                  <a:lnTo>
                    <a:pt x="1889" y="286"/>
                  </a:lnTo>
                  <a:lnTo>
                    <a:pt x="1908" y="305"/>
                  </a:lnTo>
                  <a:lnTo>
                    <a:pt x="1889" y="305"/>
                  </a:lnTo>
                  <a:lnTo>
                    <a:pt x="1848" y="305"/>
                  </a:lnTo>
                  <a:lnTo>
                    <a:pt x="1808" y="305"/>
                  </a:lnTo>
                  <a:lnTo>
                    <a:pt x="1749" y="323"/>
                  </a:lnTo>
                  <a:lnTo>
                    <a:pt x="1749" y="305"/>
                  </a:lnTo>
                  <a:lnTo>
                    <a:pt x="1749" y="286"/>
                  </a:lnTo>
                  <a:lnTo>
                    <a:pt x="1727" y="269"/>
                  </a:lnTo>
                  <a:lnTo>
                    <a:pt x="1708" y="305"/>
                  </a:lnTo>
                  <a:lnTo>
                    <a:pt x="1689" y="305"/>
                  </a:lnTo>
                  <a:lnTo>
                    <a:pt x="1668" y="323"/>
                  </a:lnTo>
                  <a:lnTo>
                    <a:pt x="1689" y="359"/>
                  </a:lnTo>
                  <a:lnTo>
                    <a:pt x="1689" y="376"/>
                  </a:lnTo>
                  <a:lnTo>
                    <a:pt x="1689" y="413"/>
                  </a:lnTo>
                  <a:lnTo>
                    <a:pt x="1689" y="449"/>
                  </a:lnTo>
                  <a:lnTo>
                    <a:pt x="1708" y="484"/>
                  </a:lnTo>
                  <a:lnTo>
                    <a:pt x="1689" y="503"/>
                  </a:lnTo>
                  <a:lnTo>
                    <a:pt x="1668" y="484"/>
                  </a:lnTo>
                  <a:lnTo>
                    <a:pt x="1649" y="430"/>
                  </a:lnTo>
                  <a:lnTo>
                    <a:pt x="1649" y="359"/>
                  </a:lnTo>
                  <a:lnTo>
                    <a:pt x="1649" y="323"/>
                  </a:lnTo>
                  <a:lnTo>
                    <a:pt x="1649" y="305"/>
                  </a:lnTo>
                  <a:lnTo>
                    <a:pt x="1668" y="286"/>
                  </a:lnTo>
                  <a:lnTo>
                    <a:pt x="1608" y="269"/>
                  </a:lnTo>
                  <a:lnTo>
                    <a:pt x="1549" y="286"/>
                  </a:lnTo>
                  <a:lnTo>
                    <a:pt x="1487" y="323"/>
                  </a:lnTo>
                  <a:lnTo>
                    <a:pt x="1487" y="359"/>
                  </a:lnTo>
                  <a:lnTo>
                    <a:pt x="1487" y="413"/>
                  </a:lnTo>
                  <a:lnTo>
                    <a:pt x="1487" y="430"/>
                  </a:lnTo>
                  <a:lnTo>
                    <a:pt x="1528" y="467"/>
                  </a:lnTo>
                  <a:lnTo>
                    <a:pt x="1549" y="484"/>
                  </a:lnTo>
                  <a:lnTo>
                    <a:pt x="1528" y="484"/>
                  </a:lnTo>
                  <a:lnTo>
                    <a:pt x="1487" y="484"/>
                  </a:lnTo>
                  <a:lnTo>
                    <a:pt x="1466" y="467"/>
                  </a:lnTo>
                  <a:lnTo>
                    <a:pt x="1407" y="449"/>
                  </a:lnTo>
                  <a:lnTo>
                    <a:pt x="1386" y="430"/>
                  </a:lnTo>
                  <a:lnTo>
                    <a:pt x="1305" y="413"/>
                  </a:lnTo>
                  <a:lnTo>
                    <a:pt x="1286" y="430"/>
                  </a:lnTo>
                  <a:lnTo>
                    <a:pt x="1286" y="449"/>
                  </a:lnTo>
                  <a:lnTo>
                    <a:pt x="1286" y="467"/>
                  </a:lnTo>
                  <a:lnTo>
                    <a:pt x="1267" y="484"/>
                  </a:lnTo>
                  <a:lnTo>
                    <a:pt x="1246" y="484"/>
                  </a:lnTo>
                  <a:lnTo>
                    <a:pt x="1205" y="467"/>
                  </a:lnTo>
                  <a:lnTo>
                    <a:pt x="1167" y="467"/>
                  </a:lnTo>
                  <a:lnTo>
                    <a:pt x="1127" y="484"/>
                  </a:lnTo>
                  <a:lnTo>
                    <a:pt x="1065" y="484"/>
                  </a:lnTo>
                  <a:lnTo>
                    <a:pt x="1046" y="467"/>
                  </a:lnTo>
                  <a:lnTo>
                    <a:pt x="1006" y="484"/>
                  </a:lnTo>
                  <a:lnTo>
                    <a:pt x="944" y="503"/>
                  </a:lnTo>
                  <a:lnTo>
                    <a:pt x="904" y="538"/>
                  </a:lnTo>
                  <a:lnTo>
                    <a:pt x="864" y="557"/>
                  </a:lnTo>
                  <a:lnTo>
                    <a:pt x="823" y="557"/>
                  </a:lnTo>
                  <a:lnTo>
                    <a:pt x="804" y="557"/>
                  </a:lnTo>
                  <a:lnTo>
                    <a:pt x="804" y="538"/>
                  </a:lnTo>
                  <a:lnTo>
                    <a:pt x="804" y="520"/>
                  </a:lnTo>
                  <a:lnTo>
                    <a:pt x="804" y="484"/>
                  </a:lnTo>
                  <a:lnTo>
                    <a:pt x="804" y="467"/>
                  </a:lnTo>
                  <a:lnTo>
                    <a:pt x="785" y="484"/>
                  </a:lnTo>
                  <a:lnTo>
                    <a:pt x="745" y="538"/>
                  </a:lnTo>
                  <a:lnTo>
                    <a:pt x="745" y="557"/>
                  </a:lnTo>
                  <a:lnTo>
                    <a:pt x="764" y="557"/>
                  </a:lnTo>
                  <a:lnTo>
                    <a:pt x="764" y="574"/>
                  </a:lnTo>
                  <a:lnTo>
                    <a:pt x="745" y="593"/>
                  </a:lnTo>
                  <a:lnTo>
                    <a:pt x="723" y="593"/>
                  </a:lnTo>
                  <a:lnTo>
                    <a:pt x="683" y="593"/>
                  </a:lnTo>
                  <a:lnTo>
                    <a:pt x="683" y="609"/>
                  </a:lnTo>
                  <a:lnTo>
                    <a:pt x="664" y="626"/>
                  </a:lnTo>
                  <a:lnTo>
                    <a:pt x="645" y="645"/>
                  </a:lnTo>
                  <a:lnTo>
                    <a:pt x="604" y="645"/>
                  </a:lnTo>
                  <a:lnTo>
                    <a:pt x="543" y="645"/>
                  </a:lnTo>
                  <a:lnTo>
                    <a:pt x="543" y="662"/>
                  </a:lnTo>
                  <a:lnTo>
                    <a:pt x="543" y="680"/>
                  </a:lnTo>
                  <a:lnTo>
                    <a:pt x="503" y="645"/>
                  </a:lnTo>
                  <a:lnTo>
                    <a:pt x="482" y="626"/>
                  </a:lnTo>
                  <a:lnTo>
                    <a:pt x="462" y="593"/>
                  </a:lnTo>
                  <a:lnTo>
                    <a:pt x="503" y="593"/>
                  </a:lnTo>
                  <a:lnTo>
                    <a:pt x="543" y="593"/>
                  </a:lnTo>
                  <a:lnTo>
                    <a:pt x="583" y="593"/>
                  </a:lnTo>
                  <a:lnTo>
                    <a:pt x="604" y="609"/>
                  </a:lnTo>
                  <a:lnTo>
                    <a:pt x="624" y="593"/>
                  </a:lnTo>
                  <a:lnTo>
                    <a:pt x="664" y="593"/>
                  </a:lnTo>
                  <a:lnTo>
                    <a:pt x="683" y="574"/>
                  </a:lnTo>
                  <a:lnTo>
                    <a:pt x="683" y="557"/>
                  </a:lnTo>
                  <a:lnTo>
                    <a:pt x="664" y="538"/>
                  </a:lnTo>
                  <a:lnTo>
                    <a:pt x="624" y="520"/>
                  </a:lnTo>
                  <a:lnTo>
                    <a:pt x="583" y="503"/>
                  </a:lnTo>
                  <a:lnTo>
                    <a:pt x="543" y="467"/>
                  </a:lnTo>
                  <a:lnTo>
                    <a:pt x="482" y="467"/>
                  </a:lnTo>
                  <a:lnTo>
                    <a:pt x="401" y="430"/>
                  </a:lnTo>
                  <a:lnTo>
                    <a:pt x="363" y="430"/>
                  </a:lnTo>
                  <a:lnTo>
                    <a:pt x="341" y="430"/>
                  </a:lnTo>
                  <a:lnTo>
                    <a:pt x="322" y="449"/>
                  </a:lnTo>
                  <a:lnTo>
                    <a:pt x="301" y="467"/>
                  </a:lnTo>
                  <a:lnTo>
                    <a:pt x="282" y="467"/>
                  </a:lnTo>
                  <a:lnTo>
                    <a:pt x="301" y="484"/>
                  </a:lnTo>
                  <a:lnTo>
                    <a:pt x="322" y="503"/>
                  </a:lnTo>
                  <a:lnTo>
                    <a:pt x="322" y="520"/>
                  </a:lnTo>
                  <a:lnTo>
                    <a:pt x="322" y="538"/>
                  </a:lnTo>
                  <a:lnTo>
                    <a:pt x="301" y="538"/>
                  </a:lnTo>
                  <a:lnTo>
                    <a:pt x="301" y="557"/>
                  </a:lnTo>
                  <a:lnTo>
                    <a:pt x="301" y="574"/>
                  </a:lnTo>
                  <a:lnTo>
                    <a:pt x="322" y="593"/>
                  </a:lnTo>
                  <a:lnTo>
                    <a:pt x="341" y="609"/>
                  </a:lnTo>
                  <a:lnTo>
                    <a:pt x="322" y="609"/>
                  </a:lnTo>
                  <a:lnTo>
                    <a:pt x="322" y="626"/>
                  </a:lnTo>
                  <a:lnTo>
                    <a:pt x="322" y="645"/>
                  </a:lnTo>
                  <a:lnTo>
                    <a:pt x="341" y="645"/>
                  </a:lnTo>
                  <a:lnTo>
                    <a:pt x="341" y="662"/>
                  </a:lnTo>
                  <a:lnTo>
                    <a:pt x="341" y="680"/>
                  </a:lnTo>
                  <a:lnTo>
                    <a:pt x="341" y="699"/>
                  </a:lnTo>
                  <a:lnTo>
                    <a:pt x="363" y="699"/>
                  </a:lnTo>
                  <a:lnTo>
                    <a:pt x="363" y="716"/>
                  </a:lnTo>
                  <a:lnTo>
                    <a:pt x="341" y="753"/>
                  </a:lnTo>
                  <a:lnTo>
                    <a:pt x="301" y="789"/>
                  </a:lnTo>
                  <a:lnTo>
                    <a:pt x="282" y="806"/>
                  </a:lnTo>
                  <a:lnTo>
                    <a:pt x="282" y="824"/>
                  </a:lnTo>
                  <a:lnTo>
                    <a:pt x="282" y="843"/>
                  </a:lnTo>
                  <a:lnTo>
                    <a:pt x="301" y="860"/>
                  </a:lnTo>
                  <a:lnTo>
                    <a:pt x="282" y="860"/>
                  </a:lnTo>
                  <a:lnTo>
                    <a:pt x="263" y="879"/>
                  </a:lnTo>
                  <a:lnTo>
                    <a:pt x="242" y="879"/>
                  </a:lnTo>
                  <a:lnTo>
                    <a:pt x="222" y="879"/>
                  </a:lnTo>
                  <a:lnTo>
                    <a:pt x="201" y="879"/>
                  </a:lnTo>
                  <a:lnTo>
                    <a:pt x="182" y="879"/>
                  </a:lnTo>
                  <a:lnTo>
                    <a:pt x="142" y="879"/>
                  </a:lnTo>
                  <a:lnTo>
                    <a:pt x="123" y="879"/>
                  </a:lnTo>
                  <a:lnTo>
                    <a:pt x="123" y="897"/>
                  </a:lnTo>
                  <a:lnTo>
                    <a:pt x="142" y="933"/>
                  </a:lnTo>
                  <a:lnTo>
                    <a:pt x="142" y="950"/>
                  </a:lnTo>
                  <a:lnTo>
                    <a:pt x="142" y="966"/>
                  </a:lnTo>
                  <a:lnTo>
                    <a:pt x="123" y="950"/>
                  </a:lnTo>
                  <a:lnTo>
                    <a:pt x="101" y="933"/>
                  </a:lnTo>
                  <a:lnTo>
                    <a:pt x="82" y="933"/>
                  </a:lnTo>
                  <a:lnTo>
                    <a:pt x="82" y="950"/>
                  </a:lnTo>
                  <a:lnTo>
                    <a:pt x="61" y="985"/>
                  </a:lnTo>
                  <a:lnTo>
                    <a:pt x="42" y="1002"/>
                  </a:lnTo>
                  <a:lnTo>
                    <a:pt x="42" y="1039"/>
                  </a:lnTo>
                  <a:lnTo>
                    <a:pt x="19" y="1056"/>
                  </a:lnTo>
                  <a:lnTo>
                    <a:pt x="0" y="1075"/>
                  </a:lnTo>
                  <a:lnTo>
                    <a:pt x="19" y="1075"/>
                  </a:lnTo>
                  <a:lnTo>
                    <a:pt x="42" y="1075"/>
                  </a:lnTo>
                  <a:lnTo>
                    <a:pt x="61" y="1075"/>
                  </a:lnTo>
                  <a:lnTo>
                    <a:pt x="82" y="1075"/>
                  </a:lnTo>
                  <a:lnTo>
                    <a:pt x="101" y="1075"/>
                  </a:lnTo>
                  <a:lnTo>
                    <a:pt x="123" y="1075"/>
                  </a:lnTo>
                  <a:lnTo>
                    <a:pt x="142" y="1110"/>
                  </a:lnTo>
                  <a:lnTo>
                    <a:pt x="142" y="1129"/>
                  </a:lnTo>
                  <a:lnTo>
                    <a:pt x="142" y="1146"/>
                  </a:lnTo>
                  <a:lnTo>
                    <a:pt x="123" y="1165"/>
                  </a:lnTo>
                  <a:lnTo>
                    <a:pt x="142" y="1165"/>
                  </a:lnTo>
                  <a:lnTo>
                    <a:pt x="142" y="1200"/>
                  </a:lnTo>
                  <a:lnTo>
                    <a:pt x="142" y="1219"/>
                  </a:lnTo>
                  <a:lnTo>
                    <a:pt x="142" y="1236"/>
                  </a:lnTo>
                  <a:lnTo>
                    <a:pt x="123" y="1236"/>
                  </a:lnTo>
                  <a:lnTo>
                    <a:pt x="101" y="1253"/>
                  </a:lnTo>
                  <a:lnTo>
                    <a:pt x="101" y="1273"/>
                  </a:lnTo>
                  <a:lnTo>
                    <a:pt x="101" y="1290"/>
                  </a:lnTo>
                  <a:lnTo>
                    <a:pt x="101" y="1309"/>
                  </a:lnTo>
                  <a:lnTo>
                    <a:pt x="142" y="1309"/>
                  </a:lnTo>
                  <a:lnTo>
                    <a:pt x="182" y="1309"/>
                  </a:lnTo>
                  <a:lnTo>
                    <a:pt x="201" y="1290"/>
                  </a:lnTo>
                  <a:lnTo>
                    <a:pt x="222" y="1290"/>
                  </a:lnTo>
                  <a:lnTo>
                    <a:pt x="242" y="1309"/>
                  </a:lnTo>
                  <a:lnTo>
                    <a:pt x="263" y="1342"/>
                  </a:lnTo>
                  <a:lnTo>
                    <a:pt x="282" y="1342"/>
                  </a:lnTo>
                  <a:lnTo>
                    <a:pt x="282" y="1361"/>
                  </a:lnTo>
                  <a:lnTo>
                    <a:pt x="282" y="1378"/>
                  </a:lnTo>
                  <a:lnTo>
                    <a:pt x="282" y="1396"/>
                  </a:lnTo>
                  <a:lnTo>
                    <a:pt x="301" y="1396"/>
                  </a:lnTo>
                  <a:lnTo>
                    <a:pt x="322" y="1396"/>
                  </a:lnTo>
                  <a:lnTo>
                    <a:pt x="341" y="1378"/>
                  </a:lnTo>
                  <a:lnTo>
                    <a:pt x="341" y="1361"/>
                  </a:lnTo>
                  <a:lnTo>
                    <a:pt x="363" y="1361"/>
                  </a:lnTo>
                  <a:lnTo>
                    <a:pt x="401" y="1378"/>
                  </a:lnTo>
                  <a:lnTo>
                    <a:pt x="422" y="1415"/>
                  </a:lnTo>
                  <a:lnTo>
                    <a:pt x="462" y="1432"/>
                  </a:lnTo>
                  <a:lnTo>
                    <a:pt x="482" y="1432"/>
                  </a:lnTo>
                  <a:lnTo>
                    <a:pt x="503" y="1415"/>
                  </a:lnTo>
                  <a:lnTo>
                    <a:pt x="524" y="1396"/>
                  </a:lnTo>
                  <a:lnTo>
                    <a:pt x="503" y="1396"/>
                  </a:lnTo>
                  <a:lnTo>
                    <a:pt x="482" y="1396"/>
                  </a:lnTo>
                  <a:lnTo>
                    <a:pt x="503" y="1378"/>
                  </a:lnTo>
                  <a:lnTo>
                    <a:pt x="543" y="1361"/>
                  </a:lnTo>
                  <a:lnTo>
                    <a:pt x="583" y="1342"/>
                  </a:lnTo>
                  <a:lnTo>
                    <a:pt x="564" y="1361"/>
                  </a:lnTo>
                  <a:lnTo>
                    <a:pt x="583" y="1378"/>
                  </a:lnTo>
                  <a:lnTo>
                    <a:pt x="564" y="1396"/>
                  </a:lnTo>
                  <a:lnTo>
                    <a:pt x="543" y="1396"/>
                  </a:lnTo>
                  <a:lnTo>
                    <a:pt x="564" y="1432"/>
                  </a:lnTo>
                  <a:lnTo>
                    <a:pt x="604" y="1449"/>
                  </a:lnTo>
                  <a:lnTo>
                    <a:pt x="645" y="1468"/>
                  </a:lnTo>
                  <a:lnTo>
                    <a:pt x="683" y="1486"/>
                  </a:lnTo>
                  <a:lnTo>
                    <a:pt x="683" y="1522"/>
                  </a:lnTo>
                  <a:lnTo>
                    <a:pt x="704" y="1522"/>
                  </a:lnTo>
                  <a:lnTo>
                    <a:pt x="723" y="1522"/>
                  </a:lnTo>
                  <a:lnTo>
                    <a:pt x="745" y="1522"/>
                  </a:lnTo>
                  <a:lnTo>
                    <a:pt x="745" y="1539"/>
                  </a:lnTo>
                  <a:lnTo>
                    <a:pt x="764" y="1576"/>
                  </a:lnTo>
                  <a:lnTo>
                    <a:pt x="785" y="1576"/>
                  </a:lnTo>
                  <a:lnTo>
                    <a:pt x="804" y="1593"/>
                  </a:lnTo>
                  <a:lnTo>
                    <a:pt x="804" y="1612"/>
                  </a:lnTo>
                  <a:lnTo>
                    <a:pt x="844" y="1612"/>
                  </a:lnTo>
                  <a:lnTo>
                    <a:pt x="864" y="1612"/>
                  </a:lnTo>
                  <a:lnTo>
                    <a:pt x="885" y="1593"/>
                  </a:lnTo>
                  <a:lnTo>
                    <a:pt x="885" y="1576"/>
                  </a:lnTo>
                  <a:lnTo>
                    <a:pt x="885" y="1593"/>
                  </a:lnTo>
                  <a:lnTo>
                    <a:pt x="904" y="1593"/>
                  </a:lnTo>
                  <a:lnTo>
                    <a:pt x="904" y="1612"/>
                  </a:lnTo>
                  <a:lnTo>
                    <a:pt x="923" y="1612"/>
                  </a:lnTo>
                  <a:lnTo>
                    <a:pt x="923" y="1593"/>
                  </a:lnTo>
                  <a:lnTo>
                    <a:pt x="944" y="1576"/>
                  </a:lnTo>
                  <a:lnTo>
                    <a:pt x="923" y="1539"/>
                  </a:lnTo>
                  <a:lnTo>
                    <a:pt x="885" y="1505"/>
                  </a:lnTo>
                  <a:lnTo>
                    <a:pt x="885" y="1468"/>
                  </a:lnTo>
                  <a:lnTo>
                    <a:pt x="885" y="1449"/>
                  </a:lnTo>
                  <a:lnTo>
                    <a:pt x="864" y="1432"/>
                  </a:lnTo>
                  <a:lnTo>
                    <a:pt x="844" y="1415"/>
                  </a:lnTo>
                  <a:lnTo>
                    <a:pt x="864" y="1396"/>
                  </a:lnTo>
                  <a:lnTo>
                    <a:pt x="885" y="1378"/>
                  </a:lnTo>
                  <a:lnTo>
                    <a:pt x="904" y="1361"/>
                  </a:lnTo>
                  <a:lnTo>
                    <a:pt x="923" y="1361"/>
                  </a:lnTo>
                  <a:lnTo>
                    <a:pt x="944" y="1342"/>
                  </a:lnTo>
                  <a:lnTo>
                    <a:pt x="963" y="1342"/>
                  </a:lnTo>
                  <a:lnTo>
                    <a:pt x="1006" y="1342"/>
                  </a:lnTo>
                  <a:lnTo>
                    <a:pt x="1046" y="1342"/>
                  </a:lnTo>
                  <a:lnTo>
                    <a:pt x="1086" y="1378"/>
                  </a:lnTo>
                  <a:lnTo>
                    <a:pt x="1086" y="1396"/>
                  </a:lnTo>
                  <a:lnTo>
                    <a:pt x="1065" y="1396"/>
                  </a:lnTo>
                  <a:lnTo>
                    <a:pt x="1027" y="1396"/>
                  </a:lnTo>
                  <a:lnTo>
                    <a:pt x="1006" y="1396"/>
                  </a:lnTo>
                  <a:lnTo>
                    <a:pt x="963" y="1415"/>
                  </a:lnTo>
                  <a:lnTo>
                    <a:pt x="944" y="1432"/>
                  </a:lnTo>
                  <a:lnTo>
                    <a:pt x="963" y="1449"/>
                  </a:lnTo>
                  <a:lnTo>
                    <a:pt x="985" y="1468"/>
                  </a:lnTo>
                  <a:lnTo>
                    <a:pt x="1006" y="1486"/>
                  </a:lnTo>
                  <a:lnTo>
                    <a:pt x="1027" y="1505"/>
                  </a:lnTo>
                  <a:lnTo>
                    <a:pt x="1027" y="1539"/>
                  </a:lnTo>
                  <a:lnTo>
                    <a:pt x="1046" y="1522"/>
                  </a:lnTo>
                  <a:lnTo>
                    <a:pt x="1065" y="1522"/>
                  </a:lnTo>
                  <a:lnTo>
                    <a:pt x="1086" y="1522"/>
                  </a:lnTo>
                  <a:lnTo>
                    <a:pt x="1086" y="1539"/>
                  </a:lnTo>
                  <a:lnTo>
                    <a:pt x="1086" y="1559"/>
                  </a:lnTo>
                  <a:lnTo>
                    <a:pt x="1065" y="1559"/>
                  </a:lnTo>
                  <a:lnTo>
                    <a:pt x="1046" y="1576"/>
                  </a:lnTo>
                  <a:lnTo>
                    <a:pt x="1027" y="1576"/>
                  </a:lnTo>
                  <a:lnTo>
                    <a:pt x="1065" y="1593"/>
                  </a:lnTo>
                  <a:lnTo>
                    <a:pt x="1065" y="1612"/>
                  </a:lnTo>
                  <a:lnTo>
                    <a:pt x="1086" y="1630"/>
                  </a:lnTo>
                  <a:lnTo>
                    <a:pt x="1086" y="1649"/>
                  </a:lnTo>
                  <a:lnTo>
                    <a:pt x="1065" y="1649"/>
                  </a:lnTo>
                  <a:lnTo>
                    <a:pt x="1086" y="1664"/>
                  </a:lnTo>
                  <a:lnTo>
                    <a:pt x="1086" y="1649"/>
                  </a:lnTo>
                  <a:lnTo>
                    <a:pt x="1105" y="1649"/>
                  </a:lnTo>
                  <a:lnTo>
                    <a:pt x="1127" y="1649"/>
                  </a:lnTo>
                  <a:lnTo>
                    <a:pt x="1146" y="1649"/>
                  </a:lnTo>
                  <a:lnTo>
                    <a:pt x="1167" y="1630"/>
                  </a:lnTo>
                  <a:lnTo>
                    <a:pt x="1186" y="1649"/>
                  </a:lnTo>
                  <a:lnTo>
                    <a:pt x="1205" y="1649"/>
                  </a:lnTo>
                  <a:lnTo>
                    <a:pt x="1226" y="1649"/>
                  </a:lnTo>
                  <a:lnTo>
                    <a:pt x="1246" y="1664"/>
                  </a:lnTo>
                  <a:lnTo>
                    <a:pt x="1286" y="1681"/>
                  </a:lnTo>
                  <a:lnTo>
                    <a:pt x="1305" y="1701"/>
                  </a:lnTo>
                  <a:lnTo>
                    <a:pt x="1305" y="1718"/>
                  </a:lnTo>
                  <a:lnTo>
                    <a:pt x="1326" y="1718"/>
                  </a:lnTo>
                  <a:lnTo>
                    <a:pt x="1345" y="1735"/>
                  </a:lnTo>
                  <a:lnTo>
                    <a:pt x="1345" y="1718"/>
                  </a:lnTo>
                  <a:lnTo>
                    <a:pt x="1367" y="1718"/>
                  </a:lnTo>
                  <a:lnTo>
                    <a:pt x="1386" y="1701"/>
                  </a:lnTo>
                  <a:lnTo>
                    <a:pt x="1407" y="1701"/>
                  </a:lnTo>
                  <a:lnTo>
                    <a:pt x="1407" y="1681"/>
                  </a:lnTo>
                  <a:lnTo>
                    <a:pt x="1426" y="1664"/>
                  </a:lnTo>
                  <a:lnTo>
                    <a:pt x="1445" y="1664"/>
                  </a:lnTo>
                  <a:lnTo>
                    <a:pt x="1466" y="1664"/>
                  </a:lnTo>
                  <a:lnTo>
                    <a:pt x="1487" y="1664"/>
                  </a:lnTo>
                  <a:lnTo>
                    <a:pt x="1509" y="1664"/>
                  </a:lnTo>
                  <a:lnTo>
                    <a:pt x="1509" y="1681"/>
                  </a:lnTo>
                  <a:lnTo>
                    <a:pt x="1528" y="1681"/>
                  </a:lnTo>
                  <a:lnTo>
                    <a:pt x="1549" y="1681"/>
                  </a:lnTo>
                  <a:lnTo>
                    <a:pt x="1549" y="1664"/>
                  </a:lnTo>
                  <a:lnTo>
                    <a:pt x="1568" y="1649"/>
                  </a:lnTo>
                  <a:lnTo>
                    <a:pt x="1587" y="1649"/>
                  </a:lnTo>
                  <a:lnTo>
                    <a:pt x="1608" y="1630"/>
                  </a:lnTo>
                  <a:lnTo>
                    <a:pt x="1608" y="1649"/>
                  </a:lnTo>
                  <a:lnTo>
                    <a:pt x="1608" y="1664"/>
                  </a:lnTo>
                  <a:lnTo>
                    <a:pt x="1628" y="1681"/>
                  </a:lnTo>
                  <a:lnTo>
                    <a:pt x="1649" y="1681"/>
                  </a:lnTo>
                  <a:lnTo>
                    <a:pt x="1689" y="1664"/>
                  </a:lnTo>
                  <a:lnTo>
                    <a:pt x="1708" y="1664"/>
                  </a:lnTo>
                  <a:lnTo>
                    <a:pt x="1727" y="1664"/>
                  </a:lnTo>
                  <a:lnTo>
                    <a:pt x="1727" y="1649"/>
                  </a:lnTo>
                  <a:lnTo>
                    <a:pt x="1708" y="1649"/>
                  </a:lnTo>
                  <a:lnTo>
                    <a:pt x="1689" y="1630"/>
                  </a:lnTo>
                  <a:lnTo>
                    <a:pt x="1689" y="1593"/>
                  </a:lnTo>
                  <a:lnTo>
                    <a:pt x="1708" y="1576"/>
                  </a:lnTo>
                  <a:lnTo>
                    <a:pt x="1749" y="1576"/>
                  </a:lnTo>
                  <a:lnTo>
                    <a:pt x="1789" y="1559"/>
                  </a:lnTo>
                  <a:lnTo>
                    <a:pt x="1827" y="1539"/>
                  </a:lnTo>
                  <a:lnTo>
                    <a:pt x="1889" y="1522"/>
                  </a:lnTo>
                  <a:lnTo>
                    <a:pt x="1889" y="1468"/>
                  </a:lnTo>
                  <a:lnTo>
                    <a:pt x="1908" y="1396"/>
                  </a:lnTo>
                  <a:lnTo>
                    <a:pt x="1948" y="1396"/>
                  </a:lnTo>
                  <a:lnTo>
                    <a:pt x="1969" y="1361"/>
                  </a:lnTo>
                  <a:lnTo>
                    <a:pt x="2010" y="1342"/>
                  </a:lnTo>
                  <a:lnTo>
                    <a:pt x="2050" y="1342"/>
                  </a:lnTo>
                  <a:lnTo>
                    <a:pt x="2071" y="1309"/>
                  </a:lnTo>
                  <a:lnTo>
                    <a:pt x="2071" y="1290"/>
                  </a:lnTo>
                  <a:lnTo>
                    <a:pt x="2109" y="1273"/>
                  </a:lnTo>
                  <a:lnTo>
                    <a:pt x="2171" y="1236"/>
                  </a:lnTo>
                  <a:lnTo>
                    <a:pt x="2230" y="1236"/>
                  </a:lnTo>
                  <a:lnTo>
                    <a:pt x="2230" y="1219"/>
                  </a:lnTo>
                  <a:lnTo>
                    <a:pt x="2250" y="1200"/>
                  </a:lnTo>
                  <a:lnTo>
                    <a:pt x="2290" y="1200"/>
                  </a:lnTo>
                  <a:lnTo>
                    <a:pt x="2311" y="1219"/>
                  </a:lnTo>
                  <a:lnTo>
                    <a:pt x="2330" y="1236"/>
                  </a:lnTo>
                  <a:lnTo>
                    <a:pt x="2370" y="1236"/>
                  </a:lnTo>
                  <a:lnTo>
                    <a:pt x="2411" y="1219"/>
                  </a:lnTo>
                  <a:lnTo>
                    <a:pt x="2430" y="1165"/>
                  </a:lnTo>
                  <a:lnTo>
                    <a:pt x="2472" y="1165"/>
                  </a:lnTo>
                  <a:lnTo>
                    <a:pt x="2491" y="1165"/>
                  </a:lnTo>
                  <a:lnTo>
                    <a:pt x="2532" y="1165"/>
                  </a:lnTo>
                  <a:lnTo>
                    <a:pt x="2553" y="1182"/>
                  </a:lnTo>
                  <a:lnTo>
                    <a:pt x="2593" y="1219"/>
                  </a:lnTo>
                  <a:lnTo>
                    <a:pt x="2612" y="1219"/>
                  </a:lnTo>
                  <a:lnTo>
                    <a:pt x="2653" y="1219"/>
                  </a:lnTo>
                  <a:lnTo>
                    <a:pt x="2712" y="1236"/>
                  </a:lnTo>
                  <a:lnTo>
                    <a:pt x="2753" y="1236"/>
                  </a:lnTo>
                  <a:lnTo>
                    <a:pt x="2793" y="1253"/>
                  </a:lnTo>
                  <a:lnTo>
                    <a:pt x="2852" y="1253"/>
                  </a:lnTo>
                  <a:lnTo>
                    <a:pt x="2912" y="1236"/>
                  </a:lnTo>
                  <a:lnTo>
                    <a:pt x="2975" y="1236"/>
                  </a:lnTo>
                  <a:lnTo>
                    <a:pt x="3035" y="1236"/>
                  </a:lnTo>
                  <a:lnTo>
                    <a:pt x="3054" y="1236"/>
                  </a:lnTo>
                  <a:lnTo>
                    <a:pt x="3075" y="1236"/>
                  </a:lnTo>
                  <a:lnTo>
                    <a:pt x="3094" y="1219"/>
                  </a:lnTo>
                  <a:lnTo>
                    <a:pt x="3115" y="1182"/>
                  </a:lnTo>
                  <a:lnTo>
                    <a:pt x="3135" y="1165"/>
                  </a:lnTo>
                  <a:lnTo>
                    <a:pt x="3135" y="1129"/>
                  </a:lnTo>
                  <a:lnTo>
                    <a:pt x="3175" y="1110"/>
                  </a:lnTo>
                  <a:lnTo>
                    <a:pt x="3215" y="1110"/>
                  </a:lnTo>
                  <a:lnTo>
                    <a:pt x="3275" y="1110"/>
                  </a:lnTo>
                  <a:lnTo>
                    <a:pt x="3315" y="1146"/>
                  </a:lnTo>
                  <a:lnTo>
                    <a:pt x="3334" y="1182"/>
                  </a:lnTo>
                  <a:lnTo>
                    <a:pt x="3334" y="1236"/>
                  </a:lnTo>
                  <a:lnTo>
                    <a:pt x="3374" y="1236"/>
                  </a:lnTo>
                  <a:lnTo>
                    <a:pt x="3394" y="1253"/>
                  </a:lnTo>
                  <a:lnTo>
                    <a:pt x="3436" y="1273"/>
                  </a:lnTo>
                  <a:lnTo>
                    <a:pt x="3457" y="1290"/>
                  </a:lnTo>
                  <a:lnTo>
                    <a:pt x="3457" y="1309"/>
                  </a:lnTo>
                  <a:lnTo>
                    <a:pt x="3497" y="1325"/>
                  </a:lnTo>
                  <a:lnTo>
                    <a:pt x="3536" y="1309"/>
                  </a:lnTo>
                  <a:lnTo>
                    <a:pt x="3536" y="1290"/>
                  </a:lnTo>
                  <a:lnTo>
                    <a:pt x="3576" y="1290"/>
                  </a:lnTo>
                  <a:lnTo>
                    <a:pt x="3576" y="1309"/>
                  </a:lnTo>
                  <a:lnTo>
                    <a:pt x="3557" y="1342"/>
                  </a:lnTo>
                  <a:lnTo>
                    <a:pt x="3536" y="1378"/>
                  </a:lnTo>
                  <a:lnTo>
                    <a:pt x="3517" y="1396"/>
                  </a:lnTo>
                  <a:lnTo>
                    <a:pt x="3497" y="1396"/>
                  </a:lnTo>
                  <a:lnTo>
                    <a:pt x="3457" y="1415"/>
                  </a:lnTo>
                  <a:lnTo>
                    <a:pt x="3476" y="1449"/>
                  </a:lnTo>
                  <a:lnTo>
                    <a:pt x="3457" y="1468"/>
                  </a:lnTo>
                  <a:lnTo>
                    <a:pt x="3457" y="1486"/>
                  </a:lnTo>
                  <a:close/>
                </a:path>
              </a:pathLst>
            </a:custGeom>
            <a:solidFill>
              <a:srgbClr val="C0C0C0"/>
            </a:solidFill>
            <a:ln w="9525">
              <a:solidFill>
                <a:srgbClr val="C0C0C0"/>
              </a:solidFill>
              <a:round/>
              <a:headEnd/>
              <a:tailEnd/>
            </a:ln>
          </p:spPr>
          <p:txBody>
            <a:bodyPr/>
            <a:lstStyle/>
            <a:p>
              <a:endParaRPr lang="en-US"/>
            </a:p>
          </p:txBody>
        </p:sp>
        <p:sp>
          <p:nvSpPr>
            <p:cNvPr id="9416" name="Freeform 107"/>
            <p:cNvSpPr>
              <a:spLocks/>
            </p:cNvSpPr>
            <p:nvPr/>
          </p:nvSpPr>
          <p:spPr bwMode="auto">
            <a:xfrm>
              <a:off x="4064" y="1911"/>
              <a:ext cx="945" cy="538"/>
            </a:xfrm>
            <a:custGeom>
              <a:avLst/>
              <a:gdLst>
                <a:gd name="T0" fmla="*/ 0 w 1891"/>
                <a:gd name="T1" fmla="*/ 1 h 1074"/>
                <a:gd name="T2" fmla="*/ 0 w 1891"/>
                <a:gd name="T3" fmla="*/ 1 h 1074"/>
                <a:gd name="T4" fmla="*/ 0 w 1891"/>
                <a:gd name="T5" fmla="*/ 1 h 1074"/>
                <a:gd name="T6" fmla="*/ 0 w 1891"/>
                <a:gd name="T7" fmla="*/ 1 h 1074"/>
                <a:gd name="T8" fmla="*/ 0 w 1891"/>
                <a:gd name="T9" fmla="*/ 1 h 1074"/>
                <a:gd name="T10" fmla="*/ 0 w 1891"/>
                <a:gd name="T11" fmla="*/ 1 h 1074"/>
                <a:gd name="T12" fmla="*/ 0 w 1891"/>
                <a:gd name="T13" fmla="*/ 1 h 1074"/>
                <a:gd name="T14" fmla="*/ 0 w 1891"/>
                <a:gd name="T15" fmla="*/ 1 h 1074"/>
                <a:gd name="T16" fmla="*/ 0 w 1891"/>
                <a:gd name="T17" fmla="*/ 1 h 1074"/>
                <a:gd name="T18" fmla="*/ 0 w 1891"/>
                <a:gd name="T19" fmla="*/ 1 h 1074"/>
                <a:gd name="T20" fmla="*/ 0 w 1891"/>
                <a:gd name="T21" fmla="*/ 1 h 1074"/>
                <a:gd name="T22" fmla="*/ 0 w 1891"/>
                <a:gd name="T23" fmla="*/ 1 h 1074"/>
                <a:gd name="T24" fmla="*/ 0 w 1891"/>
                <a:gd name="T25" fmla="*/ 1 h 1074"/>
                <a:gd name="T26" fmla="*/ 0 w 1891"/>
                <a:gd name="T27" fmla="*/ 1 h 1074"/>
                <a:gd name="T28" fmla="*/ 0 w 1891"/>
                <a:gd name="T29" fmla="*/ 1 h 1074"/>
                <a:gd name="T30" fmla="*/ 0 w 1891"/>
                <a:gd name="T31" fmla="*/ 1 h 1074"/>
                <a:gd name="T32" fmla="*/ 0 w 1891"/>
                <a:gd name="T33" fmla="*/ 1 h 1074"/>
                <a:gd name="T34" fmla="*/ 0 w 1891"/>
                <a:gd name="T35" fmla="*/ 1 h 1074"/>
                <a:gd name="T36" fmla="*/ 0 w 1891"/>
                <a:gd name="T37" fmla="*/ 1 h 1074"/>
                <a:gd name="T38" fmla="*/ 0 w 1891"/>
                <a:gd name="T39" fmla="*/ 1 h 1074"/>
                <a:gd name="T40" fmla="*/ 0 w 1891"/>
                <a:gd name="T41" fmla="*/ 1 h 1074"/>
                <a:gd name="T42" fmla="*/ 0 w 1891"/>
                <a:gd name="T43" fmla="*/ 1 h 1074"/>
                <a:gd name="T44" fmla="*/ 0 w 1891"/>
                <a:gd name="T45" fmla="*/ 0 h 1074"/>
                <a:gd name="T46" fmla="*/ 0 w 1891"/>
                <a:gd name="T47" fmla="*/ 1 h 1074"/>
                <a:gd name="T48" fmla="*/ 0 w 1891"/>
                <a:gd name="T49" fmla="*/ 1 h 1074"/>
                <a:gd name="T50" fmla="*/ 0 w 1891"/>
                <a:gd name="T51" fmla="*/ 1 h 1074"/>
                <a:gd name="T52" fmla="*/ 0 w 1891"/>
                <a:gd name="T53" fmla="*/ 1 h 1074"/>
                <a:gd name="T54" fmla="*/ 0 w 1891"/>
                <a:gd name="T55" fmla="*/ 1 h 1074"/>
                <a:gd name="T56" fmla="*/ 0 w 1891"/>
                <a:gd name="T57" fmla="*/ 1 h 1074"/>
                <a:gd name="T58" fmla="*/ 0 w 1891"/>
                <a:gd name="T59" fmla="*/ 1 h 1074"/>
                <a:gd name="T60" fmla="*/ 0 w 1891"/>
                <a:gd name="T61" fmla="*/ 1 h 1074"/>
                <a:gd name="T62" fmla="*/ 0 w 1891"/>
                <a:gd name="T63" fmla="*/ 1 h 1074"/>
                <a:gd name="T64" fmla="*/ 0 w 1891"/>
                <a:gd name="T65" fmla="*/ 1 h 1074"/>
                <a:gd name="T66" fmla="*/ 0 w 1891"/>
                <a:gd name="T67" fmla="*/ 1 h 1074"/>
                <a:gd name="T68" fmla="*/ 0 w 1891"/>
                <a:gd name="T69" fmla="*/ 1 h 1074"/>
                <a:gd name="T70" fmla="*/ 0 w 1891"/>
                <a:gd name="T71" fmla="*/ 1 h 1074"/>
                <a:gd name="T72" fmla="*/ 0 w 1891"/>
                <a:gd name="T73" fmla="*/ 1 h 1074"/>
                <a:gd name="T74" fmla="*/ 0 w 1891"/>
                <a:gd name="T75" fmla="*/ 1 h 1074"/>
                <a:gd name="T76" fmla="*/ 0 w 1891"/>
                <a:gd name="T77" fmla="*/ 1 h 1074"/>
                <a:gd name="T78" fmla="*/ 0 w 1891"/>
                <a:gd name="T79" fmla="*/ 1 h 1074"/>
                <a:gd name="T80" fmla="*/ 0 w 1891"/>
                <a:gd name="T81" fmla="*/ 1 h 1074"/>
                <a:gd name="T82" fmla="*/ 0 w 1891"/>
                <a:gd name="T83" fmla="*/ 1 h 1074"/>
                <a:gd name="T84" fmla="*/ 0 w 1891"/>
                <a:gd name="T85" fmla="*/ 1 h 1074"/>
                <a:gd name="T86" fmla="*/ 0 w 1891"/>
                <a:gd name="T87" fmla="*/ 1 h 1074"/>
                <a:gd name="T88" fmla="*/ 0 w 1891"/>
                <a:gd name="T89" fmla="*/ 1 h 1074"/>
                <a:gd name="T90" fmla="*/ 0 w 1891"/>
                <a:gd name="T91" fmla="*/ 1 h 1074"/>
                <a:gd name="T92" fmla="*/ 0 w 1891"/>
                <a:gd name="T93" fmla="*/ 1 h 1074"/>
                <a:gd name="T94" fmla="*/ 0 w 1891"/>
                <a:gd name="T95" fmla="*/ 1 h 1074"/>
                <a:gd name="T96" fmla="*/ 0 w 1891"/>
                <a:gd name="T97" fmla="*/ 1 h 1074"/>
                <a:gd name="T98" fmla="*/ 0 w 1891"/>
                <a:gd name="T99" fmla="*/ 1 h 1074"/>
                <a:gd name="T100" fmla="*/ 0 w 1891"/>
                <a:gd name="T101" fmla="*/ 1 h 1074"/>
                <a:gd name="T102" fmla="*/ 0 w 1891"/>
                <a:gd name="T103" fmla="*/ 1 h 1074"/>
                <a:gd name="T104" fmla="*/ 0 w 1891"/>
                <a:gd name="T105" fmla="*/ 1 h 1074"/>
                <a:gd name="T106" fmla="*/ 0 w 1891"/>
                <a:gd name="T107" fmla="*/ 1 h 1074"/>
                <a:gd name="T108" fmla="*/ 0 w 1891"/>
                <a:gd name="T109" fmla="*/ 1 h 1074"/>
                <a:gd name="T110" fmla="*/ 0 w 1891"/>
                <a:gd name="T111" fmla="*/ 1 h 1074"/>
                <a:gd name="T112" fmla="*/ 0 w 1891"/>
                <a:gd name="T113" fmla="*/ 1 h 1074"/>
                <a:gd name="T114" fmla="*/ 0 w 1891"/>
                <a:gd name="T115" fmla="*/ 1 h 1074"/>
                <a:gd name="T116" fmla="*/ 0 w 1891"/>
                <a:gd name="T117" fmla="*/ 1 h 1074"/>
                <a:gd name="T118" fmla="*/ 0 w 1891"/>
                <a:gd name="T119" fmla="*/ 1 h 1074"/>
                <a:gd name="T120" fmla="*/ 0 w 1891"/>
                <a:gd name="T121" fmla="*/ 1 h 1074"/>
                <a:gd name="T122" fmla="*/ 0 w 1891"/>
                <a:gd name="T123" fmla="*/ 1 h 1074"/>
                <a:gd name="T124" fmla="*/ 0 w 1891"/>
                <a:gd name="T125" fmla="*/ 1 h 10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91"/>
                <a:gd name="T190" fmla="*/ 0 h 1074"/>
                <a:gd name="T191" fmla="*/ 1891 w 1891"/>
                <a:gd name="T192" fmla="*/ 1074 h 10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91" h="1074">
                  <a:moveTo>
                    <a:pt x="1448" y="681"/>
                  </a:moveTo>
                  <a:lnTo>
                    <a:pt x="1448" y="662"/>
                  </a:lnTo>
                  <a:lnTo>
                    <a:pt x="1448" y="644"/>
                  </a:lnTo>
                  <a:lnTo>
                    <a:pt x="1428" y="644"/>
                  </a:lnTo>
                  <a:lnTo>
                    <a:pt x="1407" y="644"/>
                  </a:lnTo>
                  <a:lnTo>
                    <a:pt x="1407" y="625"/>
                  </a:lnTo>
                  <a:lnTo>
                    <a:pt x="1428" y="608"/>
                  </a:lnTo>
                  <a:lnTo>
                    <a:pt x="1448" y="591"/>
                  </a:lnTo>
                  <a:lnTo>
                    <a:pt x="1488" y="571"/>
                  </a:lnTo>
                  <a:lnTo>
                    <a:pt x="1507" y="554"/>
                  </a:lnTo>
                  <a:lnTo>
                    <a:pt x="1488" y="554"/>
                  </a:lnTo>
                  <a:lnTo>
                    <a:pt x="1469" y="554"/>
                  </a:lnTo>
                  <a:lnTo>
                    <a:pt x="1448" y="539"/>
                  </a:lnTo>
                  <a:lnTo>
                    <a:pt x="1448" y="554"/>
                  </a:lnTo>
                  <a:lnTo>
                    <a:pt x="1428" y="554"/>
                  </a:lnTo>
                  <a:lnTo>
                    <a:pt x="1428" y="571"/>
                  </a:lnTo>
                  <a:lnTo>
                    <a:pt x="1407" y="571"/>
                  </a:lnTo>
                  <a:lnTo>
                    <a:pt x="1388" y="554"/>
                  </a:lnTo>
                  <a:lnTo>
                    <a:pt x="1388" y="539"/>
                  </a:lnTo>
                  <a:lnTo>
                    <a:pt x="1367" y="539"/>
                  </a:lnTo>
                  <a:lnTo>
                    <a:pt x="1348" y="520"/>
                  </a:lnTo>
                  <a:lnTo>
                    <a:pt x="1367" y="502"/>
                  </a:lnTo>
                  <a:lnTo>
                    <a:pt x="1407" y="502"/>
                  </a:lnTo>
                  <a:lnTo>
                    <a:pt x="1428" y="483"/>
                  </a:lnTo>
                  <a:lnTo>
                    <a:pt x="1448" y="466"/>
                  </a:lnTo>
                  <a:lnTo>
                    <a:pt x="1448" y="449"/>
                  </a:lnTo>
                  <a:lnTo>
                    <a:pt x="1469" y="449"/>
                  </a:lnTo>
                  <a:lnTo>
                    <a:pt x="1488" y="466"/>
                  </a:lnTo>
                  <a:lnTo>
                    <a:pt x="1469" y="483"/>
                  </a:lnTo>
                  <a:lnTo>
                    <a:pt x="1469" y="502"/>
                  </a:lnTo>
                  <a:lnTo>
                    <a:pt x="1507" y="502"/>
                  </a:lnTo>
                  <a:lnTo>
                    <a:pt x="1528" y="483"/>
                  </a:lnTo>
                  <a:lnTo>
                    <a:pt x="1568" y="466"/>
                  </a:lnTo>
                  <a:lnTo>
                    <a:pt x="1568" y="483"/>
                  </a:lnTo>
                  <a:lnTo>
                    <a:pt x="1588" y="483"/>
                  </a:lnTo>
                  <a:lnTo>
                    <a:pt x="1588" y="502"/>
                  </a:lnTo>
                  <a:lnTo>
                    <a:pt x="1588" y="520"/>
                  </a:lnTo>
                  <a:lnTo>
                    <a:pt x="1568" y="520"/>
                  </a:lnTo>
                  <a:lnTo>
                    <a:pt x="1568" y="539"/>
                  </a:lnTo>
                  <a:lnTo>
                    <a:pt x="1588" y="539"/>
                  </a:lnTo>
                  <a:lnTo>
                    <a:pt x="1609" y="539"/>
                  </a:lnTo>
                  <a:lnTo>
                    <a:pt x="1628" y="539"/>
                  </a:lnTo>
                  <a:lnTo>
                    <a:pt x="1647" y="554"/>
                  </a:lnTo>
                  <a:lnTo>
                    <a:pt x="1647" y="571"/>
                  </a:lnTo>
                  <a:lnTo>
                    <a:pt x="1628" y="571"/>
                  </a:lnTo>
                  <a:lnTo>
                    <a:pt x="1628" y="591"/>
                  </a:lnTo>
                  <a:lnTo>
                    <a:pt x="1647" y="591"/>
                  </a:lnTo>
                  <a:lnTo>
                    <a:pt x="1647" y="608"/>
                  </a:lnTo>
                  <a:lnTo>
                    <a:pt x="1628" y="608"/>
                  </a:lnTo>
                  <a:lnTo>
                    <a:pt x="1628" y="625"/>
                  </a:lnTo>
                  <a:lnTo>
                    <a:pt x="1628" y="644"/>
                  </a:lnTo>
                  <a:lnTo>
                    <a:pt x="1647" y="644"/>
                  </a:lnTo>
                  <a:lnTo>
                    <a:pt x="1668" y="644"/>
                  </a:lnTo>
                  <a:lnTo>
                    <a:pt x="1687" y="625"/>
                  </a:lnTo>
                  <a:lnTo>
                    <a:pt x="1709" y="625"/>
                  </a:lnTo>
                  <a:lnTo>
                    <a:pt x="1709" y="608"/>
                  </a:lnTo>
                  <a:lnTo>
                    <a:pt x="1709" y="591"/>
                  </a:lnTo>
                  <a:lnTo>
                    <a:pt x="1709" y="554"/>
                  </a:lnTo>
                  <a:lnTo>
                    <a:pt x="1709" y="539"/>
                  </a:lnTo>
                  <a:lnTo>
                    <a:pt x="1668" y="520"/>
                  </a:lnTo>
                  <a:lnTo>
                    <a:pt x="1668" y="502"/>
                  </a:lnTo>
                  <a:lnTo>
                    <a:pt x="1647" y="483"/>
                  </a:lnTo>
                  <a:lnTo>
                    <a:pt x="1647" y="466"/>
                  </a:lnTo>
                  <a:lnTo>
                    <a:pt x="1668" y="466"/>
                  </a:lnTo>
                  <a:lnTo>
                    <a:pt x="1687" y="466"/>
                  </a:lnTo>
                  <a:lnTo>
                    <a:pt x="1709" y="466"/>
                  </a:lnTo>
                  <a:lnTo>
                    <a:pt x="1709" y="449"/>
                  </a:lnTo>
                  <a:lnTo>
                    <a:pt x="1709" y="429"/>
                  </a:lnTo>
                  <a:lnTo>
                    <a:pt x="1730" y="412"/>
                  </a:lnTo>
                  <a:lnTo>
                    <a:pt x="1751" y="395"/>
                  </a:lnTo>
                  <a:lnTo>
                    <a:pt x="1770" y="376"/>
                  </a:lnTo>
                  <a:lnTo>
                    <a:pt x="1770" y="358"/>
                  </a:lnTo>
                  <a:lnTo>
                    <a:pt x="1789" y="339"/>
                  </a:lnTo>
                  <a:lnTo>
                    <a:pt x="1770" y="305"/>
                  </a:lnTo>
                  <a:lnTo>
                    <a:pt x="1810" y="286"/>
                  </a:lnTo>
                  <a:lnTo>
                    <a:pt x="1830" y="286"/>
                  </a:lnTo>
                  <a:lnTo>
                    <a:pt x="1851" y="268"/>
                  </a:lnTo>
                  <a:lnTo>
                    <a:pt x="1870" y="232"/>
                  </a:lnTo>
                  <a:lnTo>
                    <a:pt x="1891" y="199"/>
                  </a:lnTo>
                  <a:lnTo>
                    <a:pt x="1891" y="180"/>
                  </a:lnTo>
                  <a:lnTo>
                    <a:pt x="1851" y="180"/>
                  </a:lnTo>
                  <a:lnTo>
                    <a:pt x="1851" y="199"/>
                  </a:lnTo>
                  <a:lnTo>
                    <a:pt x="1810" y="215"/>
                  </a:lnTo>
                  <a:lnTo>
                    <a:pt x="1770" y="199"/>
                  </a:lnTo>
                  <a:lnTo>
                    <a:pt x="1770" y="180"/>
                  </a:lnTo>
                  <a:lnTo>
                    <a:pt x="1751" y="163"/>
                  </a:lnTo>
                  <a:lnTo>
                    <a:pt x="1709" y="143"/>
                  </a:lnTo>
                  <a:lnTo>
                    <a:pt x="1687" y="126"/>
                  </a:lnTo>
                  <a:lnTo>
                    <a:pt x="1647" y="126"/>
                  </a:lnTo>
                  <a:lnTo>
                    <a:pt x="1647" y="72"/>
                  </a:lnTo>
                  <a:lnTo>
                    <a:pt x="1628" y="36"/>
                  </a:lnTo>
                  <a:lnTo>
                    <a:pt x="1588" y="0"/>
                  </a:lnTo>
                  <a:lnTo>
                    <a:pt x="1528" y="0"/>
                  </a:lnTo>
                  <a:lnTo>
                    <a:pt x="1488" y="0"/>
                  </a:lnTo>
                  <a:lnTo>
                    <a:pt x="1448" y="19"/>
                  </a:lnTo>
                  <a:lnTo>
                    <a:pt x="1448" y="55"/>
                  </a:lnTo>
                  <a:lnTo>
                    <a:pt x="1428" y="72"/>
                  </a:lnTo>
                  <a:lnTo>
                    <a:pt x="1407" y="109"/>
                  </a:lnTo>
                  <a:lnTo>
                    <a:pt x="1388" y="126"/>
                  </a:lnTo>
                  <a:lnTo>
                    <a:pt x="1367" y="126"/>
                  </a:lnTo>
                  <a:lnTo>
                    <a:pt x="1348" y="126"/>
                  </a:lnTo>
                  <a:lnTo>
                    <a:pt x="1288" y="126"/>
                  </a:lnTo>
                  <a:lnTo>
                    <a:pt x="1225" y="126"/>
                  </a:lnTo>
                  <a:lnTo>
                    <a:pt x="1165" y="143"/>
                  </a:lnTo>
                  <a:lnTo>
                    <a:pt x="1106" y="143"/>
                  </a:lnTo>
                  <a:lnTo>
                    <a:pt x="1066" y="126"/>
                  </a:lnTo>
                  <a:lnTo>
                    <a:pt x="1025" y="126"/>
                  </a:lnTo>
                  <a:lnTo>
                    <a:pt x="966" y="109"/>
                  </a:lnTo>
                  <a:lnTo>
                    <a:pt x="925" y="109"/>
                  </a:lnTo>
                  <a:lnTo>
                    <a:pt x="906" y="109"/>
                  </a:lnTo>
                  <a:lnTo>
                    <a:pt x="866" y="72"/>
                  </a:lnTo>
                  <a:lnTo>
                    <a:pt x="845" y="55"/>
                  </a:lnTo>
                  <a:lnTo>
                    <a:pt x="804" y="55"/>
                  </a:lnTo>
                  <a:lnTo>
                    <a:pt x="785" y="55"/>
                  </a:lnTo>
                  <a:lnTo>
                    <a:pt x="743" y="55"/>
                  </a:lnTo>
                  <a:lnTo>
                    <a:pt x="724" y="109"/>
                  </a:lnTo>
                  <a:lnTo>
                    <a:pt x="683" y="126"/>
                  </a:lnTo>
                  <a:lnTo>
                    <a:pt x="643" y="126"/>
                  </a:lnTo>
                  <a:lnTo>
                    <a:pt x="624" y="109"/>
                  </a:lnTo>
                  <a:lnTo>
                    <a:pt x="603" y="90"/>
                  </a:lnTo>
                  <a:lnTo>
                    <a:pt x="563" y="90"/>
                  </a:lnTo>
                  <a:lnTo>
                    <a:pt x="543" y="109"/>
                  </a:lnTo>
                  <a:lnTo>
                    <a:pt x="543" y="126"/>
                  </a:lnTo>
                  <a:lnTo>
                    <a:pt x="484" y="126"/>
                  </a:lnTo>
                  <a:lnTo>
                    <a:pt x="422" y="163"/>
                  </a:lnTo>
                  <a:lnTo>
                    <a:pt x="382" y="180"/>
                  </a:lnTo>
                  <a:lnTo>
                    <a:pt x="382" y="199"/>
                  </a:lnTo>
                  <a:lnTo>
                    <a:pt x="363" y="232"/>
                  </a:lnTo>
                  <a:lnTo>
                    <a:pt x="323" y="232"/>
                  </a:lnTo>
                  <a:lnTo>
                    <a:pt x="282" y="251"/>
                  </a:lnTo>
                  <a:lnTo>
                    <a:pt x="261" y="286"/>
                  </a:lnTo>
                  <a:lnTo>
                    <a:pt x="221" y="286"/>
                  </a:lnTo>
                  <a:lnTo>
                    <a:pt x="200" y="358"/>
                  </a:lnTo>
                  <a:lnTo>
                    <a:pt x="200" y="412"/>
                  </a:lnTo>
                  <a:lnTo>
                    <a:pt x="140" y="429"/>
                  </a:lnTo>
                  <a:lnTo>
                    <a:pt x="100" y="449"/>
                  </a:lnTo>
                  <a:lnTo>
                    <a:pt x="60" y="466"/>
                  </a:lnTo>
                  <a:lnTo>
                    <a:pt x="21" y="466"/>
                  </a:lnTo>
                  <a:lnTo>
                    <a:pt x="0" y="483"/>
                  </a:lnTo>
                  <a:lnTo>
                    <a:pt x="0" y="520"/>
                  </a:lnTo>
                  <a:lnTo>
                    <a:pt x="21" y="539"/>
                  </a:lnTo>
                  <a:lnTo>
                    <a:pt x="40" y="539"/>
                  </a:lnTo>
                  <a:lnTo>
                    <a:pt x="40" y="554"/>
                  </a:lnTo>
                  <a:lnTo>
                    <a:pt x="40" y="571"/>
                  </a:lnTo>
                  <a:lnTo>
                    <a:pt x="60" y="571"/>
                  </a:lnTo>
                  <a:lnTo>
                    <a:pt x="60" y="591"/>
                  </a:lnTo>
                  <a:lnTo>
                    <a:pt x="81" y="591"/>
                  </a:lnTo>
                  <a:lnTo>
                    <a:pt x="100" y="608"/>
                  </a:lnTo>
                  <a:lnTo>
                    <a:pt x="121" y="608"/>
                  </a:lnTo>
                  <a:lnTo>
                    <a:pt x="140" y="608"/>
                  </a:lnTo>
                  <a:lnTo>
                    <a:pt x="161" y="591"/>
                  </a:lnTo>
                  <a:lnTo>
                    <a:pt x="181" y="591"/>
                  </a:lnTo>
                  <a:lnTo>
                    <a:pt x="200" y="591"/>
                  </a:lnTo>
                  <a:lnTo>
                    <a:pt x="200" y="608"/>
                  </a:lnTo>
                  <a:lnTo>
                    <a:pt x="200" y="625"/>
                  </a:lnTo>
                  <a:lnTo>
                    <a:pt x="200" y="644"/>
                  </a:lnTo>
                  <a:lnTo>
                    <a:pt x="181" y="644"/>
                  </a:lnTo>
                  <a:lnTo>
                    <a:pt x="161" y="662"/>
                  </a:lnTo>
                  <a:lnTo>
                    <a:pt x="181" y="681"/>
                  </a:lnTo>
                  <a:lnTo>
                    <a:pt x="181" y="698"/>
                  </a:lnTo>
                  <a:lnTo>
                    <a:pt x="181" y="715"/>
                  </a:lnTo>
                  <a:lnTo>
                    <a:pt x="161" y="715"/>
                  </a:lnTo>
                  <a:lnTo>
                    <a:pt x="161" y="735"/>
                  </a:lnTo>
                  <a:lnTo>
                    <a:pt x="161" y="752"/>
                  </a:lnTo>
                  <a:lnTo>
                    <a:pt x="181" y="752"/>
                  </a:lnTo>
                  <a:lnTo>
                    <a:pt x="200" y="769"/>
                  </a:lnTo>
                  <a:lnTo>
                    <a:pt x="221" y="769"/>
                  </a:lnTo>
                  <a:lnTo>
                    <a:pt x="261" y="769"/>
                  </a:lnTo>
                  <a:lnTo>
                    <a:pt x="282" y="788"/>
                  </a:lnTo>
                  <a:lnTo>
                    <a:pt x="303" y="806"/>
                  </a:lnTo>
                  <a:lnTo>
                    <a:pt x="323" y="806"/>
                  </a:lnTo>
                  <a:lnTo>
                    <a:pt x="323" y="825"/>
                  </a:lnTo>
                  <a:lnTo>
                    <a:pt x="344" y="825"/>
                  </a:lnTo>
                  <a:lnTo>
                    <a:pt x="363" y="825"/>
                  </a:lnTo>
                  <a:lnTo>
                    <a:pt x="382" y="842"/>
                  </a:lnTo>
                  <a:lnTo>
                    <a:pt x="403" y="842"/>
                  </a:lnTo>
                  <a:lnTo>
                    <a:pt x="422" y="842"/>
                  </a:lnTo>
                  <a:lnTo>
                    <a:pt x="444" y="842"/>
                  </a:lnTo>
                  <a:lnTo>
                    <a:pt x="463" y="842"/>
                  </a:lnTo>
                  <a:lnTo>
                    <a:pt x="463" y="859"/>
                  </a:lnTo>
                  <a:lnTo>
                    <a:pt x="484" y="859"/>
                  </a:lnTo>
                  <a:lnTo>
                    <a:pt x="503" y="842"/>
                  </a:lnTo>
                  <a:lnTo>
                    <a:pt x="522" y="842"/>
                  </a:lnTo>
                  <a:lnTo>
                    <a:pt x="543" y="842"/>
                  </a:lnTo>
                  <a:lnTo>
                    <a:pt x="563" y="842"/>
                  </a:lnTo>
                  <a:lnTo>
                    <a:pt x="584" y="842"/>
                  </a:lnTo>
                  <a:lnTo>
                    <a:pt x="603" y="842"/>
                  </a:lnTo>
                  <a:lnTo>
                    <a:pt x="624" y="825"/>
                  </a:lnTo>
                  <a:lnTo>
                    <a:pt x="643" y="806"/>
                  </a:lnTo>
                  <a:lnTo>
                    <a:pt x="662" y="806"/>
                  </a:lnTo>
                  <a:lnTo>
                    <a:pt x="683" y="806"/>
                  </a:lnTo>
                  <a:lnTo>
                    <a:pt x="703" y="825"/>
                  </a:lnTo>
                  <a:lnTo>
                    <a:pt x="743" y="842"/>
                  </a:lnTo>
                  <a:lnTo>
                    <a:pt x="766" y="842"/>
                  </a:lnTo>
                  <a:lnTo>
                    <a:pt x="766" y="859"/>
                  </a:lnTo>
                  <a:lnTo>
                    <a:pt x="766" y="896"/>
                  </a:lnTo>
                  <a:lnTo>
                    <a:pt x="766" y="911"/>
                  </a:lnTo>
                  <a:lnTo>
                    <a:pt x="743" y="930"/>
                  </a:lnTo>
                  <a:lnTo>
                    <a:pt x="743" y="948"/>
                  </a:lnTo>
                  <a:lnTo>
                    <a:pt x="743" y="967"/>
                  </a:lnTo>
                  <a:lnTo>
                    <a:pt x="766" y="967"/>
                  </a:lnTo>
                  <a:lnTo>
                    <a:pt x="766" y="948"/>
                  </a:lnTo>
                  <a:lnTo>
                    <a:pt x="785" y="967"/>
                  </a:lnTo>
                  <a:lnTo>
                    <a:pt x="785" y="984"/>
                  </a:lnTo>
                  <a:lnTo>
                    <a:pt x="785" y="1001"/>
                  </a:lnTo>
                  <a:lnTo>
                    <a:pt x="804" y="1021"/>
                  </a:lnTo>
                  <a:lnTo>
                    <a:pt x="826" y="1038"/>
                  </a:lnTo>
                  <a:lnTo>
                    <a:pt x="845" y="1021"/>
                  </a:lnTo>
                  <a:lnTo>
                    <a:pt x="845" y="1038"/>
                  </a:lnTo>
                  <a:lnTo>
                    <a:pt x="845" y="1021"/>
                  </a:lnTo>
                  <a:lnTo>
                    <a:pt x="845" y="1001"/>
                  </a:lnTo>
                  <a:lnTo>
                    <a:pt x="866" y="1001"/>
                  </a:lnTo>
                  <a:lnTo>
                    <a:pt x="885" y="1001"/>
                  </a:lnTo>
                  <a:lnTo>
                    <a:pt x="906" y="1001"/>
                  </a:lnTo>
                  <a:lnTo>
                    <a:pt x="925" y="1001"/>
                  </a:lnTo>
                  <a:lnTo>
                    <a:pt x="945" y="1001"/>
                  </a:lnTo>
                  <a:lnTo>
                    <a:pt x="966" y="984"/>
                  </a:lnTo>
                  <a:lnTo>
                    <a:pt x="985" y="984"/>
                  </a:lnTo>
                  <a:lnTo>
                    <a:pt x="985" y="1001"/>
                  </a:lnTo>
                  <a:lnTo>
                    <a:pt x="1025" y="1001"/>
                  </a:lnTo>
                  <a:lnTo>
                    <a:pt x="1025" y="1021"/>
                  </a:lnTo>
                  <a:lnTo>
                    <a:pt x="1046" y="1021"/>
                  </a:lnTo>
                  <a:lnTo>
                    <a:pt x="1046" y="1038"/>
                  </a:lnTo>
                  <a:lnTo>
                    <a:pt x="1066" y="1038"/>
                  </a:lnTo>
                  <a:lnTo>
                    <a:pt x="1046" y="1038"/>
                  </a:lnTo>
                  <a:lnTo>
                    <a:pt x="1066" y="1038"/>
                  </a:lnTo>
                  <a:lnTo>
                    <a:pt x="1085" y="1038"/>
                  </a:lnTo>
                  <a:lnTo>
                    <a:pt x="1106" y="1055"/>
                  </a:lnTo>
                  <a:lnTo>
                    <a:pt x="1106" y="1074"/>
                  </a:lnTo>
                  <a:lnTo>
                    <a:pt x="1125" y="1055"/>
                  </a:lnTo>
                  <a:lnTo>
                    <a:pt x="1125" y="1038"/>
                  </a:lnTo>
                  <a:lnTo>
                    <a:pt x="1146" y="1038"/>
                  </a:lnTo>
                  <a:lnTo>
                    <a:pt x="1165" y="1038"/>
                  </a:lnTo>
                  <a:lnTo>
                    <a:pt x="1165" y="1021"/>
                  </a:lnTo>
                  <a:lnTo>
                    <a:pt x="1206" y="1021"/>
                  </a:lnTo>
                  <a:lnTo>
                    <a:pt x="1225" y="1021"/>
                  </a:lnTo>
                  <a:lnTo>
                    <a:pt x="1225" y="1001"/>
                  </a:lnTo>
                  <a:lnTo>
                    <a:pt x="1248" y="1001"/>
                  </a:lnTo>
                  <a:lnTo>
                    <a:pt x="1307" y="1001"/>
                  </a:lnTo>
                  <a:lnTo>
                    <a:pt x="1328" y="984"/>
                  </a:lnTo>
                  <a:lnTo>
                    <a:pt x="1348" y="967"/>
                  </a:lnTo>
                  <a:lnTo>
                    <a:pt x="1367" y="948"/>
                  </a:lnTo>
                  <a:lnTo>
                    <a:pt x="1388" y="948"/>
                  </a:lnTo>
                  <a:lnTo>
                    <a:pt x="1407" y="911"/>
                  </a:lnTo>
                  <a:lnTo>
                    <a:pt x="1407" y="896"/>
                  </a:lnTo>
                  <a:lnTo>
                    <a:pt x="1428" y="879"/>
                  </a:lnTo>
                  <a:lnTo>
                    <a:pt x="1448" y="859"/>
                  </a:lnTo>
                  <a:lnTo>
                    <a:pt x="1469" y="842"/>
                  </a:lnTo>
                  <a:lnTo>
                    <a:pt x="1469" y="825"/>
                  </a:lnTo>
                  <a:lnTo>
                    <a:pt x="1469" y="806"/>
                  </a:lnTo>
                  <a:lnTo>
                    <a:pt x="1488" y="769"/>
                  </a:lnTo>
                  <a:lnTo>
                    <a:pt x="1469" y="752"/>
                  </a:lnTo>
                  <a:lnTo>
                    <a:pt x="1469" y="715"/>
                  </a:lnTo>
                  <a:lnTo>
                    <a:pt x="1448" y="698"/>
                  </a:lnTo>
                  <a:lnTo>
                    <a:pt x="1448" y="681"/>
                  </a:lnTo>
                  <a:close/>
                </a:path>
              </a:pathLst>
            </a:custGeom>
            <a:solidFill>
              <a:srgbClr val="C0C0C0"/>
            </a:solidFill>
            <a:ln w="9525">
              <a:solidFill>
                <a:srgbClr val="C0C0C0"/>
              </a:solidFill>
              <a:round/>
              <a:headEnd/>
              <a:tailEnd/>
            </a:ln>
          </p:spPr>
          <p:txBody>
            <a:bodyPr/>
            <a:lstStyle/>
            <a:p>
              <a:endParaRPr lang="en-US"/>
            </a:p>
          </p:txBody>
        </p:sp>
        <p:sp>
          <p:nvSpPr>
            <p:cNvPr id="9417" name="Freeform 108"/>
            <p:cNvSpPr>
              <a:spLocks/>
            </p:cNvSpPr>
            <p:nvPr/>
          </p:nvSpPr>
          <p:spPr bwMode="auto">
            <a:xfrm>
              <a:off x="1673" y="2564"/>
              <a:ext cx="725" cy="1030"/>
            </a:xfrm>
            <a:custGeom>
              <a:avLst/>
              <a:gdLst>
                <a:gd name="T0" fmla="*/ 1 w 1450"/>
                <a:gd name="T1" fmla="*/ 1 h 2059"/>
                <a:gd name="T2" fmla="*/ 1 w 1450"/>
                <a:gd name="T3" fmla="*/ 1 h 2059"/>
                <a:gd name="T4" fmla="*/ 1 w 1450"/>
                <a:gd name="T5" fmla="*/ 1 h 2059"/>
                <a:gd name="T6" fmla="*/ 1 w 1450"/>
                <a:gd name="T7" fmla="*/ 1 h 2059"/>
                <a:gd name="T8" fmla="*/ 1 w 1450"/>
                <a:gd name="T9" fmla="*/ 1 h 2059"/>
                <a:gd name="T10" fmla="*/ 1 w 1450"/>
                <a:gd name="T11" fmla="*/ 1 h 2059"/>
                <a:gd name="T12" fmla="*/ 1 w 1450"/>
                <a:gd name="T13" fmla="*/ 1 h 2059"/>
                <a:gd name="T14" fmla="*/ 1 w 1450"/>
                <a:gd name="T15" fmla="*/ 1 h 2059"/>
                <a:gd name="T16" fmla="*/ 1 w 1450"/>
                <a:gd name="T17" fmla="*/ 1 h 2059"/>
                <a:gd name="T18" fmla="*/ 1 w 1450"/>
                <a:gd name="T19" fmla="*/ 1 h 2059"/>
                <a:gd name="T20" fmla="*/ 1 w 1450"/>
                <a:gd name="T21" fmla="*/ 1 h 2059"/>
                <a:gd name="T22" fmla="*/ 1 w 1450"/>
                <a:gd name="T23" fmla="*/ 1 h 2059"/>
                <a:gd name="T24" fmla="*/ 1 w 1450"/>
                <a:gd name="T25" fmla="*/ 1 h 2059"/>
                <a:gd name="T26" fmla="*/ 1 w 1450"/>
                <a:gd name="T27" fmla="*/ 1 h 2059"/>
                <a:gd name="T28" fmla="*/ 1 w 1450"/>
                <a:gd name="T29" fmla="*/ 1 h 2059"/>
                <a:gd name="T30" fmla="*/ 1 w 1450"/>
                <a:gd name="T31" fmla="*/ 1 h 2059"/>
                <a:gd name="T32" fmla="*/ 1 w 1450"/>
                <a:gd name="T33" fmla="*/ 1 h 2059"/>
                <a:gd name="T34" fmla="*/ 1 w 1450"/>
                <a:gd name="T35" fmla="*/ 1 h 2059"/>
                <a:gd name="T36" fmla="*/ 1 w 1450"/>
                <a:gd name="T37" fmla="*/ 1 h 2059"/>
                <a:gd name="T38" fmla="*/ 1 w 1450"/>
                <a:gd name="T39" fmla="*/ 1 h 2059"/>
                <a:gd name="T40" fmla="*/ 1 w 1450"/>
                <a:gd name="T41" fmla="*/ 1 h 2059"/>
                <a:gd name="T42" fmla="*/ 1 w 1450"/>
                <a:gd name="T43" fmla="*/ 1 h 2059"/>
                <a:gd name="T44" fmla="*/ 1 w 1450"/>
                <a:gd name="T45" fmla="*/ 1 h 2059"/>
                <a:gd name="T46" fmla="*/ 1 w 1450"/>
                <a:gd name="T47" fmla="*/ 1 h 2059"/>
                <a:gd name="T48" fmla="*/ 1 w 1450"/>
                <a:gd name="T49" fmla="*/ 1 h 2059"/>
                <a:gd name="T50" fmla="*/ 1 w 1450"/>
                <a:gd name="T51" fmla="*/ 1 h 2059"/>
                <a:gd name="T52" fmla="*/ 1 w 1450"/>
                <a:gd name="T53" fmla="*/ 1 h 2059"/>
                <a:gd name="T54" fmla="*/ 1 w 1450"/>
                <a:gd name="T55" fmla="*/ 1 h 2059"/>
                <a:gd name="T56" fmla="*/ 1 w 1450"/>
                <a:gd name="T57" fmla="*/ 1 h 2059"/>
                <a:gd name="T58" fmla="*/ 1 w 1450"/>
                <a:gd name="T59" fmla="*/ 1 h 2059"/>
                <a:gd name="T60" fmla="*/ 1 w 1450"/>
                <a:gd name="T61" fmla="*/ 1 h 2059"/>
                <a:gd name="T62" fmla="*/ 1 w 1450"/>
                <a:gd name="T63" fmla="*/ 1 h 2059"/>
                <a:gd name="T64" fmla="*/ 1 w 1450"/>
                <a:gd name="T65" fmla="*/ 1 h 2059"/>
                <a:gd name="T66" fmla="*/ 1 w 1450"/>
                <a:gd name="T67" fmla="*/ 1 h 2059"/>
                <a:gd name="T68" fmla="*/ 1 w 1450"/>
                <a:gd name="T69" fmla="*/ 1 h 2059"/>
                <a:gd name="T70" fmla="*/ 1 w 1450"/>
                <a:gd name="T71" fmla="*/ 1 h 2059"/>
                <a:gd name="T72" fmla="*/ 1 w 1450"/>
                <a:gd name="T73" fmla="*/ 1 h 2059"/>
                <a:gd name="T74" fmla="*/ 1 w 1450"/>
                <a:gd name="T75" fmla="*/ 1 h 2059"/>
                <a:gd name="T76" fmla="*/ 1 w 1450"/>
                <a:gd name="T77" fmla="*/ 1 h 2059"/>
                <a:gd name="T78" fmla="*/ 1 w 1450"/>
                <a:gd name="T79" fmla="*/ 1 h 2059"/>
                <a:gd name="T80" fmla="*/ 1 w 1450"/>
                <a:gd name="T81" fmla="*/ 1 h 2059"/>
                <a:gd name="T82" fmla="*/ 1 w 1450"/>
                <a:gd name="T83" fmla="*/ 1 h 2059"/>
                <a:gd name="T84" fmla="*/ 1 w 1450"/>
                <a:gd name="T85" fmla="*/ 1 h 2059"/>
                <a:gd name="T86" fmla="*/ 1 w 1450"/>
                <a:gd name="T87" fmla="*/ 1 h 2059"/>
                <a:gd name="T88" fmla="*/ 1 w 1450"/>
                <a:gd name="T89" fmla="*/ 1 h 2059"/>
                <a:gd name="T90" fmla="*/ 1 w 1450"/>
                <a:gd name="T91" fmla="*/ 1 h 2059"/>
                <a:gd name="T92" fmla="*/ 1 w 1450"/>
                <a:gd name="T93" fmla="*/ 1 h 2059"/>
                <a:gd name="T94" fmla="*/ 1 w 1450"/>
                <a:gd name="T95" fmla="*/ 1 h 2059"/>
                <a:gd name="T96" fmla="*/ 1 w 1450"/>
                <a:gd name="T97" fmla="*/ 1 h 2059"/>
                <a:gd name="T98" fmla="*/ 1 w 1450"/>
                <a:gd name="T99" fmla="*/ 1 h 2059"/>
                <a:gd name="T100" fmla="*/ 1 w 1450"/>
                <a:gd name="T101" fmla="*/ 1 h 2059"/>
                <a:gd name="T102" fmla="*/ 1 w 1450"/>
                <a:gd name="T103" fmla="*/ 1 h 2059"/>
                <a:gd name="T104" fmla="*/ 0 w 1450"/>
                <a:gd name="T105" fmla="*/ 1 h 2059"/>
                <a:gd name="T106" fmla="*/ 1 w 1450"/>
                <a:gd name="T107" fmla="*/ 1 h 2059"/>
                <a:gd name="T108" fmla="*/ 1 w 1450"/>
                <a:gd name="T109" fmla="*/ 1 h 205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450"/>
                <a:gd name="T166" fmla="*/ 0 h 2059"/>
                <a:gd name="T167" fmla="*/ 1450 w 1450"/>
                <a:gd name="T168" fmla="*/ 2059 h 205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450" h="2059">
                  <a:moveTo>
                    <a:pt x="140" y="217"/>
                  </a:moveTo>
                  <a:lnTo>
                    <a:pt x="121" y="199"/>
                  </a:lnTo>
                  <a:lnTo>
                    <a:pt x="121" y="180"/>
                  </a:lnTo>
                  <a:lnTo>
                    <a:pt x="140" y="180"/>
                  </a:lnTo>
                  <a:lnTo>
                    <a:pt x="140" y="163"/>
                  </a:lnTo>
                  <a:lnTo>
                    <a:pt x="121" y="163"/>
                  </a:lnTo>
                  <a:lnTo>
                    <a:pt x="121" y="144"/>
                  </a:lnTo>
                  <a:lnTo>
                    <a:pt x="102" y="144"/>
                  </a:lnTo>
                  <a:lnTo>
                    <a:pt x="121" y="126"/>
                  </a:lnTo>
                  <a:lnTo>
                    <a:pt x="140" y="109"/>
                  </a:lnTo>
                  <a:lnTo>
                    <a:pt x="140" y="90"/>
                  </a:lnTo>
                  <a:lnTo>
                    <a:pt x="161" y="90"/>
                  </a:lnTo>
                  <a:lnTo>
                    <a:pt x="181" y="90"/>
                  </a:lnTo>
                  <a:lnTo>
                    <a:pt x="181" y="73"/>
                  </a:lnTo>
                  <a:lnTo>
                    <a:pt x="181" y="55"/>
                  </a:lnTo>
                  <a:lnTo>
                    <a:pt x="202" y="36"/>
                  </a:lnTo>
                  <a:lnTo>
                    <a:pt x="244" y="36"/>
                  </a:lnTo>
                  <a:lnTo>
                    <a:pt x="263" y="19"/>
                  </a:lnTo>
                  <a:lnTo>
                    <a:pt x="284" y="19"/>
                  </a:lnTo>
                  <a:lnTo>
                    <a:pt x="304" y="19"/>
                  </a:lnTo>
                  <a:lnTo>
                    <a:pt x="323" y="0"/>
                  </a:lnTo>
                  <a:lnTo>
                    <a:pt x="323" y="19"/>
                  </a:lnTo>
                  <a:lnTo>
                    <a:pt x="323" y="36"/>
                  </a:lnTo>
                  <a:lnTo>
                    <a:pt x="304" y="36"/>
                  </a:lnTo>
                  <a:lnTo>
                    <a:pt x="304" y="55"/>
                  </a:lnTo>
                  <a:lnTo>
                    <a:pt x="304" y="73"/>
                  </a:lnTo>
                  <a:lnTo>
                    <a:pt x="323" y="90"/>
                  </a:lnTo>
                  <a:lnTo>
                    <a:pt x="323" y="73"/>
                  </a:lnTo>
                  <a:lnTo>
                    <a:pt x="323" y="55"/>
                  </a:lnTo>
                  <a:lnTo>
                    <a:pt x="323" y="36"/>
                  </a:lnTo>
                  <a:lnTo>
                    <a:pt x="344" y="19"/>
                  </a:lnTo>
                  <a:lnTo>
                    <a:pt x="363" y="19"/>
                  </a:lnTo>
                  <a:lnTo>
                    <a:pt x="384" y="19"/>
                  </a:lnTo>
                  <a:lnTo>
                    <a:pt x="363" y="19"/>
                  </a:lnTo>
                  <a:lnTo>
                    <a:pt x="344" y="19"/>
                  </a:lnTo>
                  <a:lnTo>
                    <a:pt x="363" y="19"/>
                  </a:lnTo>
                  <a:lnTo>
                    <a:pt x="384" y="19"/>
                  </a:lnTo>
                  <a:lnTo>
                    <a:pt x="403" y="36"/>
                  </a:lnTo>
                  <a:lnTo>
                    <a:pt x="424" y="36"/>
                  </a:lnTo>
                  <a:lnTo>
                    <a:pt x="463" y="36"/>
                  </a:lnTo>
                  <a:lnTo>
                    <a:pt x="484" y="36"/>
                  </a:lnTo>
                  <a:lnTo>
                    <a:pt x="484" y="55"/>
                  </a:lnTo>
                  <a:lnTo>
                    <a:pt x="503" y="55"/>
                  </a:lnTo>
                  <a:lnTo>
                    <a:pt x="524" y="55"/>
                  </a:lnTo>
                  <a:lnTo>
                    <a:pt x="544" y="36"/>
                  </a:lnTo>
                  <a:lnTo>
                    <a:pt x="565" y="36"/>
                  </a:lnTo>
                  <a:lnTo>
                    <a:pt x="584" y="36"/>
                  </a:lnTo>
                  <a:lnTo>
                    <a:pt x="603" y="36"/>
                  </a:lnTo>
                  <a:lnTo>
                    <a:pt x="584" y="36"/>
                  </a:lnTo>
                  <a:lnTo>
                    <a:pt x="584" y="55"/>
                  </a:lnTo>
                  <a:lnTo>
                    <a:pt x="603" y="55"/>
                  </a:lnTo>
                  <a:lnTo>
                    <a:pt x="603" y="73"/>
                  </a:lnTo>
                  <a:lnTo>
                    <a:pt x="624" y="73"/>
                  </a:lnTo>
                  <a:lnTo>
                    <a:pt x="643" y="90"/>
                  </a:lnTo>
                  <a:lnTo>
                    <a:pt x="664" y="90"/>
                  </a:lnTo>
                  <a:lnTo>
                    <a:pt x="705" y="109"/>
                  </a:lnTo>
                  <a:lnTo>
                    <a:pt x="705" y="126"/>
                  </a:lnTo>
                  <a:lnTo>
                    <a:pt x="726" y="144"/>
                  </a:lnTo>
                  <a:lnTo>
                    <a:pt x="726" y="163"/>
                  </a:lnTo>
                  <a:lnTo>
                    <a:pt x="766" y="163"/>
                  </a:lnTo>
                  <a:lnTo>
                    <a:pt x="785" y="180"/>
                  </a:lnTo>
                  <a:lnTo>
                    <a:pt x="806" y="180"/>
                  </a:lnTo>
                  <a:lnTo>
                    <a:pt x="826" y="180"/>
                  </a:lnTo>
                  <a:lnTo>
                    <a:pt x="847" y="180"/>
                  </a:lnTo>
                  <a:lnTo>
                    <a:pt x="866" y="199"/>
                  </a:lnTo>
                  <a:lnTo>
                    <a:pt x="906" y="199"/>
                  </a:lnTo>
                  <a:lnTo>
                    <a:pt x="906" y="217"/>
                  </a:lnTo>
                  <a:lnTo>
                    <a:pt x="926" y="217"/>
                  </a:lnTo>
                  <a:lnTo>
                    <a:pt x="926" y="253"/>
                  </a:lnTo>
                  <a:lnTo>
                    <a:pt x="947" y="270"/>
                  </a:lnTo>
                  <a:lnTo>
                    <a:pt x="966" y="288"/>
                  </a:lnTo>
                  <a:lnTo>
                    <a:pt x="987" y="305"/>
                  </a:lnTo>
                  <a:lnTo>
                    <a:pt x="947" y="322"/>
                  </a:lnTo>
                  <a:lnTo>
                    <a:pt x="926" y="341"/>
                  </a:lnTo>
                  <a:lnTo>
                    <a:pt x="926" y="359"/>
                  </a:lnTo>
                  <a:lnTo>
                    <a:pt x="926" y="376"/>
                  </a:lnTo>
                  <a:lnTo>
                    <a:pt x="947" y="376"/>
                  </a:lnTo>
                  <a:lnTo>
                    <a:pt x="947" y="395"/>
                  </a:lnTo>
                  <a:lnTo>
                    <a:pt x="966" y="395"/>
                  </a:lnTo>
                  <a:lnTo>
                    <a:pt x="987" y="395"/>
                  </a:lnTo>
                  <a:lnTo>
                    <a:pt x="1006" y="395"/>
                  </a:lnTo>
                  <a:lnTo>
                    <a:pt x="1006" y="376"/>
                  </a:lnTo>
                  <a:lnTo>
                    <a:pt x="1027" y="359"/>
                  </a:lnTo>
                  <a:lnTo>
                    <a:pt x="1046" y="359"/>
                  </a:lnTo>
                  <a:lnTo>
                    <a:pt x="1066" y="359"/>
                  </a:lnTo>
                  <a:lnTo>
                    <a:pt x="1106" y="376"/>
                  </a:lnTo>
                  <a:lnTo>
                    <a:pt x="1106" y="395"/>
                  </a:lnTo>
                  <a:lnTo>
                    <a:pt x="1127" y="395"/>
                  </a:lnTo>
                  <a:lnTo>
                    <a:pt x="1127" y="412"/>
                  </a:lnTo>
                  <a:lnTo>
                    <a:pt x="1146" y="412"/>
                  </a:lnTo>
                  <a:lnTo>
                    <a:pt x="1167" y="412"/>
                  </a:lnTo>
                  <a:lnTo>
                    <a:pt x="1167" y="395"/>
                  </a:lnTo>
                  <a:lnTo>
                    <a:pt x="1187" y="395"/>
                  </a:lnTo>
                  <a:lnTo>
                    <a:pt x="1187" y="412"/>
                  </a:lnTo>
                  <a:lnTo>
                    <a:pt x="1208" y="412"/>
                  </a:lnTo>
                  <a:lnTo>
                    <a:pt x="1229" y="412"/>
                  </a:lnTo>
                  <a:lnTo>
                    <a:pt x="1248" y="412"/>
                  </a:lnTo>
                  <a:lnTo>
                    <a:pt x="1288" y="412"/>
                  </a:lnTo>
                  <a:lnTo>
                    <a:pt x="1309" y="430"/>
                  </a:lnTo>
                  <a:lnTo>
                    <a:pt x="1329" y="449"/>
                  </a:lnTo>
                  <a:lnTo>
                    <a:pt x="1348" y="466"/>
                  </a:lnTo>
                  <a:lnTo>
                    <a:pt x="1388" y="485"/>
                  </a:lnTo>
                  <a:lnTo>
                    <a:pt x="1409" y="485"/>
                  </a:lnTo>
                  <a:lnTo>
                    <a:pt x="1428" y="485"/>
                  </a:lnTo>
                  <a:lnTo>
                    <a:pt x="1450" y="520"/>
                  </a:lnTo>
                  <a:lnTo>
                    <a:pt x="1428" y="574"/>
                  </a:lnTo>
                  <a:lnTo>
                    <a:pt x="1388" y="629"/>
                  </a:lnTo>
                  <a:lnTo>
                    <a:pt x="1369" y="662"/>
                  </a:lnTo>
                  <a:lnTo>
                    <a:pt x="1369" y="681"/>
                  </a:lnTo>
                  <a:lnTo>
                    <a:pt x="1348" y="681"/>
                  </a:lnTo>
                  <a:lnTo>
                    <a:pt x="1329" y="698"/>
                  </a:lnTo>
                  <a:lnTo>
                    <a:pt x="1309" y="698"/>
                  </a:lnTo>
                  <a:lnTo>
                    <a:pt x="1309" y="716"/>
                  </a:lnTo>
                  <a:lnTo>
                    <a:pt x="1309" y="752"/>
                  </a:lnTo>
                  <a:lnTo>
                    <a:pt x="1309" y="771"/>
                  </a:lnTo>
                  <a:lnTo>
                    <a:pt x="1309" y="788"/>
                  </a:lnTo>
                  <a:lnTo>
                    <a:pt x="1309" y="806"/>
                  </a:lnTo>
                  <a:lnTo>
                    <a:pt x="1309" y="825"/>
                  </a:lnTo>
                  <a:lnTo>
                    <a:pt x="1309" y="842"/>
                  </a:lnTo>
                  <a:lnTo>
                    <a:pt x="1288" y="842"/>
                  </a:lnTo>
                  <a:lnTo>
                    <a:pt x="1288" y="860"/>
                  </a:lnTo>
                  <a:lnTo>
                    <a:pt x="1288" y="879"/>
                  </a:lnTo>
                  <a:lnTo>
                    <a:pt x="1269" y="915"/>
                  </a:lnTo>
                  <a:lnTo>
                    <a:pt x="1248" y="932"/>
                  </a:lnTo>
                  <a:lnTo>
                    <a:pt x="1248" y="950"/>
                  </a:lnTo>
                  <a:lnTo>
                    <a:pt x="1248" y="969"/>
                  </a:lnTo>
                  <a:lnTo>
                    <a:pt x="1229" y="969"/>
                  </a:lnTo>
                  <a:lnTo>
                    <a:pt x="1208" y="986"/>
                  </a:lnTo>
                  <a:lnTo>
                    <a:pt x="1187" y="986"/>
                  </a:lnTo>
                  <a:lnTo>
                    <a:pt x="1146" y="986"/>
                  </a:lnTo>
                  <a:lnTo>
                    <a:pt x="1127" y="986"/>
                  </a:lnTo>
                  <a:lnTo>
                    <a:pt x="1127" y="1003"/>
                  </a:lnTo>
                  <a:lnTo>
                    <a:pt x="1106" y="1021"/>
                  </a:lnTo>
                  <a:lnTo>
                    <a:pt x="1066" y="1021"/>
                  </a:lnTo>
                  <a:lnTo>
                    <a:pt x="1046" y="1038"/>
                  </a:lnTo>
                  <a:lnTo>
                    <a:pt x="1027" y="1055"/>
                  </a:lnTo>
                  <a:lnTo>
                    <a:pt x="1006" y="1074"/>
                  </a:lnTo>
                  <a:lnTo>
                    <a:pt x="1006" y="1092"/>
                  </a:lnTo>
                  <a:lnTo>
                    <a:pt x="1006" y="1111"/>
                  </a:lnTo>
                  <a:lnTo>
                    <a:pt x="1006" y="1145"/>
                  </a:lnTo>
                  <a:lnTo>
                    <a:pt x="987" y="1165"/>
                  </a:lnTo>
                  <a:lnTo>
                    <a:pt x="966" y="1199"/>
                  </a:lnTo>
                  <a:lnTo>
                    <a:pt x="966" y="1218"/>
                  </a:lnTo>
                  <a:lnTo>
                    <a:pt x="947" y="1218"/>
                  </a:lnTo>
                  <a:lnTo>
                    <a:pt x="926" y="1255"/>
                  </a:lnTo>
                  <a:lnTo>
                    <a:pt x="906" y="1272"/>
                  </a:lnTo>
                  <a:lnTo>
                    <a:pt x="887" y="1289"/>
                  </a:lnTo>
                  <a:lnTo>
                    <a:pt x="866" y="1309"/>
                  </a:lnTo>
                  <a:lnTo>
                    <a:pt x="847" y="1343"/>
                  </a:lnTo>
                  <a:lnTo>
                    <a:pt x="806" y="1362"/>
                  </a:lnTo>
                  <a:lnTo>
                    <a:pt x="785" y="1343"/>
                  </a:lnTo>
                  <a:lnTo>
                    <a:pt x="766" y="1343"/>
                  </a:lnTo>
                  <a:lnTo>
                    <a:pt x="745" y="1343"/>
                  </a:lnTo>
                  <a:lnTo>
                    <a:pt x="726" y="1343"/>
                  </a:lnTo>
                  <a:lnTo>
                    <a:pt x="745" y="1362"/>
                  </a:lnTo>
                  <a:lnTo>
                    <a:pt x="745" y="1378"/>
                  </a:lnTo>
                  <a:lnTo>
                    <a:pt x="766" y="1397"/>
                  </a:lnTo>
                  <a:lnTo>
                    <a:pt x="785" y="1397"/>
                  </a:lnTo>
                  <a:lnTo>
                    <a:pt x="785" y="1414"/>
                  </a:lnTo>
                  <a:lnTo>
                    <a:pt x="785" y="1431"/>
                  </a:lnTo>
                  <a:lnTo>
                    <a:pt x="766" y="1451"/>
                  </a:lnTo>
                  <a:lnTo>
                    <a:pt x="745" y="1468"/>
                  </a:lnTo>
                  <a:lnTo>
                    <a:pt x="726" y="1468"/>
                  </a:lnTo>
                  <a:lnTo>
                    <a:pt x="705" y="1468"/>
                  </a:lnTo>
                  <a:lnTo>
                    <a:pt x="664" y="1485"/>
                  </a:lnTo>
                  <a:lnTo>
                    <a:pt x="624" y="1485"/>
                  </a:lnTo>
                  <a:lnTo>
                    <a:pt x="603" y="1485"/>
                  </a:lnTo>
                  <a:lnTo>
                    <a:pt x="603" y="1504"/>
                  </a:lnTo>
                  <a:lnTo>
                    <a:pt x="603" y="1522"/>
                  </a:lnTo>
                  <a:lnTo>
                    <a:pt x="603" y="1541"/>
                  </a:lnTo>
                  <a:lnTo>
                    <a:pt x="603" y="1558"/>
                  </a:lnTo>
                  <a:lnTo>
                    <a:pt x="584" y="1558"/>
                  </a:lnTo>
                  <a:lnTo>
                    <a:pt x="584" y="1575"/>
                  </a:lnTo>
                  <a:lnTo>
                    <a:pt x="565" y="1558"/>
                  </a:lnTo>
                  <a:lnTo>
                    <a:pt x="544" y="1558"/>
                  </a:lnTo>
                  <a:lnTo>
                    <a:pt x="524" y="1558"/>
                  </a:lnTo>
                  <a:lnTo>
                    <a:pt x="524" y="1575"/>
                  </a:lnTo>
                  <a:lnTo>
                    <a:pt x="524" y="1595"/>
                  </a:lnTo>
                  <a:lnTo>
                    <a:pt x="544" y="1595"/>
                  </a:lnTo>
                  <a:lnTo>
                    <a:pt x="565" y="1595"/>
                  </a:lnTo>
                  <a:lnTo>
                    <a:pt x="565" y="1612"/>
                  </a:lnTo>
                  <a:lnTo>
                    <a:pt x="544" y="1612"/>
                  </a:lnTo>
                  <a:lnTo>
                    <a:pt x="524" y="1612"/>
                  </a:lnTo>
                  <a:lnTo>
                    <a:pt x="524" y="1629"/>
                  </a:lnTo>
                  <a:lnTo>
                    <a:pt x="524" y="1666"/>
                  </a:lnTo>
                  <a:lnTo>
                    <a:pt x="524" y="1685"/>
                  </a:lnTo>
                  <a:lnTo>
                    <a:pt x="503" y="1702"/>
                  </a:lnTo>
                  <a:lnTo>
                    <a:pt x="484" y="1702"/>
                  </a:lnTo>
                  <a:lnTo>
                    <a:pt x="463" y="1702"/>
                  </a:lnTo>
                  <a:lnTo>
                    <a:pt x="463" y="1737"/>
                  </a:lnTo>
                  <a:lnTo>
                    <a:pt x="463" y="1754"/>
                  </a:lnTo>
                  <a:lnTo>
                    <a:pt x="484" y="1754"/>
                  </a:lnTo>
                  <a:lnTo>
                    <a:pt x="503" y="1790"/>
                  </a:lnTo>
                  <a:lnTo>
                    <a:pt x="484" y="1808"/>
                  </a:lnTo>
                  <a:lnTo>
                    <a:pt x="463" y="1808"/>
                  </a:lnTo>
                  <a:lnTo>
                    <a:pt x="463" y="1827"/>
                  </a:lnTo>
                  <a:lnTo>
                    <a:pt x="444" y="1827"/>
                  </a:lnTo>
                  <a:lnTo>
                    <a:pt x="444" y="1844"/>
                  </a:lnTo>
                  <a:lnTo>
                    <a:pt x="444" y="1861"/>
                  </a:lnTo>
                  <a:lnTo>
                    <a:pt x="424" y="1861"/>
                  </a:lnTo>
                  <a:lnTo>
                    <a:pt x="403" y="1861"/>
                  </a:lnTo>
                  <a:lnTo>
                    <a:pt x="403" y="1881"/>
                  </a:lnTo>
                  <a:lnTo>
                    <a:pt x="403" y="1915"/>
                  </a:lnTo>
                  <a:lnTo>
                    <a:pt x="424" y="1952"/>
                  </a:lnTo>
                  <a:lnTo>
                    <a:pt x="424" y="1971"/>
                  </a:lnTo>
                  <a:lnTo>
                    <a:pt x="444" y="1988"/>
                  </a:lnTo>
                  <a:lnTo>
                    <a:pt x="463" y="2005"/>
                  </a:lnTo>
                  <a:lnTo>
                    <a:pt x="484" y="2025"/>
                  </a:lnTo>
                  <a:lnTo>
                    <a:pt x="524" y="2042"/>
                  </a:lnTo>
                  <a:lnTo>
                    <a:pt x="503" y="2042"/>
                  </a:lnTo>
                  <a:lnTo>
                    <a:pt x="484" y="2042"/>
                  </a:lnTo>
                  <a:lnTo>
                    <a:pt x="463" y="2042"/>
                  </a:lnTo>
                  <a:lnTo>
                    <a:pt x="463" y="2059"/>
                  </a:lnTo>
                  <a:lnTo>
                    <a:pt x="444" y="2059"/>
                  </a:lnTo>
                  <a:lnTo>
                    <a:pt x="424" y="2059"/>
                  </a:lnTo>
                  <a:lnTo>
                    <a:pt x="403" y="2059"/>
                  </a:lnTo>
                  <a:lnTo>
                    <a:pt x="384" y="2059"/>
                  </a:lnTo>
                  <a:lnTo>
                    <a:pt x="384" y="2042"/>
                  </a:lnTo>
                  <a:lnTo>
                    <a:pt x="363" y="2042"/>
                  </a:lnTo>
                  <a:lnTo>
                    <a:pt x="344" y="2025"/>
                  </a:lnTo>
                  <a:lnTo>
                    <a:pt x="323" y="2025"/>
                  </a:lnTo>
                  <a:lnTo>
                    <a:pt x="323" y="2005"/>
                  </a:lnTo>
                  <a:lnTo>
                    <a:pt x="304" y="2005"/>
                  </a:lnTo>
                  <a:lnTo>
                    <a:pt x="284" y="2005"/>
                  </a:lnTo>
                  <a:lnTo>
                    <a:pt x="284" y="1988"/>
                  </a:lnTo>
                  <a:lnTo>
                    <a:pt x="263" y="1988"/>
                  </a:lnTo>
                  <a:lnTo>
                    <a:pt x="263" y="1971"/>
                  </a:lnTo>
                  <a:lnTo>
                    <a:pt x="244" y="1971"/>
                  </a:lnTo>
                  <a:lnTo>
                    <a:pt x="221" y="1971"/>
                  </a:lnTo>
                  <a:lnTo>
                    <a:pt x="244" y="1952"/>
                  </a:lnTo>
                  <a:lnTo>
                    <a:pt x="263" y="1934"/>
                  </a:lnTo>
                  <a:lnTo>
                    <a:pt x="244" y="1934"/>
                  </a:lnTo>
                  <a:lnTo>
                    <a:pt x="244" y="1915"/>
                  </a:lnTo>
                  <a:lnTo>
                    <a:pt x="221" y="1898"/>
                  </a:lnTo>
                  <a:lnTo>
                    <a:pt x="221" y="1881"/>
                  </a:lnTo>
                  <a:lnTo>
                    <a:pt x="221" y="1861"/>
                  </a:lnTo>
                  <a:lnTo>
                    <a:pt x="202" y="1844"/>
                  </a:lnTo>
                  <a:lnTo>
                    <a:pt x="202" y="1827"/>
                  </a:lnTo>
                  <a:lnTo>
                    <a:pt x="202" y="1808"/>
                  </a:lnTo>
                  <a:lnTo>
                    <a:pt x="221" y="1790"/>
                  </a:lnTo>
                  <a:lnTo>
                    <a:pt x="221" y="1771"/>
                  </a:lnTo>
                  <a:lnTo>
                    <a:pt x="221" y="1754"/>
                  </a:lnTo>
                  <a:lnTo>
                    <a:pt x="202" y="1754"/>
                  </a:lnTo>
                  <a:lnTo>
                    <a:pt x="202" y="1737"/>
                  </a:lnTo>
                  <a:lnTo>
                    <a:pt x="202" y="1717"/>
                  </a:lnTo>
                  <a:lnTo>
                    <a:pt x="221" y="1717"/>
                  </a:lnTo>
                  <a:lnTo>
                    <a:pt x="244" y="1717"/>
                  </a:lnTo>
                  <a:lnTo>
                    <a:pt x="244" y="1737"/>
                  </a:lnTo>
                  <a:lnTo>
                    <a:pt x="263" y="1737"/>
                  </a:lnTo>
                  <a:lnTo>
                    <a:pt x="263" y="1702"/>
                  </a:lnTo>
                  <a:lnTo>
                    <a:pt x="263" y="1629"/>
                  </a:lnTo>
                  <a:lnTo>
                    <a:pt x="284" y="1595"/>
                  </a:lnTo>
                  <a:lnTo>
                    <a:pt x="284" y="1575"/>
                  </a:lnTo>
                  <a:lnTo>
                    <a:pt x="263" y="1575"/>
                  </a:lnTo>
                  <a:lnTo>
                    <a:pt x="244" y="1575"/>
                  </a:lnTo>
                  <a:lnTo>
                    <a:pt x="244" y="1558"/>
                  </a:lnTo>
                  <a:lnTo>
                    <a:pt x="244" y="1541"/>
                  </a:lnTo>
                  <a:lnTo>
                    <a:pt x="263" y="1522"/>
                  </a:lnTo>
                  <a:lnTo>
                    <a:pt x="263" y="1504"/>
                  </a:lnTo>
                  <a:lnTo>
                    <a:pt x="263" y="1485"/>
                  </a:lnTo>
                  <a:lnTo>
                    <a:pt x="263" y="1468"/>
                  </a:lnTo>
                  <a:lnTo>
                    <a:pt x="263" y="1431"/>
                  </a:lnTo>
                  <a:lnTo>
                    <a:pt x="263" y="1414"/>
                  </a:lnTo>
                  <a:lnTo>
                    <a:pt x="284" y="1397"/>
                  </a:lnTo>
                  <a:lnTo>
                    <a:pt x="284" y="1378"/>
                  </a:lnTo>
                  <a:lnTo>
                    <a:pt x="304" y="1378"/>
                  </a:lnTo>
                  <a:lnTo>
                    <a:pt x="304" y="1362"/>
                  </a:lnTo>
                  <a:lnTo>
                    <a:pt x="304" y="1343"/>
                  </a:lnTo>
                  <a:lnTo>
                    <a:pt x="323" y="1326"/>
                  </a:lnTo>
                  <a:lnTo>
                    <a:pt x="323" y="1309"/>
                  </a:lnTo>
                  <a:lnTo>
                    <a:pt x="323" y="1289"/>
                  </a:lnTo>
                  <a:lnTo>
                    <a:pt x="323" y="1255"/>
                  </a:lnTo>
                  <a:lnTo>
                    <a:pt x="323" y="1236"/>
                  </a:lnTo>
                  <a:lnTo>
                    <a:pt x="323" y="1218"/>
                  </a:lnTo>
                  <a:lnTo>
                    <a:pt x="323" y="1199"/>
                  </a:lnTo>
                  <a:lnTo>
                    <a:pt x="323" y="1182"/>
                  </a:lnTo>
                  <a:lnTo>
                    <a:pt x="323" y="1165"/>
                  </a:lnTo>
                  <a:lnTo>
                    <a:pt x="323" y="1111"/>
                  </a:lnTo>
                  <a:lnTo>
                    <a:pt x="344" y="1092"/>
                  </a:lnTo>
                  <a:lnTo>
                    <a:pt x="344" y="1074"/>
                  </a:lnTo>
                  <a:lnTo>
                    <a:pt x="344" y="1055"/>
                  </a:lnTo>
                  <a:lnTo>
                    <a:pt x="344" y="1038"/>
                  </a:lnTo>
                  <a:lnTo>
                    <a:pt x="344" y="1021"/>
                  </a:lnTo>
                  <a:lnTo>
                    <a:pt x="344" y="1003"/>
                  </a:lnTo>
                  <a:lnTo>
                    <a:pt x="344" y="986"/>
                  </a:lnTo>
                  <a:lnTo>
                    <a:pt x="363" y="969"/>
                  </a:lnTo>
                  <a:lnTo>
                    <a:pt x="363" y="950"/>
                  </a:lnTo>
                  <a:lnTo>
                    <a:pt x="363" y="932"/>
                  </a:lnTo>
                  <a:lnTo>
                    <a:pt x="363" y="896"/>
                  </a:lnTo>
                  <a:lnTo>
                    <a:pt x="344" y="860"/>
                  </a:lnTo>
                  <a:lnTo>
                    <a:pt x="323" y="842"/>
                  </a:lnTo>
                  <a:lnTo>
                    <a:pt x="304" y="825"/>
                  </a:lnTo>
                  <a:lnTo>
                    <a:pt x="284" y="825"/>
                  </a:lnTo>
                  <a:lnTo>
                    <a:pt x="284" y="806"/>
                  </a:lnTo>
                  <a:lnTo>
                    <a:pt x="263" y="806"/>
                  </a:lnTo>
                  <a:lnTo>
                    <a:pt x="244" y="806"/>
                  </a:lnTo>
                  <a:lnTo>
                    <a:pt x="221" y="788"/>
                  </a:lnTo>
                  <a:lnTo>
                    <a:pt x="202" y="788"/>
                  </a:lnTo>
                  <a:lnTo>
                    <a:pt x="181" y="771"/>
                  </a:lnTo>
                  <a:lnTo>
                    <a:pt x="161" y="752"/>
                  </a:lnTo>
                  <a:lnTo>
                    <a:pt x="161" y="735"/>
                  </a:lnTo>
                  <a:lnTo>
                    <a:pt x="161" y="716"/>
                  </a:lnTo>
                  <a:lnTo>
                    <a:pt x="161" y="698"/>
                  </a:lnTo>
                  <a:lnTo>
                    <a:pt x="140" y="698"/>
                  </a:lnTo>
                  <a:lnTo>
                    <a:pt x="140" y="662"/>
                  </a:lnTo>
                  <a:lnTo>
                    <a:pt x="121" y="646"/>
                  </a:lnTo>
                  <a:lnTo>
                    <a:pt x="102" y="629"/>
                  </a:lnTo>
                  <a:lnTo>
                    <a:pt x="102" y="610"/>
                  </a:lnTo>
                  <a:lnTo>
                    <a:pt x="81" y="574"/>
                  </a:lnTo>
                  <a:lnTo>
                    <a:pt x="62" y="574"/>
                  </a:lnTo>
                  <a:lnTo>
                    <a:pt x="62" y="556"/>
                  </a:lnTo>
                  <a:lnTo>
                    <a:pt x="62" y="539"/>
                  </a:lnTo>
                  <a:lnTo>
                    <a:pt x="41" y="520"/>
                  </a:lnTo>
                  <a:lnTo>
                    <a:pt x="21" y="520"/>
                  </a:lnTo>
                  <a:lnTo>
                    <a:pt x="0" y="503"/>
                  </a:lnTo>
                  <a:lnTo>
                    <a:pt x="0" y="485"/>
                  </a:lnTo>
                  <a:lnTo>
                    <a:pt x="0" y="466"/>
                  </a:lnTo>
                  <a:lnTo>
                    <a:pt x="0" y="449"/>
                  </a:lnTo>
                  <a:lnTo>
                    <a:pt x="21" y="449"/>
                  </a:lnTo>
                  <a:lnTo>
                    <a:pt x="41" y="449"/>
                  </a:lnTo>
                  <a:lnTo>
                    <a:pt x="41" y="430"/>
                  </a:lnTo>
                  <a:lnTo>
                    <a:pt x="62" y="412"/>
                  </a:lnTo>
                  <a:lnTo>
                    <a:pt x="41" y="412"/>
                  </a:lnTo>
                  <a:lnTo>
                    <a:pt x="21" y="412"/>
                  </a:lnTo>
                  <a:lnTo>
                    <a:pt x="21" y="395"/>
                  </a:lnTo>
                  <a:lnTo>
                    <a:pt x="21" y="359"/>
                  </a:lnTo>
                  <a:lnTo>
                    <a:pt x="41" y="341"/>
                  </a:lnTo>
                  <a:lnTo>
                    <a:pt x="41" y="322"/>
                  </a:lnTo>
                  <a:lnTo>
                    <a:pt x="62" y="322"/>
                  </a:lnTo>
                  <a:lnTo>
                    <a:pt x="81" y="288"/>
                  </a:lnTo>
                  <a:lnTo>
                    <a:pt x="81" y="270"/>
                  </a:lnTo>
                  <a:lnTo>
                    <a:pt x="102" y="270"/>
                  </a:lnTo>
                  <a:lnTo>
                    <a:pt x="121" y="253"/>
                  </a:lnTo>
                  <a:lnTo>
                    <a:pt x="140" y="234"/>
                  </a:lnTo>
                  <a:lnTo>
                    <a:pt x="140" y="217"/>
                  </a:lnTo>
                  <a:close/>
                </a:path>
              </a:pathLst>
            </a:custGeom>
            <a:solidFill>
              <a:srgbClr val="C0C0C0"/>
            </a:solidFill>
            <a:ln w="9525">
              <a:solidFill>
                <a:srgbClr val="C0C0C0"/>
              </a:solidFill>
              <a:round/>
              <a:headEnd/>
              <a:tailEnd/>
            </a:ln>
          </p:spPr>
          <p:txBody>
            <a:bodyPr/>
            <a:lstStyle/>
            <a:p>
              <a:endParaRPr lang="en-US"/>
            </a:p>
          </p:txBody>
        </p:sp>
        <p:sp>
          <p:nvSpPr>
            <p:cNvPr id="9418" name="Freeform 109"/>
            <p:cNvSpPr>
              <a:spLocks/>
            </p:cNvSpPr>
            <p:nvPr/>
          </p:nvSpPr>
          <p:spPr bwMode="auto">
            <a:xfrm>
              <a:off x="1000" y="1993"/>
              <a:ext cx="905" cy="392"/>
            </a:xfrm>
            <a:custGeom>
              <a:avLst/>
              <a:gdLst>
                <a:gd name="T0" fmla="*/ 1 w 1810"/>
                <a:gd name="T1" fmla="*/ 0 h 785"/>
                <a:gd name="T2" fmla="*/ 1 w 1810"/>
                <a:gd name="T3" fmla="*/ 0 h 785"/>
                <a:gd name="T4" fmla="*/ 1 w 1810"/>
                <a:gd name="T5" fmla="*/ 0 h 785"/>
                <a:gd name="T6" fmla="*/ 1 w 1810"/>
                <a:gd name="T7" fmla="*/ 0 h 785"/>
                <a:gd name="T8" fmla="*/ 1 w 1810"/>
                <a:gd name="T9" fmla="*/ 0 h 785"/>
                <a:gd name="T10" fmla="*/ 1 w 1810"/>
                <a:gd name="T11" fmla="*/ 0 h 785"/>
                <a:gd name="T12" fmla="*/ 1 w 1810"/>
                <a:gd name="T13" fmla="*/ 0 h 785"/>
                <a:gd name="T14" fmla="*/ 1 w 1810"/>
                <a:gd name="T15" fmla="*/ 0 h 785"/>
                <a:gd name="T16" fmla="*/ 1 w 1810"/>
                <a:gd name="T17" fmla="*/ 0 h 785"/>
                <a:gd name="T18" fmla="*/ 1 w 1810"/>
                <a:gd name="T19" fmla="*/ 0 h 785"/>
                <a:gd name="T20" fmla="*/ 1 w 1810"/>
                <a:gd name="T21" fmla="*/ 0 h 785"/>
                <a:gd name="T22" fmla="*/ 1 w 1810"/>
                <a:gd name="T23" fmla="*/ 0 h 785"/>
                <a:gd name="T24" fmla="*/ 1 w 1810"/>
                <a:gd name="T25" fmla="*/ 0 h 785"/>
                <a:gd name="T26" fmla="*/ 1 w 1810"/>
                <a:gd name="T27" fmla="*/ 0 h 785"/>
                <a:gd name="T28" fmla="*/ 1 w 1810"/>
                <a:gd name="T29" fmla="*/ 0 h 785"/>
                <a:gd name="T30" fmla="*/ 1 w 1810"/>
                <a:gd name="T31" fmla="*/ 0 h 785"/>
                <a:gd name="T32" fmla="*/ 1 w 1810"/>
                <a:gd name="T33" fmla="*/ 0 h 785"/>
                <a:gd name="T34" fmla="*/ 1 w 1810"/>
                <a:gd name="T35" fmla="*/ 0 h 785"/>
                <a:gd name="T36" fmla="*/ 1 w 1810"/>
                <a:gd name="T37" fmla="*/ 0 h 785"/>
                <a:gd name="T38" fmla="*/ 0 w 1810"/>
                <a:gd name="T39" fmla="*/ 0 h 785"/>
                <a:gd name="T40" fmla="*/ 0 w 1810"/>
                <a:gd name="T41" fmla="*/ 0 h 785"/>
                <a:gd name="T42" fmla="*/ 1 w 1810"/>
                <a:gd name="T43" fmla="*/ 0 h 785"/>
                <a:gd name="T44" fmla="*/ 1 w 1810"/>
                <a:gd name="T45" fmla="*/ 0 h 785"/>
                <a:gd name="T46" fmla="*/ 1 w 1810"/>
                <a:gd name="T47" fmla="*/ 0 h 785"/>
                <a:gd name="T48" fmla="*/ 1 w 1810"/>
                <a:gd name="T49" fmla="*/ 0 h 785"/>
                <a:gd name="T50" fmla="*/ 1 w 1810"/>
                <a:gd name="T51" fmla="*/ 0 h 785"/>
                <a:gd name="T52" fmla="*/ 1 w 1810"/>
                <a:gd name="T53" fmla="*/ 0 h 785"/>
                <a:gd name="T54" fmla="*/ 1 w 1810"/>
                <a:gd name="T55" fmla="*/ 0 h 785"/>
                <a:gd name="T56" fmla="*/ 1 w 1810"/>
                <a:gd name="T57" fmla="*/ 0 h 785"/>
                <a:gd name="T58" fmla="*/ 1 w 1810"/>
                <a:gd name="T59" fmla="*/ 0 h 785"/>
                <a:gd name="T60" fmla="*/ 1 w 1810"/>
                <a:gd name="T61" fmla="*/ 0 h 785"/>
                <a:gd name="T62" fmla="*/ 1 w 1810"/>
                <a:gd name="T63" fmla="*/ 0 h 785"/>
                <a:gd name="T64" fmla="*/ 1 w 1810"/>
                <a:gd name="T65" fmla="*/ 0 h 785"/>
                <a:gd name="T66" fmla="*/ 1 w 1810"/>
                <a:gd name="T67" fmla="*/ 0 h 785"/>
                <a:gd name="T68" fmla="*/ 1 w 1810"/>
                <a:gd name="T69" fmla="*/ 0 h 785"/>
                <a:gd name="T70" fmla="*/ 1 w 1810"/>
                <a:gd name="T71" fmla="*/ 0 h 785"/>
                <a:gd name="T72" fmla="*/ 1 w 1810"/>
                <a:gd name="T73" fmla="*/ 0 h 785"/>
                <a:gd name="T74" fmla="*/ 1 w 1810"/>
                <a:gd name="T75" fmla="*/ 0 h 785"/>
                <a:gd name="T76" fmla="*/ 1 w 1810"/>
                <a:gd name="T77" fmla="*/ 0 h 785"/>
                <a:gd name="T78" fmla="*/ 1 w 1810"/>
                <a:gd name="T79" fmla="*/ 0 h 785"/>
                <a:gd name="T80" fmla="*/ 1 w 1810"/>
                <a:gd name="T81" fmla="*/ 0 h 785"/>
                <a:gd name="T82" fmla="*/ 1 w 1810"/>
                <a:gd name="T83" fmla="*/ 0 h 785"/>
                <a:gd name="T84" fmla="*/ 1 w 1810"/>
                <a:gd name="T85" fmla="*/ 0 h 785"/>
                <a:gd name="T86" fmla="*/ 1 w 1810"/>
                <a:gd name="T87" fmla="*/ 0 h 785"/>
                <a:gd name="T88" fmla="*/ 1 w 1810"/>
                <a:gd name="T89" fmla="*/ 0 h 785"/>
                <a:gd name="T90" fmla="*/ 1 w 1810"/>
                <a:gd name="T91" fmla="*/ 0 h 785"/>
                <a:gd name="T92" fmla="*/ 1 w 1810"/>
                <a:gd name="T93" fmla="*/ 0 h 785"/>
                <a:gd name="T94" fmla="*/ 1 w 1810"/>
                <a:gd name="T95" fmla="*/ 0 h 785"/>
                <a:gd name="T96" fmla="*/ 1 w 1810"/>
                <a:gd name="T97" fmla="*/ 0 h 785"/>
                <a:gd name="T98" fmla="*/ 1 w 1810"/>
                <a:gd name="T99" fmla="*/ 0 h 785"/>
                <a:gd name="T100" fmla="*/ 1 w 1810"/>
                <a:gd name="T101" fmla="*/ 0 h 785"/>
                <a:gd name="T102" fmla="*/ 1 w 1810"/>
                <a:gd name="T103" fmla="*/ 0 h 785"/>
                <a:gd name="T104" fmla="*/ 1 w 1810"/>
                <a:gd name="T105" fmla="*/ 0 h 785"/>
                <a:gd name="T106" fmla="*/ 1 w 1810"/>
                <a:gd name="T107" fmla="*/ 0 h 785"/>
                <a:gd name="T108" fmla="*/ 1 w 1810"/>
                <a:gd name="T109" fmla="*/ 0 h 785"/>
                <a:gd name="T110" fmla="*/ 1 w 1810"/>
                <a:gd name="T111" fmla="*/ 0 h 785"/>
                <a:gd name="T112" fmla="*/ 1 w 1810"/>
                <a:gd name="T113" fmla="*/ 0 h 785"/>
                <a:gd name="T114" fmla="*/ 1 w 1810"/>
                <a:gd name="T115" fmla="*/ 0 h 785"/>
                <a:gd name="T116" fmla="*/ 1 w 1810"/>
                <a:gd name="T117" fmla="*/ 0 h 785"/>
                <a:gd name="T118" fmla="*/ 1 w 1810"/>
                <a:gd name="T119" fmla="*/ 0 h 785"/>
                <a:gd name="T120" fmla="*/ 1 w 1810"/>
                <a:gd name="T121" fmla="*/ 0 h 78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10"/>
                <a:gd name="T184" fmla="*/ 0 h 785"/>
                <a:gd name="T185" fmla="*/ 1810 w 1810"/>
                <a:gd name="T186" fmla="*/ 785 h 78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10" h="785">
                  <a:moveTo>
                    <a:pt x="1468" y="516"/>
                  </a:moveTo>
                  <a:lnTo>
                    <a:pt x="1409" y="552"/>
                  </a:lnTo>
                  <a:lnTo>
                    <a:pt x="1368" y="572"/>
                  </a:lnTo>
                  <a:lnTo>
                    <a:pt x="1347" y="625"/>
                  </a:lnTo>
                  <a:lnTo>
                    <a:pt x="1347" y="660"/>
                  </a:lnTo>
                  <a:lnTo>
                    <a:pt x="1368" y="679"/>
                  </a:lnTo>
                  <a:lnTo>
                    <a:pt x="1368" y="716"/>
                  </a:lnTo>
                  <a:lnTo>
                    <a:pt x="1368" y="696"/>
                  </a:lnTo>
                  <a:lnTo>
                    <a:pt x="1368" y="716"/>
                  </a:lnTo>
                  <a:lnTo>
                    <a:pt x="1387" y="733"/>
                  </a:lnTo>
                  <a:lnTo>
                    <a:pt x="1387" y="748"/>
                  </a:lnTo>
                  <a:lnTo>
                    <a:pt x="1387" y="767"/>
                  </a:lnTo>
                  <a:lnTo>
                    <a:pt x="1387" y="785"/>
                  </a:lnTo>
                  <a:lnTo>
                    <a:pt x="1368" y="785"/>
                  </a:lnTo>
                  <a:lnTo>
                    <a:pt x="1347" y="785"/>
                  </a:lnTo>
                  <a:lnTo>
                    <a:pt x="1347" y="767"/>
                  </a:lnTo>
                  <a:lnTo>
                    <a:pt x="1328" y="748"/>
                  </a:lnTo>
                  <a:lnTo>
                    <a:pt x="1328" y="733"/>
                  </a:lnTo>
                  <a:lnTo>
                    <a:pt x="1307" y="733"/>
                  </a:lnTo>
                  <a:lnTo>
                    <a:pt x="1288" y="679"/>
                  </a:lnTo>
                  <a:lnTo>
                    <a:pt x="1288" y="660"/>
                  </a:lnTo>
                  <a:lnTo>
                    <a:pt x="1268" y="643"/>
                  </a:lnTo>
                  <a:lnTo>
                    <a:pt x="1247" y="643"/>
                  </a:lnTo>
                  <a:lnTo>
                    <a:pt x="1228" y="643"/>
                  </a:lnTo>
                  <a:lnTo>
                    <a:pt x="1207" y="643"/>
                  </a:lnTo>
                  <a:lnTo>
                    <a:pt x="1207" y="625"/>
                  </a:lnTo>
                  <a:lnTo>
                    <a:pt x="1167" y="625"/>
                  </a:lnTo>
                  <a:lnTo>
                    <a:pt x="1148" y="625"/>
                  </a:lnTo>
                  <a:lnTo>
                    <a:pt x="1128" y="625"/>
                  </a:lnTo>
                  <a:lnTo>
                    <a:pt x="1086" y="625"/>
                  </a:lnTo>
                  <a:lnTo>
                    <a:pt x="1086" y="643"/>
                  </a:lnTo>
                  <a:lnTo>
                    <a:pt x="1086" y="625"/>
                  </a:lnTo>
                  <a:lnTo>
                    <a:pt x="1086" y="643"/>
                  </a:lnTo>
                  <a:lnTo>
                    <a:pt x="1086" y="660"/>
                  </a:lnTo>
                  <a:lnTo>
                    <a:pt x="1065" y="660"/>
                  </a:lnTo>
                  <a:lnTo>
                    <a:pt x="1046" y="660"/>
                  </a:lnTo>
                  <a:lnTo>
                    <a:pt x="1005" y="643"/>
                  </a:lnTo>
                  <a:lnTo>
                    <a:pt x="1005" y="660"/>
                  </a:lnTo>
                  <a:lnTo>
                    <a:pt x="984" y="643"/>
                  </a:lnTo>
                  <a:lnTo>
                    <a:pt x="965" y="643"/>
                  </a:lnTo>
                  <a:lnTo>
                    <a:pt x="946" y="660"/>
                  </a:lnTo>
                  <a:lnTo>
                    <a:pt x="925" y="660"/>
                  </a:lnTo>
                  <a:lnTo>
                    <a:pt x="906" y="679"/>
                  </a:lnTo>
                  <a:lnTo>
                    <a:pt x="885" y="679"/>
                  </a:lnTo>
                  <a:lnTo>
                    <a:pt x="865" y="696"/>
                  </a:lnTo>
                  <a:lnTo>
                    <a:pt x="844" y="733"/>
                  </a:lnTo>
                  <a:lnTo>
                    <a:pt x="844" y="748"/>
                  </a:lnTo>
                  <a:lnTo>
                    <a:pt x="825" y="748"/>
                  </a:lnTo>
                  <a:lnTo>
                    <a:pt x="806" y="748"/>
                  </a:lnTo>
                  <a:lnTo>
                    <a:pt x="806" y="733"/>
                  </a:lnTo>
                  <a:lnTo>
                    <a:pt x="766" y="696"/>
                  </a:lnTo>
                  <a:lnTo>
                    <a:pt x="744" y="660"/>
                  </a:lnTo>
                  <a:lnTo>
                    <a:pt x="685" y="643"/>
                  </a:lnTo>
                  <a:lnTo>
                    <a:pt x="685" y="660"/>
                  </a:lnTo>
                  <a:lnTo>
                    <a:pt x="666" y="660"/>
                  </a:lnTo>
                  <a:lnTo>
                    <a:pt x="645" y="660"/>
                  </a:lnTo>
                  <a:lnTo>
                    <a:pt x="602" y="643"/>
                  </a:lnTo>
                  <a:lnTo>
                    <a:pt x="602" y="606"/>
                  </a:lnTo>
                  <a:lnTo>
                    <a:pt x="583" y="606"/>
                  </a:lnTo>
                  <a:lnTo>
                    <a:pt x="562" y="589"/>
                  </a:lnTo>
                  <a:lnTo>
                    <a:pt x="543" y="589"/>
                  </a:lnTo>
                  <a:lnTo>
                    <a:pt x="524" y="589"/>
                  </a:lnTo>
                  <a:lnTo>
                    <a:pt x="503" y="589"/>
                  </a:lnTo>
                  <a:lnTo>
                    <a:pt x="403" y="589"/>
                  </a:lnTo>
                  <a:lnTo>
                    <a:pt x="303" y="552"/>
                  </a:lnTo>
                  <a:lnTo>
                    <a:pt x="282" y="552"/>
                  </a:lnTo>
                  <a:lnTo>
                    <a:pt x="263" y="552"/>
                  </a:lnTo>
                  <a:lnTo>
                    <a:pt x="222" y="552"/>
                  </a:lnTo>
                  <a:lnTo>
                    <a:pt x="203" y="535"/>
                  </a:lnTo>
                  <a:lnTo>
                    <a:pt x="163" y="499"/>
                  </a:lnTo>
                  <a:lnTo>
                    <a:pt x="120" y="481"/>
                  </a:lnTo>
                  <a:lnTo>
                    <a:pt x="80" y="445"/>
                  </a:lnTo>
                  <a:lnTo>
                    <a:pt x="80" y="428"/>
                  </a:lnTo>
                  <a:lnTo>
                    <a:pt x="80" y="391"/>
                  </a:lnTo>
                  <a:lnTo>
                    <a:pt x="40" y="374"/>
                  </a:lnTo>
                  <a:lnTo>
                    <a:pt x="21" y="339"/>
                  </a:lnTo>
                  <a:lnTo>
                    <a:pt x="0" y="303"/>
                  </a:lnTo>
                  <a:lnTo>
                    <a:pt x="0" y="266"/>
                  </a:lnTo>
                  <a:lnTo>
                    <a:pt x="0" y="249"/>
                  </a:lnTo>
                  <a:lnTo>
                    <a:pt x="0" y="213"/>
                  </a:lnTo>
                  <a:lnTo>
                    <a:pt x="0" y="176"/>
                  </a:lnTo>
                  <a:lnTo>
                    <a:pt x="0" y="123"/>
                  </a:lnTo>
                  <a:lnTo>
                    <a:pt x="21" y="105"/>
                  </a:lnTo>
                  <a:lnTo>
                    <a:pt x="0" y="86"/>
                  </a:lnTo>
                  <a:lnTo>
                    <a:pt x="0" y="69"/>
                  </a:lnTo>
                  <a:lnTo>
                    <a:pt x="0" y="52"/>
                  </a:lnTo>
                  <a:lnTo>
                    <a:pt x="21" y="52"/>
                  </a:lnTo>
                  <a:lnTo>
                    <a:pt x="40" y="52"/>
                  </a:lnTo>
                  <a:lnTo>
                    <a:pt x="40" y="69"/>
                  </a:lnTo>
                  <a:lnTo>
                    <a:pt x="61" y="52"/>
                  </a:lnTo>
                  <a:lnTo>
                    <a:pt x="61" y="34"/>
                  </a:lnTo>
                  <a:lnTo>
                    <a:pt x="61" y="17"/>
                  </a:lnTo>
                  <a:lnTo>
                    <a:pt x="40" y="17"/>
                  </a:lnTo>
                  <a:lnTo>
                    <a:pt x="61" y="17"/>
                  </a:lnTo>
                  <a:lnTo>
                    <a:pt x="80" y="17"/>
                  </a:lnTo>
                  <a:lnTo>
                    <a:pt x="120" y="17"/>
                  </a:lnTo>
                  <a:lnTo>
                    <a:pt x="142" y="17"/>
                  </a:lnTo>
                  <a:lnTo>
                    <a:pt x="203" y="17"/>
                  </a:lnTo>
                  <a:lnTo>
                    <a:pt x="282" y="17"/>
                  </a:lnTo>
                  <a:lnTo>
                    <a:pt x="343" y="17"/>
                  </a:lnTo>
                  <a:lnTo>
                    <a:pt x="403" y="17"/>
                  </a:lnTo>
                  <a:lnTo>
                    <a:pt x="483" y="17"/>
                  </a:lnTo>
                  <a:lnTo>
                    <a:pt x="543" y="17"/>
                  </a:lnTo>
                  <a:lnTo>
                    <a:pt x="625" y="17"/>
                  </a:lnTo>
                  <a:lnTo>
                    <a:pt x="685" y="17"/>
                  </a:lnTo>
                  <a:lnTo>
                    <a:pt x="744" y="17"/>
                  </a:lnTo>
                  <a:lnTo>
                    <a:pt x="806" y="17"/>
                  </a:lnTo>
                  <a:lnTo>
                    <a:pt x="865" y="17"/>
                  </a:lnTo>
                  <a:lnTo>
                    <a:pt x="885" y="17"/>
                  </a:lnTo>
                  <a:lnTo>
                    <a:pt x="925" y="17"/>
                  </a:lnTo>
                  <a:lnTo>
                    <a:pt x="925" y="0"/>
                  </a:lnTo>
                  <a:lnTo>
                    <a:pt x="946" y="17"/>
                  </a:lnTo>
                  <a:lnTo>
                    <a:pt x="965" y="17"/>
                  </a:lnTo>
                  <a:lnTo>
                    <a:pt x="984" y="17"/>
                  </a:lnTo>
                  <a:lnTo>
                    <a:pt x="1005" y="17"/>
                  </a:lnTo>
                  <a:lnTo>
                    <a:pt x="1025" y="34"/>
                  </a:lnTo>
                  <a:lnTo>
                    <a:pt x="1065" y="52"/>
                  </a:lnTo>
                  <a:lnTo>
                    <a:pt x="1086" y="52"/>
                  </a:lnTo>
                  <a:lnTo>
                    <a:pt x="1065" y="69"/>
                  </a:lnTo>
                  <a:lnTo>
                    <a:pt x="1025" y="69"/>
                  </a:lnTo>
                  <a:lnTo>
                    <a:pt x="1005" y="105"/>
                  </a:lnTo>
                  <a:lnTo>
                    <a:pt x="1025" y="105"/>
                  </a:lnTo>
                  <a:lnTo>
                    <a:pt x="1025" y="86"/>
                  </a:lnTo>
                  <a:lnTo>
                    <a:pt x="1046" y="86"/>
                  </a:lnTo>
                  <a:lnTo>
                    <a:pt x="1046" y="105"/>
                  </a:lnTo>
                  <a:lnTo>
                    <a:pt x="1065" y="105"/>
                  </a:lnTo>
                  <a:lnTo>
                    <a:pt x="1086" y="105"/>
                  </a:lnTo>
                  <a:lnTo>
                    <a:pt x="1086" y="86"/>
                  </a:lnTo>
                  <a:lnTo>
                    <a:pt x="1107" y="86"/>
                  </a:lnTo>
                  <a:lnTo>
                    <a:pt x="1128" y="69"/>
                  </a:lnTo>
                  <a:lnTo>
                    <a:pt x="1148" y="69"/>
                  </a:lnTo>
                  <a:lnTo>
                    <a:pt x="1148" y="86"/>
                  </a:lnTo>
                  <a:lnTo>
                    <a:pt x="1128" y="86"/>
                  </a:lnTo>
                  <a:lnTo>
                    <a:pt x="1148" y="86"/>
                  </a:lnTo>
                  <a:lnTo>
                    <a:pt x="1148" y="105"/>
                  </a:lnTo>
                  <a:lnTo>
                    <a:pt x="1167" y="105"/>
                  </a:lnTo>
                  <a:lnTo>
                    <a:pt x="1188" y="105"/>
                  </a:lnTo>
                  <a:lnTo>
                    <a:pt x="1188" y="86"/>
                  </a:lnTo>
                  <a:lnTo>
                    <a:pt x="1207" y="86"/>
                  </a:lnTo>
                  <a:lnTo>
                    <a:pt x="1207" y="105"/>
                  </a:lnTo>
                  <a:lnTo>
                    <a:pt x="1247" y="105"/>
                  </a:lnTo>
                  <a:lnTo>
                    <a:pt x="1268" y="105"/>
                  </a:lnTo>
                  <a:lnTo>
                    <a:pt x="1268" y="123"/>
                  </a:lnTo>
                  <a:lnTo>
                    <a:pt x="1247" y="123"/>
                  </a:lnTo>
                  <a:lnTo>
                    <a:pt x="1228" y="123"/>
                  </a:lnTo>
                  <a:lnTo>
                    <a:pt x="1207" y="123"/>
                  </a:lnTo>
                  <a:lnTo>
                    <a:pt x="1188" y="123"/>
                  </a:lnTo>
                  <a:lnTo>
                    <a:pt x="1148" y="142"/>
                  </a:lnTo>
                  <a:lnTo>
                    <a:pt x="1148" y="159"/>
                  </a:lnTo>
                  <a:lnTo>
                    <a:pt x="1167" y="142"/>
                  </a:lnTo>
                  <a:lnTo>
                    <a:pt x="1148" y="195"/>
                  </a:lnTo>
                  <a:lnTo>
                    <a:pt x="1148" y="213"/>
                  </a:lnTo>
                  <a:lnTo>
                    <a:pt x="1148" y="249"/>
                  </a:lnTo>
                  <a:lnTo>
                    <a:pt x="1148" y="266"/>
                  </a:lnTo>
                  <a:lnTo>
                    <a:pt x="1167" y="266"/>
                  </a:lnTo>
                  <a:lnTo>
                    <a:pt x="1188" y="249"/>
                  </a:lnTo>
                  <a:lnTo>
                    <a:pt x="1188" y="230"/>
                  </a:lnTo>
                  <a:lnTo>
                    <a:pt x="1188" y="213"/>
                  </a:lnTo>
                  <a:lnTo>
                    <a:pt x="1188" y="195"/>
                  </a:lnTo>
                  <a:lnTo>
                    <a:pt x="1188" y="176"/>
                  </a:lnTo>
                  <a:lnTo>
                    <a:pt x="1188" y="159"/>
                  </a:lnTo>
                  <a:lnTo>
                    <a:pt x="1207" y="142"/>
                  </a:lnTo>
                  <a:lnTo>
                    <a:pt x="1228" y="142"/>
                  </a:lnTo>
                  <a:lnTo>
                    <a:pt x="1228" y="123"/>
                  </a:lnTo>
                  <a:lnTo>
                    <a:pt x="1247" y="123"/>
                  </a:lnTo>
                  <a:lnTo>
                    <a:pt x="1268" y="123"/>
                  </a:lnTo>
                  <a:lnTo>
                    <a:pt x="1288" y="142"/>
                  </a:lnTo>
                  <a:lnTo>
                    <a:pt x="1288" y="159"/>
                  </a:lnTo>
                  <a:lnTo>
                    <a:pt x="1288" y="176"/>
                  </a:lnTo>
                  <a:lnTo>
                    <a:pt x="1288" y="195"/>
                  </a:lnTo>
                  <a:lnTo>
                    <a:pt x="1307" y="195"/>
                  </a:lnTo>
                  <a:lnTo>
                    <a:pt x="1307" y="213"/>
                  </a:lnTo>
                  <a:lnTo>
                    <a:pt x="1307" y="230"/>
                  </a:lnTo>
                  <a:lnTo>
                    <a:pt x="1288" y="249"/>
                  </a:lnTo>
                  <a:lnTo>
                    <a:pt x="1288" y="266"/>
                  </a:lnTo>
                  <a:lnTo>
                    <a:pt x="1307" y="266"/>
                  </a:lnTo>
                  <a:lnTo>
                    <a:pt x="1347" y="266"/>
                  </a:lnTo>
                  <a:lnTo>
                    <a:pt x="1368" y="249"/>
                  </a:lnTo>
                  <a:lnTo>
                    <a:pt x="1409" y="249"/>
                  </a:lnTo>
                  <a:lnTo>
                    <a:pt x="1409" y="230"/>
                  </a:lnTo>
                  <a:lnTo>
                    <a:pt x="1409" y="213"/>
                  </a:lnTo>
                  <a:lnTo>
                    <a:pt x="1447" y="213"/>
                  </a:lnTo>
                  <a:lnTo>
                    <a:pt x="1487" y="213"/>
                  </a:lnTo>
                  <a:lnTo>
                    <a:pt x="1508" y="195"/>
                  </a:lnTo>
                  <a:lnTo>
                    <a:pt x="1528" y="176"/>
                  </a:lnTo>
                  <a:lnTo>
                    <a:pt x="1549" y="159"/>
                  </a:lnTo>
                  <a:lnTo>
                    <a:pt x="1549" y="142"/>
                  </a:lnTo>
                  <a:lnTo>
                    <a:pt x="1568" y="142"/>
                  </a:lnTo>
                  <a:lnTo>
                    <a:pt x="1589" y="142"/>
                  </a:lnTo>
                  <a:lnTo>
                    <a:pt x="1610" y="142"/>
                  </a:lnTo>
                  <a:lnTo>
                    <a:pt x="1629" y="142"/>
                  </a:lnTo>
                  <a:lnTo>
                    <a:pt x="1650" y="142"/>
                  </a:lnTo>
                  <a:lnTo>
                    <a:pt x="1670" y="142"/>
                  </a:lnTo>
                  <a:lnTo>
                    <a:pt x="1670" y="123"/>
                  </a:lnTo>
                  <a:lnTo>
                    <a:pt x="1691" y="105"/>
                  </a:lnTo>
                  <a:lnTo>
                    <a:pt x="1710" y="86"/>
                  </a:lnTo>
                  <a:lnTo>
                    <a:pt x="1729" y="69"/>
                  </a:lnTo>
                  <a:lnTo>
                    <a:pt x="1750" y="69"/>
                  </a:lnTo>
                  <a:lnTo>
                    <a:pt x="1769" y="69"/>
                  </a:lnTo>
                  <a:lnTo>
                    <a:pt x="1791" y="105"/>
                  </a:lnTo>
                  <a:lnTo>
                    <a:pt x="1791" y="123"/>
                  </a:lnTo>
                  <a:lnTo>
                    <a:pt x="1810" y="159"/>
                  </a:lnTo>
                  <a:lnTo>
                    <a:pt x="1791" y="176"/>
                  </a:lnTo>
                  <a:lnTo>
                    <a:pt x="1769" y="176"/>
                  </a:lnTo>
                  <a:lnTo>
                    <a:pt x="1750" y="176"/>
                  </a:lnTo>
                  <a:lnTo>
                    <a:pt x="1710" y="195"/>
                  </a:lnTo>
                  <a:lnTo>
                    <a:pt x="1691" y="213"/>
                  </a:lnTo>
                  <a:lnTo>
                    <a:pt x="1670" y="249"/>
                  </a:lnTo>
                  <a:lnTo>
                    <a:pt x="1691" y="249"/>
                  </a:lnTo>
                  <a:lnTo>
                    <a:pt x="1691" y="266"/>
                  </a:lnTo>
                  <a:lnTo>
                    <a:pt x="1710" y="266"/>
                  </a:lnTo>
                  <a:lnTo>
                    <a:pt x="1710" y="249"/>
                  </a:lnTo>
                  <a:lnTo>
                    <a:pt x="1710" y="266"/>
                  </a:lnTo>
                  <a:lnTo>
                    <a:pt x="1691" y="266"/>
                  </a:lnTo>
                  <a:lnTo>
                    <a:pt x="1670" y="266"/>
                  </a:lnTo>
                  <a:lnTo>
                    <a:pt x="1650" y="286"/>
                  </a:lnTo>
                  <a:lnTo>
                    <a:pt x="1610" y="286"/>
                  </a:lnTo>
                  <a:lnTo>
                    <a:pt x="1589" y="303"/>
                  </a:lnTo>
                  <a:lnTo>
                    <a:pt x="1610" y="303"/>
                  </a:lnTo>
                  <a:lnTo>
                    <a:pt x="1610" y="286"/>
                  </a:lnTo>
                  <a:lnTo>
                    <a:pt x="1629" y="303"/>
                  </a:lnTo>
                  <a:lnTo>
                    <a:pt x="1610" y="303"/>
                  </a:lnTo>
                  <a:lnTo>
                    <a:pt x="1589" y="303"/>
                  </a:lnTo>
                  <a:lnTo>
                    <a:pt x="1568" y="303"/>
                  </a:lnTo>
                  <a:lnTo>
                    <a:pt x="1589" y="303"/>
                  </a:lnTo>
                  <a:lnTo>
                    <a:pt x="1568" y="320"/>
                  </a:lnTo>
                  <a:lnTo>
                    <a:pt x="1568" y="357"/>
                  </a:lnTo>
                  <a:lnTo>
                    <a:pt x="1549" y="357"/>
                  </a:lnTo>
                  <a:lnTo>
                    <a:pt x="1549" y="374"/>
                  </a:lnTo>
                  <a:lnTo>
                    <a:pt x="1549" y="408"/>
                  </a:lnTo>
                  <a:lnTo>
                    <a:pt x="1528" y="408"/>
                  </a:lnTo>
                  <a:lnTo>
                    <a:pt x="1528" y="391"/>
                  </a:lnTo>
                  <a:lnTo>
                    <a:pt x="1528" y="374"/>
                  </a:lnTo>
                  <a:lnTo>
                    <a:pt x="1508" y="374"/>
                  </a:lnTo>
                  <a:lnTo>
                    <a:pt x="1508" y="391"/>
                  </a:lnTo>
                  <a:lnTo>
                    <a:pt x="1508" y="408"/>
                  </a:lnTo>
                  <a:lnTo>
                    <a:pt x="1508" y="428"/>
                  </a:lnTo>
                  <a:lnTo>
                    <a:pt x="1528" y="428"/>
                  </a:lnTo>
                  <a:lnTo>
                    <a:pt x="1508" y="445"/>
                  </a:lnTo>
                  <a:lnTo>
                    <a:pt x="1528" y="445"/>
                  </a:lnTo>
                  <a:lnTo>
                    <a:pt x="1528" y="462"/>
                  </a:lnTo>
                  <a:lnTo>
                    <a:pt x="1508" y="462"/>
                  </a:lnTo>
                  <a:lnTo>
                    <a:pt x="1508" y="481"/>
                  </a:lnTo>
                  <a:lnTo>
                    <a:pt x="1487" y="481"/>
                  </a:lnTo>
                  <a:lnTo>
                    <a:pt x="1487" y="499"/>
                  </a:lnTo>
                  <a:lnTo>
                    <a:pt x="1468" y="499"/>
                  </a:lnTo>
                  <a:lnTo>
                    <a:pt x="1468" y="516"/>
                  </a:lnTo>
                  <a:close/>
                </a:path>
              </a:pathLst>
            </a:custGeom>
            <a:solidFill>
              <a:srgbClr val="C0C0C0"/>
            </a:solidFill>
            <a:ln w="9525">
              <a:solidFill>
                <a:srgbClr val="C0C0C0"/>
              </a:solidFill>
              <a:round/>
              <a:headEnd/>
              <a:tailEnd/>
            </a:ln>
          </p:spPr>
          <p:txBody>
            <a:bodyPr/>
            <a:lstStyle/>
            <a:p>
              <a:endParaRPr lang="en-US"/>
            </a:p>
          </p:txBody>
        </p:sp>
        <p:sp>
          <p:nvSpPr>
            <p:cNvPr id="9419" name="Freeform 110"/>
            <p:cNvSpPr>
              <a:spLocks/>
            </p:cNvSpPr>
            <p:nvPr/>
          </p:nvSpPr>
          <p:spPr bwMode="auto">
            <a:xfrm>
              <a:off x="750" y="1526"/>
              <a:ext cx="1317" cy="592"/>
            </a:xfrm>
            <a:custGeom>
              <a:avLst/>
              <a:gdLst>
                <a:gd name="T0" fmla="*/ 1 w 2633"/>
                <a:gd name="T1" fmla="*/ 1 h 1182"/>
                <a:gd name="T2" fmla="*/ 1 w 2633"/>
                <a:gd name="T3" fmla="*/ 1 h 1182"/>
                <a:gd name="T4" fmla="*/ 1 w 2633"/>
                <a:gd name="T5" fmla="*/ 1 h 1182"/>
                <a:gd name="T6" fmla="*/ 1 w 2633"/>
                <a:gd name="T7" fmla="*/ 1 h 1182"/>
                <a:gd name="T8" fmla="*/ 1 w 2633"/>
                <a:gd name="T9" fmla="*/ 1 h 1182"/>
                <a:gd name="T10" fmla="*/ 1 w 2633"/>
                <a:gd name="T11" fmla="*/ 1 h 1182"/>
                <a:gd name="T12" fmla="*/ 1 w 2633"/>
                <a:gd name="T13" fmla="*/ 1 h 1182"/>
                <a:gd name="T14" fmla="*/ 1 w 2633"/>
                <a:gd name="T15" fmla="*/ 1 h 1182"/>
                <a:gd name="T16" fmla="*/ 1 w 2633"/>
                <a:gd name="T17" fmla="*/ 1 h 1182"/>
                <a:gd name="T18" fmla="*/ 1 w 2633"/>
                <a:gd name="T19" fmla="*/ 1 h 1182"/>
                <a:gd name="T20" fmla="*/ 1 w 2633"/>
                <a:gd name="T21" fmla="*/ 1 h 1182"/>
                <a:gd name="T22" fmla="*/ 1 w 2633"/>
                <a:gd name="T23" fmla="*/ 1 h 1182"/>
                <a:gd name="T24" fmla="*/ 1 w 2633"/>
                <a:gd name="T25" fmla="*/ 1 h 1182"/>
                <a:gd name="T26" fmla="*/ 1 w 2633"/>
                <a:gd name="T27" fmla="*/ 1 h 1182"/>
                <a:gd name="T28" fmla="*/ 1 w 2633"/>
                <a:gd name="T29" fmla="*/ 1 h 1182"/>
                <a:gd name="T30" fmla="*/ 1 w 2633"/>
                <a:gd name="T31" fmla="*/ 1 h 1182"/>
                <a:gd name="T32" fmla="*/ 1 w 2633"/>
                <a:gd name="T33" fmla="*/ 1 h 1182"/>
                <a:gd name="T34" fmla="*/ 1 w 2633"/>
                <a:gd name="T35" fmla="*/ 1 h 1182"/>
                <a:gd name="T36" fmla="*/ 1 w 2633"/>
                <a:gd name="T37" fmla="*/ 1 h 1182"/>
                <a:gd name="T38" fmla="*/ 1 w 2633"/>
                <a:gd name="T39" fmla="*/ 1 h 1182"/>
                <a:gd name="T40" fmla="*/ 1 w 2633"/>
                <a:gd name="T41" fmla="*/ 1 h 1182"/>
                <a:gd name="T42" fmla="*/ 1 w 2633"/>
                <a:gd name="T43" fmla="*/ 1 h 1182"/>
                <a:gd name="T44" fmla="*/ 1 w 2633"/>
                <a:gd name="T45" fmla="*/ 1 h 1182"/>
                <a:gd name="T46" fmla="*/ 1 w 2633"/>
                <a:gd name="T47" fmla="*/ 1 h 1182"/>
                <a:gd name="T48" fmla="*/ 1 w 2633"/>
                <a:gd name="T49" fmla="*/ 1 h 1182"/>
                <a:gd name="T50" fmla="*/ 1 w 2633"/>
                <a:gd name="T51" fmla="*/ 1 h 1182"/>
                <a:gd name="T52" fmla="*/ 1 w 2633"/>
                <a:gd name="T53" fmla="*/ 1 h 1182"/>
                <a:gd name="T54" fmla="*/ 1 w 2633"/>
                <a:gd name="T55" fmla="*/ 1 h 1182"/>
                <a:gd name="T56" fmla="*/ 1 w 2633"/>
                <a:gd name="T57" fmla="*/ 1 h 1182"/>
                <a:gd name="T58" fmla="*/ 1 w 2633"/>
                <a:gd name="T59" fmla="*/ 1 h 1182"/>
                <a:gd name="T60" fmla="*/ 1 w 2633"/>
                <a:gd name="T61" fmla="*/ 0 h 1182"/>
                <a:gd name="T62" fmla="*/ 1 w 2633"/>
                <a:gd name="T63" fmla="*/ 1 h 1182"/>
                <a:gd name="T64" fmla="*/ 1 w 2633"/>
                <a:gd name="T65" fmla="*/ 1 h 1182"/>
                <a:gd name="T66" fmla="*/ 1 w 2633"/>
                <a:gd name="T67" fmla="*/ 1 h 1182"/>
                <a:gd name="T68" fmla="*/ 1 w 2633"/>
                <a:gd name="T69" fmla="*/ 1 h 1182"/>
                <a:gd name="T70" fmla="*/ 1 w 2633"/>
                <a:gd name="T71" fmla="*/ 1 h 1182"/>
                <a:gd name="T72" fmla="*/ 1 w 2633"/>
                <a:gd name="T73" fmla="*/ 1 h 1182"/>
                <a:gd name="T74" fmla="*/ 1 w 2633"/>
                <a:gd name="T75" fmla="*/ 1 h 1182"/>
                <a:gd name="T76" fmla="*/ 1 w 2633"/>
                <a:gd name="T77" fmla="*/ 1 h 1182"/>
                <a:gd name="T78" fmla="*/ 1 w 2633"/>
                <a:gd name="T79" fmla="*/ 1 h 1182"/>
                <a:gd name="T80" fmla="*/ 1 w 2633"/>
                <a:gd name="T81" fmla="*/ 1 h 1182"/>
                <a:gd name="T82" fmla="*/ 1 w 2633"/>
                <a:gd name="T83" fmla="*/ 1 h 1182"/>
                <a:gd name="T84" fmla="*/ 1 w 2633"/>
                <a:gd name="T85" fmla="*/ 1 h 1182"/>
                <a:gd name="T86" fmla="*/ 0 w 2633"/>
                <a:gd name="T87" fmla="*/ 1 h 1182"/>
                <a:gd name="T88" fmla="*/ 1 w 2633"/>
                <a:gd name="T89" fmla="*/ 1 h 1182"/>
                <a:gd name="T90" fmla="*/ 1 w 2633"/>
                <a:gd name="T91" fmla="*/ 1 h 1182"/>
                <a:gd name="T92" fmla="*/ 1 w 2633"/>
                <a:gd name="T93" fmla="*/ 1 h 1182"/>
                <a:gd name="T94" fmla="*/ 1 w 2633"/>
                <a:gd name="T95" fmla="*/ 1 h 1182"/>
                <a:gd name="T96" fmla="*/ 1 w 2633"/>
                <a:gd name="T97" fmla="*/ 1 h 1182"/>
                <a:gd name="T98" fmla="*/ 1 w 2633"/>
                <a:gd name="T99" fmla="*/ 1 h 1182"/>
                <a:gd name="T100" fmla="*/ 1 w 2633"/>
                <a:gd name="T101" fmla="*/ 1 h 1182"/>
                <a:gd name="T102" fmla="*/ 1 w 2633"/>
                <a:gd name="T103" fmla="*/ 1 h 1182"/>
                <a:gd name="T104" fmla="*/ 1 w 2633"/>
                <a:gd name="T105" fmla="*/ 1 h 1182"/>
                <a:gd name="T106" fmla="*/ 1 w 2633"/>
                <a:gd name="T107" fmla="*/ 1 h 1182"/>
                <a:gd name="T108" fmla="*/ 1 w 2633"/>
                <a:gd name="T109" fmla="*/ 1 h 1182"/>
                <a:gd name="T110" fmla="*/ 1 w 2633"/>
                <a:gd name="T111" fmla="*/ 1 h 1182"/>
                <a:gd name="T112" fmla="*/ 1 w 2633"/>
                <a:gd name="T113" fmla="*/ 1 h 1182"/>
                <a:gd name="T114" fmla="*/ 1 w 2633"/>
                <a:gd name="T115" fmla="*/ 1 h 1182"/>
                <a:gd name="T116" fmla="*/ 1 w 2633"/>
                <a:gd name="T117" fmla="*/ 1 h 118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33"/>
                <a:gd name="T178" fmla="*/ 0 h 1182"/>
                <a:gd name="T179" fmla="*/ 2633 w 2633"/>
                <a:gd name="T180" fmla="*/ 1182 h 118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33" h="1182">
                  <a:moveTo>
                    <a:pt x="2292" y="1075"/>
                  </a:moveTo>
                  <a:lnTo>
                    <a:pt x="2311" y="1075"/>
                  </a:lnTo>
                  <a:lnTo>
                    <a:pt x="2330" y="1075"/>
                  </a:lnTo>
                  <a:lnTo>
                    <a:pt x="2351" y="1075"/>
                  </a:lnTo>
                  <a:lnTo>
                    <a:pt x="2351" y="1056"/>
                  </a:lnTo>
                  <a:lnTo>
                    <a:pt x="2370" y="1056"/>
                  </a:lnTo>
                  <a:lnTo>
                    <a:pt x="2370" y="1075"/>
                  </a:lnTo>
                  <a:lnTo>
                    <a:pt x="2391" y="1075"/>
                  </a:lnTo>
                  <a:lnTo>
                    <a:pt x="2370" y="1075"/>
                  </a:lnTo>
                  <a:lnTo>
                    <a:pt x="2330" y="1092"/>
                  </a:lnTo>
                  <a:lnTo>
                    <a:pt x="2311" y="1109"/>
                  </a:lnTo>
                  <a:lnTo>
                    <a:pt x="2330" y="1128"/>
                  </a:lnTo>
                  <a:lnTo>
                    <a:pt x="2351" y="1128"/>
                  </a:lnTo>
                  <a:lnTo>
                    <a:pt x="2370" y="1128"/>
                  </a:lnTo>
                  <a:lnTo>
                    <a:pt x="2391" y="1109"/>
                  </a:lnTo>
                  <a:lnTo>
                    <a:pt x="2432" y="1092"/>
                  </a:lnTo>
                  <a:lnTo>
                    <a:pt x="2451" y="1075"/>
                  </a:lnTo>
                  <a:lnTo>
                    <a:pt x="2470" y="1056"/>
                  </a:lnTo>
                  <a:lnTo>
                    <a:pt x="2451" y="1056"/>
                  </a:lnTo>
                  <a:lnTo>
                    <a:pt x="2411" y="1056"/>
                  </a:lnTo>
                  <a:lnTo>
                    <a:pt x="2370" y="1038"/>
                  </a:lnTo>
                  <a:lnTo>
                    <a:pt x="2370" y="1002"/>
                  </a:lnTo>
                  <a:lnTo>
                    <a:pt x="2370" y="985"/>
                  </a:lnTo>
                  <a:lnTo>
                    <a:pt x="2351" y="985"/>
                  </a:lnTo>
                  <a:lnTo>
                    <a:pt x="2370" y="967"/>
                  </a:lnTo>
                  <a:lnTo>
                    <a:pt x="2391" y="950"/>
                  </a:lnTo>
                  <a:lnTo>
                    <a:pt x="2370" y="950"/>
                  </a:lnTo>
                  <a:lnTo>
                    <a:pt x="2330" y="950"/>
                  </a:lnTo>
                  <a:lnTo>
                    <a:pt x="2292" y="950"/>
                  </a:lnTo>
                  <a:lnTo>
                    <a:pt x="2251" y="950"/>
                  </a:lnTo>
                  <a:lnTo>
                    <a:pt x="2230" y="967"/>
                  </a:lnTo>
                  <a:lnTo>
                    <a:pt x="2251" y="950"/>
                  </a:lnTo>
                  <a:lnTo>
                    <a:pt x="2270" y="950"/>
                  </a:lnTo>
                  <a:lnTo>
                    <a:pt x="2292" y="933"/>
                  </a:lnTo>
                  <a:lnTo>
                    <a:pt x="2311" y="913"/>
                  </a:lnTo>
                  <a:lnTo>
                    <a:pt x="2311" y="896"/>
                  </a:lnTo>
                  <a:lnTo>
                    <a:pt x="2370" y="896"/>
                  </a:lnTo>
                  <a:lnTo>
                    <a:pt x="2391" y="896"/>
                  </a:lnTo>
                  <a:lnTo>
                    <a:pt x="2432" y="896"/>
                  </a:lnTo>
                  <a:lnTo>
                    <a:pt x="2470" y="896"/>
                  </a:lnTo>
                  <a:lnTo>
                    <a:pt x="2510" y="896"/>
                  </a:lnTo>
                  <a:lnTo>
                    <a:pt x="2551" y="879"/>
                  </a:lnTo>
                  <a:lnTo>
                    <a:pt x="2574" y="860"/>
                  </a:lnTo>
                  <a:lnTo>
                    <a:pt x="2633" y="842"/>
                  </a:lnTo>
                  <a:lnTo>
                    <a:pt x="2633" y="823"/>
                  </a:lnTo>
                  <a:lnTo>
                    <a:pt x="2633" y="806"/>
                  </a:lnTo>
                  <a:lnTo>
                    <a:pt x="2633" y="789"/>
                  </a:lnTo>
                  <a:lnTo>
                    <a:pt x="2633" y="770"/>
                  </a:lnTo>
                  <a:lnTo>
                    <a:pt x="2633" y="752"/>
                  </a:lnTo>
                  <a:lnTo>
                    <a:pt x="2593" y="770"/>
                  </a:lnTo>
                  <a:lnTo>
                    <a:pt x="2551" y="770"/>
                  </a:lnTo>
                  <a:lnTo>
                    <a:pt x="2510" y="770"/>
                  </a:lnTo>
                  <a:lnTo>
                    <a:pt x="2532" y="770"/>
                  </a:lnTo>
                  <a:lnTo>
                    <a:pt x="2574" y="752"/>
                  </a:lnTo>
                  <a:lnTo>
                    <a:pt x="2593" y="735"/>
                  </a:lnTo>
                  <a:lnTo>
                    <a:pt x="2574" y="716"/>
                  </a:lnTo>
                  <a:lnTo>
                    <a:pt x="2551" y="716"/>
                  </a:lnTo>
                  <a:lnTo>
                    <a:pt x="2510" y="716"/>
                  </a:lnTo>
                  <a:lnTo>
                    <a:pt x="2510" y="679"/>
                  </a:lnTo>
                  <a:lnTo>
                    <a:pt x="2491" y="679"/>
                  </a:lnTo>
                  <a:lnTo>
                    <a:pt x="2470" y="662"/>
                  </a:lnTo>
                  <a:lnTo>
                    <a:pt x="2451" y="645"/>
                  </a:lnTo>
                  <a:lnTo>
                    <a:pt x="2470" y="645"/>
                  </a:lnTo>
                  <a:lnTo>
                    <a:pt x="2451" y="626"/>
                  </a:lnTo>
                  <a:lnTo>
                    <a:pt x="2451" y="610"/>
                  </a:lnTo>
                  <a:lnTo>
                    <a:pt x="2432" y="593"/>
                  </a:lnTo>
                  <a:lnTo>
                    <a:pt x="2432" y="574"/>
                  </a:lnTo>
                  <a:lnTo>
                    <a:pt x="2432" y="557"/>
                  </a:lnTo>
                  <a:lnTo>
                    <a:pt x="2391" y="537"/>
                  </a:lnTo>
                  <a:lnTo>
                    <a:pt x="2370" y="520"/>
                  </a:lnTo>
                  <a:lnTo>
                    <a:pt x="2370" y="503"/>
                  </a:lnTo>
                  <a:lnTo>
                    <a:pt x="2370" y="520"/>
                  </a:lnTo>
                  <a:lnTo>
                    <a:pt x="2351" y="537"/>
                  </a:lnTo>
                  <a:lnTo>
                    <a:pt x="2330" y="557"/>
                  </a:lnTo>
                  <a:lnTo>
                    <a:pt x="2311" y="574"/>
                  </a:lnTo>
                  <a:lnTo>
                    <a:pt x="2270" y="593"/>
                  </a:lnTo>
                  <a:lnTo>
                    <a:pt x="2251" y="574"/>
                  </a:lnTo>
                  <a:lnTo>
                    <a:pt x="2230" y="557"/>
                  </a:lnTo>
                  <a:lnTo>
                    <a:pt x="2230" y="537"/>
                  </a:lnTo>
                  <a:lnTo>
                    <a:pt x="2211" y="503"/>
                  </a:lnTo>
                  <a:lnTo>
                    <a:pt x="2190" y="466"/>
                  </a:lnTo>
                  <a:lnTo>
                    <a:pt x="2171" y="466"/>
                  </a:lnTo>
                  <a:lnTo>
                    <a:pt x="2151" y="449"/>
                  </a:lnTo>
                  <a:lnTo>
                    <a:pt x="2130" y="449"/>
                  </a:lnTo>
                  <a:lnTo>
                    <a:pt x="2111" y="413"/>
                  </a:lnTo>
                  <a:lnTo>
                    <a:pt x="2090" y="413"/>
                  </a:lnTo>
                  <a:lnTo>
                    <a:pt x="2069" y="413"/>
                  </a:lnTo>
                  <a:lnTo>
                    <a:pt x="2048" y="413"/>
                  </a:lnTo>
                  <a:lnTo>
                    <a:pt x="2029" y="413"/>
                  </a:lnTo>
                  <a:lnTo>
                    <a:pt x="1988" y="413"/>
                  </a:lnTo>
                  <a:lnTo>
                    <a:pt x="1969" y="413"/>
                  </a:lnTo>
                  <a:lnTo>
                    <a:pt x="1948" y="413"/>
                  </a:lnTo>
                  <a:lnTo>
                    <a:pt x="1929" y="430"/>
                  </a:lnTo>
                  <a:lnTo>
                    <a:pt x="1948" y="449"/>
                  </a:lnTo>
                  <a:lnTo>
                    <a:pt x="1948" y="466"/>
                  </a:lnTo>
                  <a:lnTo>
                    <a:pt x="1929" y="484"/>
                  </a:lnTo>
                  <a:lnTo>
                    <a:pt x="1948" y="503"/>
                  </a:lnTo>
                  <a:lnTo>
                    <a:pt x="1969" y="520"/>
                  </a:lnTo>
                  <a:lnTo>
                    <a:pt x="1969" y="537"/>
                  </a:lnTo>
                  <a:lnTo>
                    <a:pt x="1929" y="557"/>
                  </a:lnTo>
                  <a:lnTo>
                    <a:pt x="1908" y="557"/>
                  </a:lnTo>
                  <a:lnTo>
                    <a:pt x="1948" y="593"/>
                  </a:lnTo>
                  <a:lnTo>
                    <a:pt x="1988" y="626"/>
                  </a:lnTo>
                  <a:lnTo>
                    <a:pt x="1988" y="679"/>
                  </a:lnTo>
                  <a:lnTo>
                    <a:pt x="1969" y="699"/>
                  </a:lnTo>
                  <a:lnTo>
                    <a:pt x="1929" y="716"/>
                  </a:lnTo>
                  <a:lnTo>
                    <a:pt x="1908" y="735"/>
                  </a:lnTo>
                  <a:lnTo>
                    <a:pt x="1908" y="770"/>
                  </a:lnTo>
                  <a:lnTo>
                    <a:pt x="1929" y="806"/>
                  </a:lnTo>
                  <a:lnTo>
                    <a:pt x="1929" y="823"/>
                  </a:lnTo>
                  <a:lnTo>
                    <a:pt x="1908" y="842"/>
                  </a:lnTo>
                  <a:lnTo>
                    <a:pt x="1908" y="860"/>
                  </a:lnTo>
                  <a:lnTo>
                    <a:pt x="1888" y="860"/>
                  </a:lnTo>
                  <a:lnTo>
                    <a:pt x="1848" y="842"/>
                  </a:lnTo>
                  <a:lnTo>
                    <a:pt x="1829" y="823"/>
                  </a:lnTo>
                  <a:lnTo>
                    <a:pt x="1829" y="789"/>
                  </a:lnTo>
                  <a:lnTo>
                    <a:pt x="1829" y="752"/>
                  </a:lnTo>
                  <a:lnTo>
                    <a:pt x="1808" y="735"/>
                  </a:lnTo>
                  <a:lnTo>
                    <a:pt x="1789" y="716"/>
                  </a:lnTo>
                  <a:lnTo>
                    <a:pt x="1748" y="716"/>
                  </a:lnTo>
                  <a:lnTo>
                    <a:pt x="1708" y="716"/>
                  </a:lnTo>
                  <a:lnTo>
                    <a:pt x="1689" y="699"/>
                  </a:lnTo>
                  <a:lnTo>
                    <a:pt x="1649" y="662"/>
                  </a:lnTo>
                  <a:lnTo>
                    <a:pt x="1587" y="645"/>
                  </a:lnTo>
                  <a:lnTo>
                    <a:pt x="1566" y="645"/>
                  </a:lnTo>
                  <a:lnTo>
                    <a:pt x="1526" y="645"/>
                  </a:lnTo>
                  <a:lnTo>
                    <a:pt x="1506" y="645"/>
                  </a:lnTo>
                  <a:lnTo>
                    <a:pt x="1487" y="610"/>
                  </a:lnTo>
                  <a:lnTo>
                    <a:pt x="1487" y="593"/>
                  </a:lnTo>
                  <a:lnTo>
                    <a:pt x="1447" y="574"/>
                  </a:lnTo>
                  <a:lnTo>
                    <a:pt x="1426" y="593"/>
                  </a:lnTo>
                  <a:lnTo>
                    <a:pt x="1447" y="574"/>
                  </a:lnTo>
                  <a:lnTo>
                    <a:pt x="1426" y="557"/>
                  </a:lnTo>
                  <a:lnTo>
                    <a:pt x="1426" y="537"/>
                  </a:lnTo>
                  <a:lnTo>
                    <a:pt x="1447" y="503"/>
                  </a:lnTo>
                  <a:lnTo>
                    <a:pt x="1447" y="466"/>
                  </a:lnTo>
                  <a:lnTo>
                    <a:pt x="1466" y="449"/>
                  </a:lnTo>
                  <a:lnTo>
                    <a:pt x="1487" y="430"/>
                  </a:lnTo>
                  <a:lnTo>
                    <a:pt x="1487" y="413"/>
                  </a:lnTo>
                  <a:lnTo>
                    <a:pt x="1506" y="413"/>
                  </a:lnTo>
                  <a:lnTo>
                    <a:pt x="1526" y="413"/>
                  </a:lnTo>
                  <a:lnTo>
                    <a:pt x="1547" y="393"/>
                  </a:lnTo>
                  <a:lnTo>
                    <a:pt x="1566" y="376"/>
                  </a:lnTo>
                  <a:lnTo>
                    <a:pt x="1547" y="376"/>
                  </a:lnTo>
                  <a:lnTo>
                    <a:pt x="1506" y="359"/>
                  </a:lnTo>
                  <a:lnTo>
                    <a:pt x="1566" y="359"/>
                  </a:lnTo>
                  <a:lnTo>
                    <a:pt x="1587" y="359"/>
                  </a:lnTo>
                  <a:lnTo>
                    <a:pt x="1608" y="359"/>
                  </a:lnTo>
                  <a:lnTo>
                    <a:pt x="1649" y="340"/>
                  </a:lnTo>
                  <a:lnTo>
                    <a:pt x="1649" y="322"/>
                  </a:lnTo>
                  <a:lnTo>
                    <a:pt x="1668" y="305"/>
                  </a:lnTo>
                  <a:lnTo>
                    <a:pt x="1629" y="305"/>
                  </a:lnTo>
                  <a:lnTo>
                    <a:pt x="1587" y="305"/>
                  </a:lnTo>
                  <a:lnTo>
                    <a:pt x="1587" y="286"/>
                  </a:lnTo>
                  <a:lnTo>
                    <a:pt x="1608" y="286"/>
                  </a:lnTo>
                  <a:lnTo>
                    <a:pt x="1629" y="305"/>
                  </a:lnTo>
                  <a:lnTo>
                    <a:pt x="1649" y="305"/>
                  </a:lnTo>
                  <a:lnTo>
                    <a:pt x="1668" y="305"/>
                  </a:lnTo>
                  <a:lnTo>
                    <a:pt x="1689" y="286"/>
                  </a:lnTo>
                  <a:lnTo>
                    <a:pt x="1708" y="269"/>
                  </a:lnTo>
                  <a:lnTo>
                    <a:pt x="1689" y="251"/>
                  </a:lnTo>
                  <a:lnTo>
                    <a:pt x="1708" y="251"/>
                  </a:lnTo>
                  <a:lnTo>
                    <a:pt x="1729" y="269"/>
                  </a:lnTo>
                  <a:lnTo>
                    <a:pt x="1748" y="269"/>
                  </a:lnTo>
                  <a:lnTo>
                    <a:pt x="1768" y="251"/>
                  </a:lnTo>
                  <a:lnTo>
                    <a:pt x="1789" y="251"/>
                  </a:lnTo>
                  <a:lnTo>
                    <a:pt x="1768" y="251"/>
                  </a:lnTo>
                  <a:lnTo>
                    <a:pt x="1789" y="251"/>
                  </a:lnTo>
                  <a:lnTo>
                    <a:pt x="1808" y="251"/>
                  </a:lnTo>
                  <a:lnTo>
                    <a:pt x="1848" y="234"/>
                  </a:lnTo>
                  <a:lnTo>
                    <a:pt x="1848" y="217"/>
                  </a:lnTo>
                  <a:lnTo>
                    <a:pt x="1848" y="198"/>
                  </a:lnTo>
                  <a:lnTo>
                    <a:pt x="1829" y="198"/>
                  </a:lnTo>
                  <a:lnTo>
                    <a:pt x="1829" y="180"/>
                  </a:lnTo>
                  <a:lnTo>
                    <a:pt x="1829" y="163"/>
                  </a:lnTo>
                  <a:lnTo>
                    <a:pt x="1848" y="144"/>
                  </a:lnTo>
                  <a:lnTo>
                    <a:pt x="1848" y="127"/>
                  </a:lnTo>
                  <a:lnTo>
                    <a:pt x="1829" y="127"/>
                  </a:lnTo>
                  <a:lnTo>
                    <a:pt x="1808" y="107"/>
                  </a:lnTo>
                  <a:lnTo>
                    <a:pt x="1789" y="107"/>
                  </a:lnTo>
                  <a:lnTo>
                    <a:pt x="1768" y="90"/>
                  </a:lnTo>
                  <a:lnTo>
                    <a:pt x="1748" y="90"/>
                  </a:lnTo>
                  <a:lnTo>
                    <a:pt x="1729" y="90"/>
                  </a:lnTo>
                  <a:lnTo>
                    <a:pt x="1708" y="107"/>
                  </a:lnTo>
                  <a:lnTo>
                    <a:pt x="1708" y="127"/>
                  </a:lnTo>
                  <a:lnTo>
                    <a:pt x="1729" y="127"/>
                  </a:lnTo>
                  <a:lnTo>
                    <a:pt x="1729" y="144"/>
                  </a:lnTo>
                  <a:lnTo>
                    <a:pt x="1708" y="144"/>
                  </a:lnTo>
                  <a:lnTo>
                    <a:pt x="1708" y="163"/>
                  </a:lnTo>
                  <a:lnTo>
                    <a:pt x="1708" y="180"/>
                  </a:lnTo>
                  <a:lnTo>
                    <a:pt x="1689" y="198"/>
                  </a:lnTo>
                  <a:lnTo>
                    <a:pt x="1649" y="217"/>
                  </a:lnTo>
                  <a:lnTo>
                    <a:pt x="1649" y="198"/>
                  </a:lnTo>
                  <a:lnTo>
                    <a:pt x="1629" y="180"/>
                  </a:lnTo>
                  <a:lnTo>
                    <a:pt x="1649" y="163"/>
                  </a:lnTo>
                  <a:lnTo>
                    <a:pt x="1649" y="144"/>
                  </a:lnTo>
                  <a:lnTo>
                    <a:pt x="1629" y="127"/>
                  </a:lnTo>
                  <a:lnTo>
                    <a:pt x="1608" y="127"/>
                  </a:lnTo>
                  <a:lnTo>
                    <a:pt x="1587" y="127"/>
                  </a:lnTo>
                  <a:lnTo>
                    <a:pt x="1587" y="144"/>
                  </a:lnTo>
                  <a:lnTo>
                    <a:pt x="1566" y="163"/>
                  </a:lnTo>
                  <a:lnTo>
                    <a:pt x="1566" y="144"/>
                  </a:lnTo>
                  <a:lnTo>
                    <a:pt x="1547" y="127"/>
                  </a:lnTo>
                  <a:lnTo>
                    <a:pt x="1526" y="127"/>
                  </a:lnTo>
                  <a:lnTo>
                    <a:pt x="1547" y="127"/>
                  </a:lnTo>
                  <a:lnTo>
                    <a:pt x="1547" y="107"/>
                  </a:lnTo>
                  <a:lnTo>
                    <a:pt x="1526" y="107"/>
                  </a:lnTo>
                  <a:lnTo>
                    <a:pt x="1506" y="107"/>
                  </a:lnTo>
                  <a:lnTo>
                    <a:pt x="1487" y="90"/>
                  </a:lnTo>
                  <a:lnTo>
                    <a:pt x="1506" y="90"/>
                  </a:lnTo>
                  <a:lnTo>
                    <a:pt x="1506" y="73"/>
                  </a:lnTo>
                  <a:lnTo>
                    <a:pt x="1487" y="54"/>
                  </a:lnTo>
                  <a:lnTo>
                    <a:pt x="1487" y="36"/>
                  </a:lnTo>
                  <a:lnTo>
                    <a:pt x="1466" y="19"/>
                  </a:lnTo>
                  <a:lnTo>
                    <a:pt x="1447" y="0"/>
                  </a:lnTo>
                  <a:lnTo>
                    <a:pt x="1426" y="0"/>
                  </a:lnTo>
                  <a:lnTo>
                    <a:pt x="1407" y="0"/>
                  </a:lnTo>
                  <a:lnTo>
                    <a:pt x="1407" y="19"/>
                  </a:lnTo>
                  <a:lnTo>
                    <a:pt x="1386" y="19"/>
                  </a:lnTo>
                  <a:lnTo>
                    <a:pt x="1386" y="36"/>
                  </a:lnTo>
                  <a:lnTo>
                    <a:pt x="1386" y="54"/>
                  </a:lnTo>
                  <a:lnTo>
                    <a:pt x="1386" y="73"/>
                  </a:lnTo>
                  <a:lnTo>
                    <a:pt x="1366" y="73"/>
                  </a:lnTo>
                  <a:lnTo>
                    <a:pt x="1386" y="90"/>
                  </a:lnTo>
                  <a:lnTo>
                    <a:pt x="1426" y="107"/>
                  </a:lnTo>
                  <a:lnTo>
                    <a:pt x="1447" y="127"/>
                  </a:lnTo>
                  <a:lnTo>
                    <a:pt x="1447" y="144"/>
                  </a:lnTo>
                  <a:lnTo>
                    <a:pt x="1447" y="127"/>
                  </a:lnTo>
                  <a:lnTo>
                    <a:pt x="1447" y="163"/>
                  </a:lnTo>
                  <a:lnTo>
                    <a:pt x="1426" y="180"/>
                  </a:lnTo>
                  <a:lnTo>
                    <a:pt x="1386" y="198"/>
                  </a:lnTo>
                  <a:lnTo>
                    <a:pt x="1386" y="180"/>
                  </a:lnTo>
                  <a:lnTo>
                    <a:pt x="1347" y="163"/>
                  </a:lnTo>
                  <a:lnTo>
                    <a:pt x="1326" y="163"/>
                  </a:lnTo>
                  <a:lnTo>
                    <a:pt x="1307" y="163"/>
                  </a:lnTo>
                  <a:lnTo>
                    <a:pt x="1307" y="180"/>
                  </a:lnTo>
                  <a:lnTo>
                    <a:pt x="1307" y="198"/>
                  </a:lnTo>
                  <a:lnTo>
                    <a:pt x="1286" y="198"/>
                  </a:lnTo>
                  <a:lnTo>
                    <a:pt x="1267" y="198"/>
                  </a:lnTo>
                  <a:lnTo>
                    <a:pt x="1207" y="198"/>
                  </a:lnTo>
                  <a:lnTo>
                    <a:pt x="1167" y="198"/>
                  </a:lnTo>
                  <a:lnTo>
                    <a:pt x="1103" y="163"/>
                  </a:lnTo>
                  <a:lnTo>
                    <a:pt x="1065" y="127"/>
                  </a:lnTo>
                  <a:lnTo>
                    <a:pt x="1044" y="127"/>
                  </a:lnTo>
                  <a:lnTo>
                    <a:pt x="1004" y="144"/>
                  </a:lnTo>
                  <a:lnTo>
                    <a:pt x="984" y="163"/>
                  </a:lnTo>
                  <a:lnTo>
                    <a:pt x="984" y="180"/>
                  </a:lnTo>
                  <a:lnTo>
                    <a:pt x="1004" y="180"/>
                  </a:lnTo>
                  <a:lnTo>
                    <a:pt x="1025" y="180"/>
                  </a:lnTo>
                  <a:lnTo>
                    <a:pt x="1044" y="163"/>
                  </a:lnTo>
                  <a:lnTo>
                    <a:pt x="1044" y="180"/>
                  </a:lnTo>
                  <a:lnTo>
                    <a:pt x="1025" y="180"/>
                  </a:lnTo>
                  <a:lnTo>
                    <a:pt x="1004" y="198"/>
                  </a:lnTo>
                  <a:lnTo>
                    <a:pt x="1025" y="217"/>
                  </a:lnTo>
                  <a:lnTo>
                    <a:pt x="1025" y="234"/>
                  </a:lnTo>
                  <a:lnTo>
                    <a:pt x="984" y="217"/>
                  </a:lnTo>
                  <a:lnTo>
                    <a:pt x="984" y="198"/>
                  </a:lnTo>
                  <a:lnTo>
                    <a:pt x="963" y="198"/>
                  </a:lnTo>
                  <a:lnTo>
                    <a:pt x="925" y="198"/>
                  </a:lnTo>
                  <a:lnTo>
                    <a:pt x="904" y="198"/>
                  </a:lnTo>
                  <a:lnTo>
                    <a:pt x="884" y="198"/>
                  </a:lnTo>
                  <a:lnTo>
                    <a:pt x="863" y="198"/>
                  </a:lnTo>
                  <a:lnTo>
                    <a:pt x="844" y="198"/>
                  </a:lnTo>
                  <a:lnTo>
                    <a:pt x="823" y="198"/>
                  </a:lnTo>
                  <a:lnTo>
                    <a:pt x="785" y="198"/>
                  </a:lnTo>
                  <a:lnTo>
                    <a:pt x="785" y="180"/>
                  </a:lnTo>
                  <a:lnTo>
                    <a:pt x="804" y="180"/>
                  </a:lnTo>
                  <a:lnTo>
                    <a:pt x="823" y="180"/>
                  </a:lnTo>
                  <a:lnTo>
                    <a:pt x="785" y="144"/>
                  </a:lnTo>
                  <a:lnTo>
                    <a:pt x="785" y="127"/>
                  </a:lnTo>
                  <a:lnTo>
                    <a:pt x="723" y="144"/>
                  </a:lnTo>
                  <a:lnTo>
                    <a:pt x="683" y="127"/>
                  </a:lnTo>
                  <a:lnTo>
                    <a:pt x="621" y="107"/>
                  </a:lnTo>
                  <a:lnTo>
                    <a:pt x="562" y="90"/>
                  </a:lnTo>
                  <a:lnTo>
                    <a:pt x="541" y="107"/>
                  </a:lnTo>
                  <a:lnTo>
                    <a:pt x="522" y="107"/>
                  </a:lnTo>
                  <a:lnTo>
                    <a:pt x="502" y="107"/>
                  </a:lnTo>
                  <a:lnTo>
                    <a:pt x="502" y="90"/>
                  </a:lnTo>
                  <a:lnTo>
                    <a:pt x="502" y="73"/>
                  </a:lnTo>
                  <a:lnTo>
                    <a:pt x="481" y="90"/>
                  </a:lnTo>
                  <a:lnTo>
                    <a:pt x="462" y="107"/>
                  </a:lnTo>
                  <a:lnTo>
                    <a:pt x="441" y="107"/>
                  </a:lnTo>
                  <a:lnTo>
                    <a:pt x="441" y="90"/>
                  </a:lnTo>
                  <a:lnTo>
                    <a:pt x="401" y="73"/>
                  </a:lnTo>
                  <a:lnTo>
                    <a:pt x="382" y="73"/>
                  </a:lnTo>
                  <a:lnTo>
                    <a:pt x="382" y="90"/>
                  </a:lnTo>
                  <a:lnTo>
                    <a:pt x="362" y="90"/>
                  </a:lnTo>
                  <a:lnTo>
                    <a:pt x="341" y="90"/>
                  </a:lnTo>
                  <a:lnTo>
                    <a:pt x="341" y="73"/>
                  </a:lnTo>
                  <a:lnTo>
                    <a:pt x="322" y="90"/>
                  </a:lnTo>
                  <a:lnTo>
                    <a:pt x="301" y="90"/>
                  </a:lnTo>
                  <a:lnTo>
                    <a:pt x="282" y="107"/>
                  </a:lnTo>
                  <a:lnTo>
                    <a:pt x="263" y="107"/>
                  </a:lnTo>
                  <a:lnTo>
                    <a:pt x="241" y="127"/>
                  </a:lnTo>
                  <a:lnTo>
                    <a:pt x="222" y="107"/>
                  </a:lnTo>
                  <a:lnTo>
                    <a:pt x="201" y="107"/>
                  </a:lnTo>
                  <a:lnTo>
                    <a:pt x="201" y="127"/>
                  </a:lnTo>
                  <a:lnTo>
                    <a:pt x="161" y="127"/>
                  </a:lnTo>
                  <a:lnTo>
                    <a:pt x="161" y="144"/>
                  </a:lnTo>
                  <a:lnTo>
                    <a:pt x="120" y="144"/>
                  </a:lnTo>
                  <a:lnTo>
                    <a:pt x="80" y="127"/>
                  </a:lnTo>
                  <a:lnTo>
                    <a:pt x="40" y="127"/>
                  </a:lnTo>
                  <a:lnTo>
                    <a:pt x="40" y="107"/>
                  </a:lnTo>
                  <a:lnTo>
                    <a:pt x="19" y="107"/>
                  </a:lnTo>
                  <a:lnTo>
                    <a:pt x="0" y="107"/>
                  </a:lnTo>
                  <a:lnTo>
                    <a:pt x="0" y="127"/>
                  </a:lnTo>
                  <a:lnTo>
                    <a:pt x="0" y="163"/>
                  </a:lnTo>
                  <a:lnTo>
                    <a:pt x="0" y="217"/>
                  </a:lnTo>
                  <a:lnTo>
                    <a:pt x="0" y="286"/>
                  </a:lnTo>
                  <a:lnTo>
                    <a:pt x="0" y="340"/>
                  </a:lnTo>
                  <a:lnTo>
                    <a:pt x="0" y="393"/>
                  </a:lnTo>
                  <a:lnTo>
                    <a:pt x="0" y="466"/>
                  </a:lnTo>
                  <a:lnTo>
                    <a:pt x="0" y="484"/>
                  </a:lnTo>
                  <a:lnTo>
                    <a:pt x="0" y="503"/>
                  </a:lnTo>
                  <a:lnTo>
                    <a:pt x="40" y="520"/>
                  </a:lnTo>
                  <a:lnTo>
                    <a:pt x="59" y="520"/>
                  </a:lnTo>
                  <a:lnTo>
                    <a:pt x="80" y="537"/>
                  </a:lnTo>
                  <a:lnTo>
                    <a:pt x="99" y="557"/>
                  </a:lnTo>
                  <a:lnTo>
                    <a:pt x="120" y="557"/>
                  </a:lnTo>
                  <a:lnTo>
                    <a:pt x="140" y="557"/>
                  </a:lnTo>
                  <a:lnTo>
                    <a:pt x="140" y="537"/>
                  </a:lnTo>
                  <a:lnTo>
                    <a:pt x="161" y="537"/>
                  </a:lnTo>
                  <a:lnTo>
                    <a:pt x="182" y="537"/>
                  </a:lnTo>
                  <a:lnTo>
                    <a:pt x="201" y="557"/>
                  </a:lnTo>
                  <a:lnTo>
                    <a:pt x="241" y="593"/>
                  </a:lnTo>
                  <a:lnTo>
                    <a:pt x="263" y="610"/>
                  </a:lnTo>
                  <a:lnTo>
                    <a:pt x="263" y="626"/>
                  </a:lnTo>
                  <a:lnTo>
                    <a:pt x="263" y="645"/>
                  </a:lnTo>
                  <a:lnTo>
                    <a:pt x="282" y="645"/>
                  </a:lnTo>
                  <a:lnTo>
                    <a:pt x="301" y="662"/>
                  </a:lnTo>
                  <a:lnTo>
                    <a:pt x="322" y="662"/>
                  </a:lnTo>
                  <a:lnTo>
                    <a:pt x="322" y="679"/>
                  </a:lnTo>
                  <a:lnTo>
                    <a:pt x="322" y="699"/>
                  </a:lnTo>
                  <a:lnTo>
                    <a:pt x="322" y="716"/>
                  </a:lnTo>
                  <a:lnTo>
                    <a:pt x="322" y="735"/>
                  </a:lnTo>
                  <a:lnTo>
                    <a:pt x="322" y="752"/>
                  </a:lnTo>
                  <a:lnTo>
                    <a:pt x="322" y="770"/>
                  </a:lnTo>
                  <a:lnTo>
                    <a:pt x="341" y="770"/>
                  </a:lnTo>
                  <a:lnTo>
                    <a:pt x="341" y="789"/>
                  </a:lnTo>
                  <a:lnTo>
                    <a:pt x="362" y="789"/>
                  </a:lnTo>
                  <a:lnTo>
                    <a:pt x="362" y="806"/>
                  </a:lnTo>
                  <a:lnTo>
                    <a:pt x="382" y="823"/>
                  </a:lnTo>
                  <a:lnTo>
                    <a:pt x="401" y="860"/>
                  </a:lnTo>
                  <a:lnTo>
                    <a:pt x="422" y="879"/>
                  </a:lnTo>
                  <a:lnTo>
                    <a:pt x="441" y="896"/>
                  </a:lnTo>
                  <a:lnTo>
                    <a:pt x="481" y="896"/>
                  </a:lnTo>
                  <a:lnTo>
                    <a:pt x="502" y="913"/>
                  </a:lnTo>
                  <a:lnTo>
                    <a:pt x="502" y="933"/>
                  </a:lnTo>
                  <a:lnTo>
                    <a:pt x="522" y="933"/>
                  </a:lnTo>
                  <a:lnTo>
                    <a:pt x="541" y="950"/>
                  </a:lnTo>
                  <a:lnTo>
                    <a:pt x="1426" y="950"/>
                  </a:lnTo>
                  <a:lnTo>
                    <a:pt x="1426" y="933"/>
                  </a:lnTo>
                  <a:lnTo>
                    <a:pt x="1447" y="950"/>
                  </a:lnTo>
                  <a:lnTo>
                    <a:pt x="1466" y="950"/>
                  </a:lnTo>
                  <a:lnTo>
                    <a:pt x="1487" y="950"/>
                  </a:lnTo>
                  <a:lnTo>
                    <a:pt x="1506" y="950"/>
                  </a:lnTo>
                  <a:lnTo>
                    <a:pt x="1526" y="967"/>
                  </a:lnTo>
                  <a:lnTo>
                    <a:pt x="1566" y="985"/>
                  </a:lnTo>
                  <a:lnTo>
                    <a:pt x="1587" y="985"/>
                  </a:lnTo>
                  <a:lnTo>
                    <a:pt x="1608" y="967"/>
                  </a:lnTo>
                  <a:lnTo>
                    <a:pt x="1629" y="967"/>
                  </a:lnTo>
                  <a:lnTo>
                    <a:pt x="1649" y="967"/>
                  </a:lnTo>
                  <a:lnTo>
                    <a:pt x="1649" y="950"/>
                  </a:lnTo>
                  <a:lnTo>
                    <a:pt x="1668" y="967"/>
                  </a:lnTo>
                  <a:lnTo>
                    <a:pt x="1668" y="950"/>
                  </a:lnTo>
                  <a:lnTo>
                    <a:pt x="1689" y="950"/>
                  </a:lnTo>
                  <a:lnTo>
                    <a:pt x="1708" y="967"/>
                  </a:lnTo>
                  <a:lnTo>
                    <a:pt x="1708" y="985"/>
                  </a:lnTo>
                  <a:lnTo>
                    <a:pt x="1729" y="1002"/>
                  </a:lnTo>
                  <a:lnTo>
                    <a:pt x="1729" y="1019"/>
                  </a:lnTo>
                  <a:lnTo>
                    <a:pt x="1748" y="1019"/>
                  </a:lnTo>
                  <a:lnTo>
                    <a:pt x="1768" y="1038"/>
                  </a:lnTo>
                  <a:lnTo>
                    <a:pt x="1789" y="1056"/>
                  </a:lnTo>
                  <a:lnTo>
                    <a:pt x="1829" y="1056"/>
                  </a:lnTo>
                  <a:lnTo>
                    <a:pt x="1848" y="1056"/>
                  </a:lnTo>
                  <a:lnTo>
                    <a:pt x="1869" y="1056"/>
                  </a:lnTo>
                  <a:lnTo>
                    <a:pt x="1888" y="1075"/>
                  </a:lnTo>
                  <a:lnTo>
                    <a:pt x="1888" y="1092"/>
                  </a:lnTo>
                  <a:lnTo>
                    <a:pt x="1888" y="1109"/>
                  </a:lnTo>
                  <a:lnTo>
                    <a:pt x="1869" y="1109"/>
                  </a:lnTo>
                  <a:lnTo>
                    <a:pt x="1848" y="1092"/>
                  </a:lnTo>
                  <a:lnTo>
                    <a:pt x="1848" y="1109"/>
                  </a:lnTo>
                  <a:lnTo>
                    <a:pt x="1829" y="1128"/>
                  </a:lnTo>
                  <a:lnTo>
                    <a:pt x="1808" y="1146"/>
                  </a:lnTo>
                  <a:lnTo>
                    <a:pt x="1808" y="1163"/>
                  </a:lnTo>
                  <a:lnTo>
                    <a:pt x="1789" y="1182"/>
                  </a:lnTo>
                  <a:lnTo>
                    <a:pt x="1808" y="1182"/>
                  </a:lnTo>
                  <a:lnTo>
                    <a:pt x="1829" y="1182"/>
                  </a:lnTo>
                  <a:lnTo>
                    <a:pt x="1848" y="1182"/>
                  </a:lnTo>
                  <a:lnTo>
                    <a:pt x="1869" y="1182"/>
                  </a:lnTo>
                  <a:lnTo>
                    <a:pt x="1888" y="1182"/>
                  </a:lnTo>
                  <a:lnTo>
                    <a:pt x="1908" y="1182"/>
                  </a:lnTo>
                  <a:lnTo>
                    <a:pt x="1908" y="1163"/>
                  </a:lnTo>
                  <a:lnTo>
                    <a:pt x="1908" y="1146"/>
                  </a:lnTo>
                  <a:lnTo>
                    <a:pt x="1908" y="1128"/>
                  </a:lnTo>
                  <a:lnTo>
                    <a:pt x="1948" y="1128"/>
                  </a:lnTo>
                  <a:lnTo>
                    <a:pt x="1988" y="1128"/>
                  </a:lnTo>
                  <a:lnTo>
                    <a:pt x="2009" y="1128"/>
                  </a:lnTo>
                  <a:lnTo>
                    <a:pt x="2029" y="1109"/>
                  </a:lnTo>
                  <a:lnTo>
                    <a:pt x="2048" y="1092"/>
                  </a:lnTo>
                  <a:lnTo>
                    <a:pt x="2048" y="1075"/>
                  </a:lnTo>
                  <a:lnTo>
                    <a:pt x="2069" y="1075"/>
                  </a:lnTo>
                  <a:lnTo>
                    <a:pt x="2090" y="1075"/>
                  </a:lnTo>
                  <a:lnTo>
                    <a:pt x="2111" y="1075"/>
                  </a:lnTo>
                  <a:lnTo>
                    <a:pt x="2130" y="1075"/>
                  </a:lnTo>
                  <a:lnTo>
                    <a:pt x="2151" y="1075"/>
                  </a:lnTo>
                  <a:lnTo>
                    <a:pt x="2171" y="1075"/>
                  </a:lnTo>
                  <a:lnTo>
                    <a:pt x="2171" y="1056"/>
                  </a:lnTo>
                  <a:lnTo>
                    <a:pt x="2190" y="1038"/>
                  </a:lnTo>
                  <a:lnTo>
                    <a:pt x="2211" y="1019"/>
                  </a:lnTo>
                  <a:lnTo>
                    <a:pt x="2230" y="1002"/>
                  </a:lnTo>
                  <a:lnTo>
                    <a:pt x="2251" y="1002"/>
                  </a:lnTo>
                  <a:lnTo>
                    <a:pt x="2270" y="1002"/>
                  </a:lnTo>
                  <a:lnTo>
                    <a:pt x="2292" y="1038"/>
                  </a:lnTo>
                  <a:lnTo>
                    <a:pt x="2292" y="1056"/>
                  </a:lnTo>
                  <a:lnTo>
                    <a:pt x="2292" y="1092"/>
                  </a:lnTo>
                  <a:lnTo>
                    <a:pt x="2292" y="1075"/>
                  </a:lnTo>
                  <a:close/>
                </a:path>
              </a:pathLst>
            </a:custGeom>
            <a:solidFill>
              <a:srgbClr val="C0C0C0"/>
            </a:solidFill>
            <a:ln w="9525">
              <a:solidFill>
                <a:srgbClr val="C0C0C0"/>
              </a:solidFill>
              <a:round/>
              <a:headEnd/>
              <a:tailEnd/>
            </a:ln>
          </p:spPr>
          <p:txBody>
            <a:bodyPr/>
            <a:lstStyle/>
            <a:p>
              <a:endParaRPr lang="en-US"/>
            </a:p>
          </p:txBody>
        </p:sp>
        <p:sp>
          <p:nvSpPr>
            <p:cNvPr id="9420" name="Freeform 111"/>
            <p:cNvSpPr>
              <a:spLocks/>
            </p:cNvSpPr>
            <p:nvPr/>
          </p:nvSpPr>
          <p:spPr bwMode="auto">
            <a:xfrm>
              <a:off x="349" y="1536"/>
              <a:ext cx="562" cy="367"/>
            </a:xfrm>
            <a:custGeom>
              <a:avLst/>
              <a:gdLst>
                <a:gd name="T0" fmla="*/ 0 w 1125"/>
                <a:gd name="T1" fmla="*/ 1 h 733"/>
                <a:gd name="T2" fmla="*/ 0 w 1125"/>
                <a:gd name="T3" fmla="*/ 1 h 733"/>
                <a:gd name="T4" fmla="*/ 0 w 1125"/>
                <a:gd name="T5" fmla="*/ 1 h 733"/>
                <a:gd name="T6" fmla="*/ 0 w 1125"/>
                <a:gd name="T7" fmla="*/ 1 h 733"/>
                <a:gd name="T8" fmla="*/ 0 w 1125"/>
                <a:gd name="T9" fmla="*/ 1 h 733"/>
                <a:gd name="T10" fmla="*/ 0 w 1125"/>
                <a:gd name="T11" fmla="*/ 1 h 733"/>
                <a:gd name="T12" fmla="*/ 0 w 1125"/>
                <a:gd name="T13" fmla="*/ 1 h 733"/>
                <a:gd name="T14" fmla="*/ 0 w 1125"/>
                <a:gd name="T15" fmla="*/ 1 h 733"/>
                <a:gd name="T16" fmla="*/ 0 w 1125"/>
                <a:gd name="T17" fmla="*/ 1 h 733"/>
                <a:gd name="T18" fmla="*/ 0 w 1125"/>
                <a:gd name="T19" fmla="*/ 1 h 733"/>
                <a:gd name="T20" fmla="*/ 0 w 1125"/>
                <a:gd name="T21" fmla="*/ 1 h 733"/>
                <a:gd name="T22" fmla="*/ 0 w 1125"/>
                <a:gd name="T23" fmla="*/ 1 h 733"/>
                <a:gd name="T24" fmla="*/ 0 w 1125"/>
                <a:gd name="T25" fmla="*/ 1 h 733"/>
                <a:gd name="T26" fmla="*/ 0 w 1125"/>
                <a:gd name="T27" fmla="*/ 1 h 733"/>
                <a:gd name="T28" fmla="*/ 0 w 1125"/>
                <a:gd name="T29" fmla="*/ 1 h 733"/>
                <a:gd name="T30" fmla="*/ 0 w 1125"/>
                <a:gd name="T31" fmla="*/ 1 h 733"/>
                <a:gd name="T32" fmla="*/ 0 w 1125"/>
                <a:gd name="T33" fmla="*/ 1 h 733"/>
                <a:gd name="T34" fmla="*/ 0 w 1125"/>
                <a:gd name="T35" fmla="*/ 1 h 733"/>
                <a:gd name="T36" fmla="*/ 0 w 1125"/>
                <a:gd name="T37" fmla="*/ 1 h 733"/>
                <a:gd name="T38" fmla="*/ 0 w 1125"/>
                <a:gd name="T39" fmla="*/ 1 h 733"/>
                <a:gd name="T40" fmla="*/ 0 w 1125"/>
                <a:gd name="T41" fmla="*/ 1 h 733"/>
                <a:gd name="T42" fmla="*/ 0 w 1125"/>
                <a:gd name="T43" fmla="*/ 1 h 733"/>
                <a:gd name="T44" fmla="*/ 0 w 1125"/>
                <a:gd name="T45" fmla="*/ 1 h 733"/>
                <a:gd name="T46" fmla="*/ 0 w 1125"/>
                <a:gd name="T47" fmla="*/ 1 h 733"/>
                <a:gd name="T48" fmla="*/ 0 w 1125"/>
                <a:gd name="T49" fmla="*/ 1 h 733"/>
                <a:gd name="T50" fmla="*/ 0 w 1125"/>
                <a:gd name="T51" fmla="*/ 1 h 733"/>
                <a:gd name="T52" fmla="*/ 0 w 1125"/>
                <a:gd name="T53" fmla="*/ 1 h 733"/>
                <a:gd name="T54" fmla="*/ 0 w 1125"/>
                <a:gd name="T55" fmla="*/ 1 h 733"/>
                <a:gd name="T56" fmla="*/ 0 w 1125"/>
                <a:gd name="T57" fmla="*/ 1 h 733"/>
                <a:gd name="T58" fmla="*/ 0 w 1125"/>
                <a:gd name="T59" fmla="*/ 1 h 733"/>
                <a:gd name="T60" fmla="*/ 0 w 1125"/>
                <a:gd name="T61" fmla="*/ 1 h 733"/>
                <a:gd name="T62" fmla="*/ 0 w 1125"/>
                <a:gd name="T63" fmla="*/ 1 h 733"/>
                <a:gd name="T64" fmla="*/ 0 w 1125"/>
                <a:gd name="T65" fmla="*/ 1 h 733"/>
                <a:gd name="T66" fmla="*/ 0 w 1125"/>
                <a:gd name="T67" fmla="*/ 1 h 733"/>
                <a:gd name="T68" fmla="*/ 0 w 1125"/>
                <a:gd name="T69" fmla="*/ 1 h 733"/>
                <a:gd name="T70" fmla="*/ 0 w 1125"/>
                <a:gd name="T71" fmla="*/ 1 h 733"/>
                <a:gd name="T72" fmla="*/ 0 w 1125"/>
                <a:gd name="T73" fmla="*/ 1 h 733"/>
                <a:gd name="T74" fmla="*/ 0 w 1125"/>
                <a:gd name="T75" fmla="*/ 1 h 733"/>
                <a:gd name="T76" fmla="*/ 0 w 1125"/>
                <a:gd name="T77" fmla="*/ 1 h 733"/>
                <a:gd name="T78" fmla="*/ 0 w 1125"/>
                <a:gd name="T79" fmla="*/ 1 h 733"/>
                <a:gd name="T80" fmla="*/ 0 w 1125"/>
                <a:gd name="T81" fmla="*/ 1 h 733"/>
                <a:gd name="T82" fmla="*/ 0 w 1125"/>
                <a:gd name="T83" fmla="*/ 1 h 733"/>
                <a:gd name="T84" fmla="*/ 0 w 1125"/>
                <a:gd name="T85" fmla="*/ 1 h 733"/>
                <a:gd name="T86" fmla="*/ 0 w 1125"/>
                <a:gd name="T87" fmla="*/ 1 h 733"/>
                <a:gd name="T88" fmla="*/ 0 w 1125"/>
                <a:gd name="T89" fmla="*/ 1 h 733"/>
                <a:gd name="T90" fmla="*/ 0 w 1125"/>
                <a:gd name="T91" fmla="*/ 1 h 733"/>
                <a:gd name="T92" fmla="*/ 0 w 1125"/>
                <a:gd name="T93" fmla="*/ 1 h 733"/>
                <a:gd name="T94" fmla="*/ 0 w 1125"/>
                <a:gd name="T95" fmla="*/ 1 h 733"/>
                <a:gd name="T96" fmla="*/ 0 w 1125"/>
                <a:gd name="T97" fmla="*/ 1 h 733"/>
                <a:gd name="T98" fmla="*/ 0 w 1125"/>
                <a:gd name="T99" fmla="*/ 1 h 73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25"/>
                <a:gd name="T151" fmla="*/ 0 h 733"/>
                <a:gd name="T152" fmla="*/ 1125 w 1125"/>
                <a:gd name="T153" fmla="*/ 733 h 73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25" h="733">
                  <a:moveTo>
                    <a:pt x="803" y="88"/>
                  </a:moveTo>
                  <a:lnTo>
                    <a:pt x="803" y="108"/>
                  </a:lnTo>
                  <a:lnTo>
                    <a:pt x="803" y="144"/>
                  </a:lnTo>
                  <a:lnTo>
                    <a:pt x="803" y="198"/>
                  </a:lnTo>
                  <a:lnTo>
                    <a:pt x="803" y="267"/>
                  </a:lnTo>
                  <a:lnTo>
                    <a:pt x="803" y="321"/>
                  </a:lnTo>
                  <a:lnTo>
                    <a:pt x="803" y="374"/>
                  </a:lnTo>
                  <a:lnTo>
                    <a:pt x="803" y="447"/>
                  </a:lnTo>
                  <a:lnTo>
                    <a:pt x="803" y="465"/>
                  </a:lnTo>
                  <a:lnTo>
                    <a:pt x="803" y="484"/>
                  </a:lnTo>
                  <a:lnTo>
                    <a:pt x="843" y="501"/>
                  </a:lnTo>
                  <a:lnTo>
                    <a:pt x="862" y="501"/>
                  </a:lnTo>
                  <a:lnTo>
                    <a:pt x="883" y="518"/>
                  </a:lnTo>
                  <a:lnTo>
                    <a:pt x="902" y="538"/>
                  </a:lnTo>
                  <a:lnTo>
                    <a:pt x="922" y="538"/>
                  </a:lnTo>
                  <a:lnTo>
                    <a:pt x="943" y="538"/>
                  </a:lnTo>
                  <a:lnTo>
                    <a:pt x="943" y="518"/>
                  </a:lnTo>
                  <a:lnTo>
                    <a:pt x="964" y="518"/>
                  </a:lnTo>
                  <a:lnTo>
                    <a:pt x="985" y="518"/>
                  </a:lnTo>
                  <a:lnTo>
                    <a:pt x="1004" y="538"/>
                  </a:lnTo>
                  <a:lnTo>
                    <a:pt x="1044" y="574"/>
                  </a:lnTo>
                  <a:lnTo>
                    <a:pt x="1064" y="591"/>
                  </a:lnTo>
                  <a:lnTo>
                    <a:pt x="1064" y="607"/>
                  </a:lnTo>
                  <a:lnTo>
                    <a:pt x="1064" y="626"/>
                  </a:lnTo>
                  <a:lnTo>
                    <a:pt x="1085" y="626"/>
                  </a:lnTo>
                  <a:lnTo>
                    <a:pt x="1104" y="643"/>
                  </a:lnTo>
                  <a:lnTo>
                    <a:pt x="1125" y="643"/>
                  </a:lnTo>
                  <a:lnTo>
                    <a:pt x="1125" y="660"/>
                  </a:lnTo>
                  <a:lnTo>
                    <a:pt x="1125" y="680"/>
                  </a:lnTo>
                  <a:lnTo>
                    <a:pt x="1125" y="697"/>
                  </a:lnTo>
                  <a:lnTo>
                    <a:pt x="1104" y="697"/>
                  </a:lnTo>
                  <a:lnTo>
                    <a:pt x="1085" y="697"/>
                  </a:lnTo>
                  <a:lnTo>
                    <a:pt x="1064" y="680"/>
                  </a:lnTo>
                  <a:lnTo>
                    <a:pt x="1064" y="660"/>
                  </a:lnTo>
                  <a:lnTo>
                    <a:pt x="1064" y="643"/>
                  </a:lnTo>
                  <a:lnTo>
                    <a:pt x="1044" y="643"/>
                  </a:lnTo>
                  <a:lnTo>
                    <a:pt x="1025" y="626"/>
                  </a:lnTo>
                  <a:lnTo>
                    <a:pt x="1044" y="626"/>
                  </a:lnTo>
                  <a:lnTo>
                    <a:pt x="1044" y="607"/>
                  </a:lnTo>
                  <a:lnTo>
                    <a:pt x="1025" y="607"/>
                  </a:lnTo>
                  <a:lnTo>
                    <a:pt x="1025" y="626"/>
                  </a:lnTo>
                  <a:lnTo>
                    <a:pt x="1004" y="626"/>
                  </a:lnTo>
                  <a:lnTo>
                    <a:pt x="1004" y="607"/>
                  </a:lnTo>
                  <a:lnTo>
                    <a:pt x="1004" y="591"/>
                  </a:lnTo>
                  <a:lnTo>
                    <a:pt x="1004" y="574"/>
                  </a:lnTo>
                  <a:lnTo>
                    <a:pt x="985" y="574"/>
                  </a:lnTo>
                  <a:lnTo>
                    <a:pt x="964" y="574"/>
                  </a:lnTo>
                  <a:lnTo>
                    <a:pt x="943" y="574"/>
                  </a:lnTo>
                  <a:lnTo>
                    <a:pt x="922" y="574"/>
                  </a:lnTo>
                  <a:lnTo>
                    <a:pt x="902" y="555"/>
                  </a:lnTo>
                  <a:lnTo>
                    <a:pt x="883" y="538"/>
                  </a:lnTo>
                  <a:lnTo>
                    <a:pt x="862" y="518"/>
                  </a:lnTo>
                  <a:lnTo>
                    <a:pt x="822" y="518"/>
                  </a:lnTo>
                  <a:lnTo>
                    <a:pt x="803" y="518"/>
                  </a:lnTo>
                  <a:lnTo>
                    <a:pt x="781" y="518"/>
                  </a:lnTo>
                  <a:lnTo>
                    <a:pt x="743" y="518"/>
                  </a:lnTo>
                  <a:lnTo>
                    <a:pt x="722" y="518"/>
                  </a:lnTo>
                  <a:lnTo>
                    <a:pt x="682" y="501"/>
                  </a:lnTo>
                  <a:lnTo>
                    <a:pt x="662" y="484"/>
                  </a:lnTo>
                  <a:lnTo>
                    <a:pt x="622" y="447"/>
                  </a:lnTo>
                  <a:lnTo>
                    <a:pt x="603" y="465"/>
                  </a:lnTo>
                  <a:lnTo>
                    <a:pt x="582" y="465"/>
                  </a:lnTo>
                  <a:lnTo>
                    <a:pt x="582" y="484"/>
                  </a:lnTo>
                  <a:lnTo>
                    <a:pt x="603" y="484"/>
                  </a:lnTo>
                  <a:lnTo>
                    <a:pt x="563" y="518"/>
                  </a:lnTo>
                  <a:lnTo>
                    <a:pt x="522" y="538"/>
                  </a:lnTo>
                  <a:lnTo>
                    <a:pt x="482" y="538"/>
                  </a:lnTo>
                  <a:lnTo>
                    <a:pt x="461" y="538"/>
                  </a:lnTo>
                  <a:lnTo>
                    <a:pt x="461" y="518"/>
                  </a:lnTo>
                  <a:lnTo>
                    <a:pt x="482" y="518"/>
                  </a:lnTo>
                  <a:lnTo>
                    <a:pt x="482" y="501"/>
                  </a:lnTo>
                  <a:lnTo>
                    <a:pt x="503" y="484"/>
                  </a:lnTo>
                  <a:lnTo>
                    <a:pt x="522" y="465"/>
                  </a:lnTo>
                  <a:lnTo>
                    <a:pt x="522" y="447"/>
                  </a:lnTo>
                  <a:lnTo>
                    <a:pt x="482" y="465"/>
                  </a:lnTo>
                  <a:lnTo>
                    <a:pt x="440" y="518"/>
                  </a:lnTo>
                  <a:lnTo>
                    <a:pt x="421" y="555"/>
                  </a:lnTo>
                  <a:lnTo>
                    <a:pt x="421" y="574"/>
                  </a:lnTo>
                  <a:lnTo>
                    <a:pt x="401" y="574"/>
                  </a:lnTo>
                  <a:lnTo>
                    <a:pt x="401" y="591"/>
                  </a:lnTo>
                  <a:lnTo>
                    <a:pt x="361" y="591"/>
                  </a:lnTo>
                  <a:lnTo>
                    <a:pt x="361" y="607"/>
                  </a:lnTo>
                  <a:lnTo>
                    <a:pt x="340" y="607"/>
                  </a:lnTo>
                  <a:lnTo>
                    <a:pt x="340" y="626"/>
                  </a:lnTo>
                  <a:lnTo>
                    <a:pt x="321" y="626"/>
                  </a:lnTo>
                  <a:lnTo>
                    <a:pt x="280" y="643"/>
                  </a:lnTo>
                  <a:lnTo>
                    <a:pt x="261" y="660"/>
                  </a:lnTo>
                  <a:lnTo>
                    <a:pt x="261" y="680"/>
                  </a:lnTo>
                  <a:lnTo>
                    <a:pt x="200" y="697"/>
                  </a:lnTo>
                  <a:lnTo>
                    <a:pt x="181" y="697"/>
                  </a:lnTo>
                  <a:lnTo>
                    <a:pt x="140" y="714"/>
                  </a:lnTo>
                  <a:lnTo>
                    <a:pt x="121" y="733"/>
                  </a:lnTo>
                  <a:lnTo>
                    <a:pt x="60" y="733"/>
                  </a:lnTo>
                  <a:lnTo>
                    <a:pt x="81" y="714"/>
                  </a:lnTo>
                  <a:lnTo>
                    <a:pt x="121" y="714"/>
                  </a:lnTo>
                  <a:lnTo>
                    <a:pt x="140" y="697"/>
                  </a:lnTo>
                  <a:lnTo>
                    <a:pt x="161" y="680"/>
                  </a:lnTo>
                  <a:lnTo>
                    <a:pt x="181" y="680"/>
                  </a:lnTo>
                  <a:lnTo>
                    <a:pt x="200" y="680"/>
                  </a:lnTo>
                  <a:lnTo>
                    <a:pt x="200" y="660"/>
                  </a:lnTo>
                  <a:lnTo>
                    <a:pt x="240" y="643"/>
                  </a:lnTo>
                  <a:lnTo>
                    <a:pt x="261" y="626"/>
                  </a:lnTo>
                  <a:lnTo>
                    <a:pt x="300" y="607"/>
                  </a:lnTo>
                  <a:lnTo>
                    <a:pt x="321" y="591"/>
                  </a:lnTo>
                  <a:lnTo>
                    <a:pt x="321" y="574"/>
                  </a:lnTo>
                  <a:lnTo>
                    <a:pt x="340" y="555"/>
                  </a:lnTo>
                  <a:lnTo>
                    <a:pt x="321" y="555"/>
                  </a:lnTo>
                  <a:lnTo>
                    <a:pt x="321" y="574"/>
                  </a:lnTo>
                  <a:lnTo>
                    <a:pt x="300" y="574"/>
                  </a:lnTo>
                  <a:lnTo>
                    <a:pt x="280" y="574"/>
                  </a:lnTo>
                  <a:lnTo>
                    <a:pt x="261" y="574"/>
                  </a:lnTo>
                  <a:lnTo>
                    <a:pt x="261" y="555"/>
                  </a:lnTo>
                  <a:lnTo>
                    <a:pt x="261" y="574"/>
                  </a:lnTo>
                  <a:lnTo>
                    <a:pt x="240" y="574"/>
                  </a:lnTo>
                  <a:lnTo>
                    <a:pt x="221" y="555"/>
                  </a:lnTo>
                  <a:lnTo>
                    <a:pt x="200" y="555"/>
                  </a:lnTo>
                  <a:lnTo>
                    <a:pt x="200" y="574"/>
                  </a:lnTo>
                  <a:lnTo>
                    <a:pt x="181" y="574"/>
                  </a:lnTo>
                  <a:lnTo>
                    <a:pt x="161" y="555"/>
                  </a:lnTo>
                  <a:lnTo>
                    <a:pt x="161" y="538"/>
                  </a:lnTo>
                  <a:lnTo>
                    <a:pt x="161" y="518"/>
                  </a:lnTo>
                  <a:lnTo>
                    <a:pt x="140" y="518"/>
                  </a:lnTo>
                  <a:lnTo>
                    <a:pt x="121" y="518"/>
                  </a:lnTo>
                  <a:lnTo>
                    <a:pt x="81" y="501"/>
                  </a:lnTo>
                  <a:lnTo>
                    <a:pt x="60" y="484"/>
                  </a:lnTo>
                  <a:lnTo>
                    <a:pt x="81" y="484"/>
                  </a:lnTo>
                  <a:lnTo>
                    <a:pt x="60" y="465"/>
                  </a:lnTo>
                  <a:lnTo>
                    <a:pt x="40" y="447"/>
                  </a:lnTo>
                  <a:lnTo>
                    <a:pt x="60" y="411"/>
                  </a:lnTo>
                  <a:lnTo>
                    <a:pt x="81" y="394"/>
                  </a:lnTo>
                  <a:lnTo>
                    <a:pt x="121" y="394"/>
                  </a:lnTo>
                  <a:lnTo>
                    <a:pt x="140" y="374"/>
                  </a:lnTo>
                  <a:lnTo>
                    <a:pt x="181" y="357"/>
                  </a:lnTo>
                  <a:lnTo>
                    <a:pt x="200" y="340"/>
                  </a:lnTo>
                  <a:lnTo>
                    <a:pt x="181" y="321"/>
                  </a:lnTo>
                  <a:lnTo>
                    <a:pt x="200" y="321"/>
                  </a:lnTo>
                  <a:lnTo>
                    <a:pt x="200" y="303"/>
                  </a:lnTo>
                  <a:lnTo>
                    <a:pt x="181" y="303"/>
                  </a:lnTo>
                  <a:lnTo>
                    <a:pt x="161" y="303"/>
                  </a:lnTo>
                  <a:lnTo>
                    <a:pt x="140" y="321"/>
                  </a:lnTo>
                  <a:lnTo>
                    <a:pt x="121" y="321"/>
                  </a:lnTo>
                  <a:lnTo>
                    <a:pt x="100" y="321"/>
                  </a:lnTo>
                  <a:lnTo>
                    <a:pt x="81" y="321"/>
                  </a:lnTo>
                  <a:lnTo>
                    <a:pt x="60" y="321"/>
                  </a:lnTo>
                  <a:lnTo>
                    <a:pt x="40" y="321"/>
                  </a:lnTo>
                  <a:lnTo>
                    <a:pt x="21" y="303"/>
                  </a:lnTo>
                  <a:lnTo>
                    <a:pt x="21" y="286"/>
                  </a:lnTo>
                  <a:lnTo>
                    <a:pt x="0" y="286"/>
                  </a:lnTo>
                  <a:lnTo>
                    <a:pt x="21" y="267"/>
                  </a:lnTo>
                  <a:lnTo>
                    <a:pt x="60" y="250"/>
                  </a:lnTo>
                  <a:lnTo>
                    <a:pt x="81" y="232"/>
                  </a:lnTo>
                  <a:lnTo>
                    <a:pt x="100" y="232"/>
                  </a:lnTo>
                  <a:lnTo>
                    <a:pt x="121" y="250"/>
                  </a:lnTo>
                  <a:lnTo>
                    <a:pt x="121" y="267"/>
                  </a:lnTo>
                  <a:lnTo>
                    <a:pt x="140" y="267"/>
                  </a:lnTo>
                  <a:lnTo>
                    <a:pt x="161" y="267"/>
                  </a:lnTo>
                  <a:lnTo>
                    <a:pt x="181" y="267"/>
                  </a:lnTo>
                  <a:lnTo>
                    <a:pt x="161" y="232"/>
                  </a:lnTo>
                  <a:lnTo>
                    <a:pt x="140" y="232"/>
                  </a:lnTo>
                  <a:lnTo>
                    <a:pt x="121" y="215"/>
                  </a:lnTo>
                  <a:lnTo>
                    <a:pt x="100" y="198"/>
                  </a:lnTo>
                  <a:lnTo>
                    <a:pt x="81" y="179"/>
                  </a:lnTo>
                  <a:lnTo>
                    <a:pt x="60" y="179"/>
                  </a:lnTo>
                  <a:lnTo>
                    <a:pt x="40" y="161"/>
                  </a:lnTo>
                  <a:lnTo>
                    <a:pt x="21" y="161"/>
                  </a:lnTo>
                  <a:lnTo>
                    <a:pt x="21" y="144"/>
                  </a:lnTo>
                  <a:lnTo>
                    <a:pt x="40" y="125"/>
                  </a:lnTo>
                  <a:lnTo>
                    <a:pt x="60" y="125"/>
                  </a:lnTo>
                  <a:lnTo>
                    <a:pt x="81" y="125"/>
                  </a:lnTo>
                  <a:lnTo>
                    <a:pt x="100" y="125"/>
                  </a:lnTo>
                  <a:lnTo>
                    <a:pt x="121" y="88"/>
                  </a:lnTo>
                  <a:lnTo>
                    <a:pt x="181" y="54"/>
                  </a:lnTo>
                  <a:lnTo>
                    <a:pt x="240" y="35"/>
                  </a:lnTo>
                  <a:lnTo>
                    <a:pt x="261" y="35"/>
                  </a:lnTo>
                  <a:lnTo>
                    <a:pt x="280" y="35"/>
                  </a:lnTo>
                  <a:lnTo>
                    <a:pt x="300" y="17"/>
                  </a:lnTo>
                  <a:lnTo>
                    <a:pt x="300" y="0"/>
                  </a:lnTo>
                  <a:lnTo>
                    <a:pt x="321" y="0"/>
                  </a:lnTo>
                  <a:lnTo>
                    <a:pt x="340" y="17"/>
                  </a:lnTo>
                  <a:lnTo>
                    <a:pt x="361" y="17"/>
                  </a:lnTo>
                  <a:lnTo>
                    <a:pt x="340" y="17"/>
                  </a:lnTo>
                  <a:lnTo>
                    <a:pt x="340" y="35"/>
                  </a:lnTo>
                  <a:lnTo>
                    <a:pt x="361" y="35"/>
                  </a:lnTo>
                  <a:lnTo>
                    <a:pt x="380" y="17"/>
                  </a:lnTo>
                  <a:lnTo>
                    <a:pt x="401" y="17"/>
                  </a:lnTo>
                  <a:lnTo>
                    <a:pt x="401" y="35"/>
                  </a:lnTo>
                  <a:lnTo>
                    <a:pt x="440" y="35"/>
                  </a:lnTo>
                  <a:lnTo>
                    <a:pt x="461" y="35"/>
                  </a:lnTo>
                  <a:lnTo>
                    <a:pt x="461" y="54"/>
                  </a:lnTo>
                  <a:lnTo>
                    <a:pt x="482" y="54"/>
                  </a:lnTo>
                  <a:lnTo>
                    <a:pt x="522" y="54"/>
                  </a:lnTo>
                  <a:lnTo>
                    <a:pt x="541" y="54"/>
                  </a:lnTo>
                  <a:lnTo>
                    <a:pt x="582" y="54"/>
                  </a:lnTo>
                  <a:lnTo>
                    <a:pt x="603" y="54"/>
                  </a:lnTo>
                  <a:lnTo>
                    <a:pt x="662" y="71"/>
                  </a:lnTo>
                  <a:lnTo>
                    <a:pt x="703" y="71"/>
                  </a:lnTo>
                  <a:lnTo>
                    <a:pt x="722" y="71"/>
                  </a:lnTo>
                  <a:lnTo>
                    <a:pt x="743" y="54"/>
                  </a:lnTo>
                  <a:lnTo>
                    <a:pt x="781" y="71"/>
                  </a:lnTo>
                  <a:lnTo>
                    <a:pt x="803" y="71"/>
                  </a:lnTo>
                  <a:lnTo>
                    <a:pt x="803" y="88"/>
                  </a:lnTo>
                  <a:close/>
                </a:path>
              </a:pathLst>
            </a:custGeom>
            <a:solidFill>
              <a:srgbClr val="C0C0C0"/>
            </a:solidFill>
            <a:ln w="9525">
              <a:solidFill>
                <a:srgbClr val="C0C0C0"/>
              </a:solidFill>
              <a:round/>
              <a:headEnd/>
              <a:tailEnd/>
            </a:ln>
          </p:spPr>
          <p:txBody>
            <a:bodyPr/>
            <a:lstStyle/>
            <a:p>
              <a:endParaRPr lang="en-US"/>
            </a:p>
          </p:txBody>
        </p:sp>
        <p:sp>
          <p:nvSpPr>
            <p:cNvPr id="9421" name="Freeform 112"/>
            <p:cNvSpPr>
              <a:spLocks/>
            </p:cNvSpPr>
            <p:nvPr/>
          </p:nvSpPr>
          <p:spPr bwMode="auto">
            <a:xfrm>
              <a:off x="1112" y="2269"/>
              <a:ext cx="632" cy="367"/>
            </a:xfrm>
            <a:custGeom>
              <a:avLst/>
              <a:gdLst>
                <a:gd name="T0" fmla="*/ 0 w 1265"/>
                <a:gd name="T1" fmla="*/ 1 h 734"/>
                <a:gd name="T2" fmla="*/ 0 w 1265"/>
                <a:gd name="T3" fmla="*/ 1 h 734"/>
                <a:gd name="T4" fmla="*/ 0 w 1265"/>
                <a:gd name="T5" fmla="*/ 1 h 734"/>
                <a:gd name="T6" fmla="*/ 0 w 1265"/>
                <a:gd name="T7" fmla="*/ 1 h 734"/>
                <a:gd name="T8" fmla="*/ 0 w 1265"/>
                <a:gd name="T9" fmla="*/ 1 h 734"/>
                <a:gd name="T10" fmla="*/ 0 w 1265"/>
                <a:gd name="T11" fmla="*/ 1 h 734"/>
                <a:gd name="T12" fmla="*/ 0 w 1265"/>
                <a:gd name="T13" fmla="*/ 1 h 734"/>
                <a:gd name="T14" fmla="*/ 0 w 1265"/>
                <a:gd name="T15" fmla="*/ 1 h 734"/>
                <a:gd name="T16" fmla="*/ 0 w 1265"/>
                <a:gd name="T17" fmla="*/ 1 h 734"/>
                <a:gd name="T18" fmla="*/ 0 w 1265"/>
                <a:gd name="T19" fmla="*/ 1 h 734"/>
                <a:gd name="T20" fmla="*/ 0 w 1265"/>
                <a:gd name="T21" fmla="*/ 1 h 734"/>
                <a:gd name="T22" fmla="*/ 0 w 1265"/>
                <a:gd name="T23" fmla="*/ 1 h 734"/>
                <a:gd name="T24" fmla="*/ 0 w 1265"/>
                <a:gd name="T25" fmla="*/ 1 h 734"/>
                <a:gd name="T26" fmla="*/ 0 w 1265"/>
                <a:gd name="T27" fmla="*/ 1 h 734"/>
                <a:gd name="T28" fmla="*/ 0 w 1265"/>
                <a:gd name="T29" fmla="*/ 1 h 734"/>
                <a:gd name="T30" fmla="*/ 0 w 1265"/>
                <a:gd name="T31" fmla="*/ 1 h 734"/>
                <a:gd name="T32" fmla="*/ 0 w 1265"/>
                <a:gd name="T33" fmla="*/ 1 h 734"/>
                <a:gd name="T34" fmla="*/ 0 w 1265"/>
                <a:gd name="T35" fmla="*/ 1 h 734"/>
                <a:gd name="T36" fmla="*/ 0 w 1265"/>
                <a:gd name="T37" fmla="*/ 1 h 734"/>
                <a:gd name="T38" fmla="*/ 0 w 1265"/>
                <a:gd name="T39" fmla="*/ 1 h 734"/>
                <a:gd name="T40" fmla="*/ 0 w 1265"/>
                <a:gd name="T41" fmla="*/ 1 h 734"/>
                <a:gd name="T42" fmla="*/ 0 w 1265"/>
                <a:gd name="T43" fmla="*/ 1 h 734"/>
                <a:gd name="T44" fmla="*/ 0 w 1265"/>
                <a:gd name="T45" fmla="*/ 1 h 734"/>
                <a:gd name="T46" fmla="*/ 0 w 1265"/>
                <a:gd name="T47" fmla="*/ 1 h 734"/>
                <a:gd name="T48" fmla="*/ 0 w 1265"/>
                <a:gd name="T49" fmla="*/ 1 h 734"/>
                <a:gd name="T50" fmla="*/ 0 w 1265"/>
                <a:gd name="T51" fmla="*/ 1 h 734"/>
                <a:gd name="T52" fmla="*/ 0 w 1265"/>
                <a:gd name="T53" fmla="*/ 1 h 734"/>
                <a:gd name="T54" fmla="*/ 0 w 1265"/>
                <a:gd name="T55" fmla="*/ 1 h 734"/>
                <a:gd name="T56" fmla="*/ 0 w 1265"/>
                <a:gd name="T57" fmla="*/ 1 h 734"/>
                <a:gd name="T58" fmla="*/ 0 w 1265"/>
                <a:gd name="T59" fmla="*/ 1 h 734"/>
                <a:gd name="T60" fmla="*/ 0 w 1265"/>
                <a:gd name="T61" fmla="*/ 1 h 734"/>
                <a:gd name="T62" fmla="*/ 0 w 1265"/>
                <a:gd name="T63" fmla="*/ 1 h 734"/>
                <a:gd name="T64" fmla="*/ 0 w 1265"/>
                <a:gd name="T65" fmla="*/ 1 h 734"/>
                <a:gd name="T66" fmla="*/ 0 w 1265"/>
                <a:gd name="T67" fmla="*/ 1 h 734"/>
                <a:gd name="T68" fmla="*/ 0 w 1265"/>
                <a:gd name="T69" fmla="*/ 1 h 734"/>
                <a:gd name="T70" fmla="*/ 0 w 1265"/>
                <a:gd name="T71" fmla="*/ 1 h 734"/>
                <a:gd name="T72" fmla="*/ 0 w 1265"/>
                <a:gd name="T73" fmla="*/ 1 h 734"/>
                <a:gd name="T74" fmla="*/ 0 w 1265"/>
                <a:gd name="T75" fmla="*/ 1 h 734"/>
                <a:gd name="T76" fmla="*/ 0 w 1265"/>
                <a:gd name="T77" fmla="*/ 1 h 734"/>
                <a:gd name="T78" fmla="*/ 0 w 1265"/>
                <a:gd name="T79" fmla="*/ 1 h 734"/>
                <a:gd name="T80" fmla="*/ 0 w 1265"/>
                <a:gd name="T81" fmla="*/ 1 h 734"/>
                <a:gd name="T82" fmla="*/ 0 w 1265"/>
                <a:gd name="T83" fmla="*/ 1 h 734"/>
                <a:gd name="T84" fmla="*/ 0 w 1265"/>
                <a:gd name="T85" fmla="*/ 1 h 734"/>
                <a:gd name="T86" fmla="*/ 0 w 1265"/>
                <a:gd name="T87" fmla="*/ 1 h 734"/>
                <a:gd name="T88" fmla="*/ 0 w 1265"/>
                <a:gd name="T89" fmla="*/ 1 h 734"/>
                <a:gd name="T90" fmla="*/ 0 w 1265"/>
                <a:gd name="T91" fmla="*/ 1 h 734"/>
                <a:gd name="T92" fmla="*/ 0 w 1265"/>
                <a:gd name="T93" fmla="*/ 1 h 734"/>
                <a:gd name="T94" fmla="*/ 0 w 1265"/>
                <a:gd name="T95" fmla="*/ 1 h 734"/>
                <a:gd name="T96" fmla="*/ 0 w 1265"/>
                <a:gd name="T97" fmla="*/ 1 h 73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65"/>
                <a:gd name="T148" fmla="*/ 0 h 734"/>
                <a:gd name="T149" fmla="*/ 1265 w 1265"/>
                <a:gd name="T150" fmla="*/ 734 h 73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65" h="734">
                  <a:moveTo>
                    <a:pt x="624" y="215"/>
                  </a:moveTo>
                  <a:lnTo>
                    <a:pt x="624" y="233"/>
                  </a:lnTo>
                  <a:lnTo>
                    <a:pt x="624" y="250"/>
                  </a:lnTo>
                  <a:lnTo>
                    <a:pt x="624" y="269"/>
                  </a:lnTo>
                  <a:lnTo>
                    <a:pt x="624" y="286"/>
                  </a:lnTo>
                  <a:lnTo>
                    <a:pt x="624" y="306"/>
                  </a:lnTo>
                  <a:lnTo>
                    <a:pt x="624" y="323"/>
                  </a:lnTo>
                  <a:lnTo>
                    <a:pt x="624" y="340"/>
                  </a:lnTo>
                  <a:lnTo>
                    <a:pt x="624" y="359"/>
                  </a:lnTo>
                  <a:lnTo>
                    <a:pt x="643" y="359"/>
                  </a:lnTo>
                  <a:lnTo>
                    <a:pt x="663" y="377"/>
                  </a:lnTo>
                  <a:lnTo>
                    <a:pt x="663" y="394"/>
                  </a:lnTo>
                  <a:lnTo>
                    <a:pt x="663" y="413"/>
                  </a:lnTo>
                  <a:lnTo>
                    <a:pt x="684" y="413"/>
                  </a:lnTo>
                  <a:lnTo>
                    <a:pt x="703" y="430"/>
                  </a:lnTo>
                  <a:lnTo>
                    <a:pt x="724" y="430"/>
                  </a:lnTo>
                  <a:lnTo>
                    <a:pt x="724" y="450"/>
                  </a:lnTo>
                  <a:lnTo>
                    <a:pt x="743" y="430"/>
                  </a:lnTo>
                  <a:lnTo>
                    <a:pt x="764" y="430"/>
                  </a:lnTo>
                  <a:lnTo>
                    <a:pt x="783" y="430"/>
                  </a:lnTo>
                  <a:lnTo>
                    <a:pt x="803" y="430"/>
                  </a:lnTo>
                  <a:lnTo>
                    <a:pt x="824" y="413"/>
                  </a:lnTo>
                  <a:lnTo>
                    <a:pt x="843" y="394"/>
                  </a:lnTo>
                  <a:lnTo>
                    <a:pt x="843" y="377"/>
                  </a:lnTo>
                  <a:lnTo>
                    <a:pt x="864" y="359"/>
                  </a:lnTo>
                  <a:lnTo>
                    <a:pt x="885" y="340"/>
                  </a:lnTo>
                  <a:lnTo>
                    <a:pt x="906" y="340"/>
                  </a:lnTo>
                  <a:lnTo>
                    <a:pt x="926" y="340"/>
                  </a:lnTo>
                  <a:lnTo>
                    <a:pt x="926" y="359"/>
                  </a:lnTo>
                  <a:lnTo>
                    <a:pt x="945" y="359"/>
                  </a:lnTo>
                  <a:lnTo>
                    <a:pt x="966" y="359"/>
                  </a:lnTo>
                  <a:lnTo>
                    <a:pt x="945" y="359"/>
                  </a:lnTo>
                  <a:lnTo>
                    <a:pt x="945" y="394"/>
                  </a:lnTo>
                  <a:lnTo>
                    <a:pt x="926" y="413"/>
                  </a:lnTo>
                  <a:lnTo>
                    <a:pt x="926" y="430"/>
                  </a:lnTo>
                  <a:lnTo>
                    <a:pt x="926" y="450"/>
                  </a:lnTo>
                  <a:lnTo>
                    <a:pt x="926" y="467"/>
                  </a:lnTo>
                  <a:lnTo>
                    <a:pt x="926" y="484"/>
                  </a:lnTo>
                  <a:lnTo>
                    <a:pt x="906" y="484"/>
                  </a:lnTo>
                  <a:lnTo>
                    <a:pt x="906" y="503"/>
                  </a:lnTo>
                  <a:lnTo>
                    <a:pt x="906" y="521"/>
                  </a:lnTo>
                  <a:lnTo>
                    <a:pt x="945" y="521"/>
                  </a:lnTo>
                  <a:lnTo>
                    <a:pt x="985" y="503"/>
                  </a:lnTo>
                  <a:lnTo>
                    <a:pt x="1006" y="503"/>
                  </a:lnTo>
                  <a:lnTo>
                    <a:pt x="1046" y="521"/>
                  </a:lnTo>
                  <a:lnTo>
                    <a:pt x="1066" y="521"/>
                  </a:lnTo>
                  <a:lnTo>
                    <a:pt x="1066" y="538"/>
                  </a:lnTo>
                  <a:lnTo>
                    <a:pt x="1066" y="555"/>
                  </a:lnTo>
                  <a:lnTo>
                    <a:pt x="1066" y="572"/>
                  </a:lnTo>
                  <a:lnTo>
                    <a:pt x="1066" y="590"/>
                  </a:lnTo>
                  <a:lnTo>
                    <a:pt x="1066" y="609"/>
                  </a:lnTo>
                  <a:lnTo>
                    <a:pt x="1066" y="626"/>
                  </a:lnTo>
                  <a:lnTo>
                    <a:pt x="1087" y="645"/>
                  </a:lnTo>
                  <a:lnTo>
                    <a:pt x="1106" y="663"/>
                  </a:lnTo>
                  <a:lnTo>
                    <a:pt x="1106" y="680"/>
                  </a:lnTo>
                  <a:lnTo>
                    <a:pt x="1125" y="680"/>
                  </a:lnTo>
                  <a:lnTo>
                    <a:pt x="1146" y="680"/>
                  </a:lnTo>
                  <a:lnTo>
                    <a:pt x="1187" y="680"/>
                  </a:lnTo>
                  <a:lnTo>
                    <a:pt x="1187" y="663"/>
                  </a:lnTo>
                  <a:lnTo>
                    <a:pt x="1227" y="680"/>
                  </a:lnTo>
                  <a:lnTo>
                    <a:pt x="1246" y="680"/>
                  </a:lnTo>
                  <a:lnTo>
                    <a:pt x="1265" y="680"/>
                  </a:lnTo>
                  <a:lnTo>
                    <a:pt x="1265" y="699"/>
                  </a:lnTo>
                  <a:lnTo>
                    <a:pt x="1246" y="716"/>
                  </a:lnTo>
                  <a:lnTo>
                    <a:pt x="1227" y="716"/>
                  </a:lnTo>
                  <a:lnTo>
                    <a:pt x="1227" y="699"/>
                  </a:lnTo>
                  <a:lnTo>
                    <a:pt x="1206" y="680"/>
                  </a:lnTo>
                  <a:lnTo>
                    <a:pt x="1187" y="680"/>
                  </a:lnTo>
                  <a:lnTo>
                    <a:pt x="1165" y="699"/>
                  </a:lnTo>
                  <a:lnTo>
                    <a:pt x="1165" y="716"/>
                  </a:lnTo>
                  <a:lnTo>
                    <a:pt x="1165" y="734"/>
                  </a:lnTo>
                  <a:lnTo>
                    <a:pt x="1146" y="734"/>
                  </a:lnTo>
                  <a:lnTo>
                    <a:pt x="1125" y="734"/>
                  </a:lnTo>
                  <a:lnTo>
                    <a:pt x="1125" y="716"/>
                  </a:lnTo>
                  <a:lnTo>
                    <a:pt x="1125" y="699"/>
                  </a:lnTo>
                  <a:lnTo>
                    <a:pt x="1106" y="699"/>
                  </a:lnTo>
                  <a:lnTo>
                    <a:pt x="1087" y="699"/>
                  </a:lnTo>
                  <a:lnTo>
                    <a:pt x="1066" y="699"/>
                  </a:lnTo>
                  <a:lnTo>
                    <a:pt x="1066" y="680"/>
                  </a:lnTo>
                  <a:lnTo>
                    <a:pt x="1046" y="680"/>
                  </a:lnTo>
                  <a:lnTo>
                    <a:pt x="1025" y="663"/>
                  </a:lnTo>
                  <a:lnTo>
                    <a:pt x="1006" y="645"/>
                  </a:lnTo>
                  <a:lnTo>
                    <a:pt x="1006" y="663"/>
                  </a:lnTo>
                  <a:lnTo>
                    <a:pt x="985" y="645"/>
                  </a:lnTo>
                  <a:lnTo>
                    <a:pt x="985" y="626"/>
                  </a:lnTo>
                  <a:lnTo>
                    <a:pt x="985" y="609"/>
                  </a:lnTo>
                  <a:lnTo>
                    <a:pt x="966" y="609"/>
                  </a:lnTo>
                  <a:lnTo>
                    <a:pt x="945" y="590"/>
                  </a:lnTo>
                  <a:lnTo>
                    <a:pt x="926" y="590"/>
                  </a:lnTo>
                  <a:lnTo>
                    <a:pt x="885" y="590"/>
                  </a:lnTo>
                  <a:lnTo>
                    <a:pt x="864" y="572"/>
                  </a:lnTo>
                  <a:lnTo>
                    <a:pt x="843" y="555"/>
                  </a:lnTo>
                  <a:lnTo>
                    <a:pt x="824" y="555"/>
                  </a:lnTo>
                  <a:lnTo>
                    <a:pt x="803" y="555"/>
                  </a:lnTo>
                  <a:lnTo>
                    <a:pt x="783" y="538"/>
                  </a:lnTo>
                  <a:lnTo>
                    <a:pt x="764" y="521"/>
                  </a:lnTo>
                  <a:lnTo>
                    <a:pt x="724" y="503"/>
                  </a:lnTo>
                  <a:lnTo>
                    <a:pt x="703" y="503"/>
                  </a:lnTo>
                  <a:lnTo>
                    <a:pt x="684" y="503"/>
                  </a:lnTo>
                  <a:lnTo>
                    <a:pt x="684" y="521"/>
                  </a:lnTo>
                  <a:lnTo>
                    <a:pt x="663" y="521"/>
                  </a:lnTo>
                  <a:lnTo>
                    <a:pt x="643" y="503"/>
                  </a:lnTo>
                  <a:lnTo>
                    <a:pt x="624" y="503"/>
                  </a:lnTo>
                  <a:lnTo>
                    <a:pt x="584" y="503"/>
                  </a:lnTo>
                  <a:lnTo>
                    <a:pt x="584" y="484"/>
                  </a:lnTo>
                  <a:lnTo>
                    <a:pt x="563" y="467"/>
                  </a:lnTo>
                  <a:lnTo>
                    <a:pt x="544" y="467"/>
                  </a:lnTo>
                  <a:lnTo>
                    <a:pt x="522" y="467"/>
                  </a:lnTo>
                  <a:lnTo>
                    <a:pt x="503" y="467"/>
                  </a:lnTo>
                  <a:lnTo>
                    <a:pt x="482" y="450"/>
                  </a:lnTo>
                  <a:lnTo>
                    <a:pt x="463" y="450"/>
                  </a:lnTo>
                  <a:lnTo>
                    <a:pt x="463" y="430"/>
                  </a:lnTo>
                  <a:lnTo>
                    <a:pt x="444" y="430"/>
                  </a:lnTo>
                  <a:lnTo>
                    <a:pt x="423" y="413"/>
                  </a:lnTo>
                  <a:lnTo>
                    <a:pt x="403" y="413"/>
                  </a:lnTo>
                  <a:lnTo>
                    <a:pt x="380" y="413"/>
                  </a:lnTo>
                  <a:lnTo>
                    <a:pt x="380" y="394"/>
                  </a:lnTo>
                  <a:lnTo>
                    <a:pt x="380" y="377"/>
                  </a:lnTo>
                  <a:lnTo>
                    <a:pt x="380" y="359"/>
                  </a:lnTo>
                  <a:lnTo>
                    <a:pt x="380" y="340"/>
                  </a:lnTo>
                  <a:lnTo>
                    <a:pt x="361" y="286"/>
                  </a:lnTo>
                  <a:lnTo>
                    <a:pt x="321" y="269"/>
                  </a:lnTo>
                  <a:lnTo>
                    <a:pt x="302" y="250"/>
                  </a:lnTo>
                  <a:lnTo>
                    <a:pt x="281" y="233"/>
                  </a:lnTo>
                  <a:lnTo>
                    <a:pt x="261" y="233"/>
                  </a:lnTo>
                  <a:lnTo>
                    <a:pt x="261" y="215"/>
                  </a:lnTo>
                  <a:lnTo>
                    <a:pt x="261" y="196"/>
                  </a:lnTo>
                  <a:lnTo>
                    <a:pt x="240" y="181"/>
                  </a:lnTo>
                  <a:lnTo>
                    <a:pt x="221" y="181"/>
                  </a:lnTo>
                  <a:lnTo>
                    <a:pt x="200" y="164"/>
                  </a:lnTo>
                  <a:lnTo>
                    <a:pt x="181" y="144"/>
                  </a:lnTo>
                  <a:lnTo>
                    <a:pt x="181" y="127"/>
                  </a:lnTo>
                  <a:lnTo>
                    <a:pt x="161" y="108"/>
                  </a:lnTo>
                  <a:lnTo>
                    <a:pt x="140" y="91"/>
                  </a:lnTo>
                  <a:lnTo>
                    <a:pt x="140" y="73"/>
                  </a:lnTo>
                  <a:lnTo>
                    <a:pt x="121" y="54"/>
                  </a:lnTo>
                  <a:lnTo>
                    <a:pt x="100" y="54"/>
                  </a:lnTo>
                  <a:lnTo>
                    <a:pt x="81" y="37"/>
                  </a:lnTo>
                  <a:lnTo>
                    <a:pt x="81" y="54"/>
                  </a:lnTo>
                  <a:lnTo>
                    <a:pt x="81" y="73"/>
                  </a:lnTo>
                  <a:lnTo>
                    <a:pt x="100" y="108"/>
                  </a:lnTo>
                  <a:lnTo>
                    <a:pt x="121" y="108"/>
                  </a:lnTo>
                  <a:lnTo>
                    <a:pt x="140" y="127"/>
                  </a:lnTo>
                  <a:lnTo>
                    <a:pt x="140" y="144"/>
                  </a:lnTo>
                  <a:lnTo>
                    <a:pt x="161" y="164"/>
                  </a:lnTo>
                  <a:lnTo>
                    <a:pt x="161" y="181"/>
                  </a:lnTo>
                  <a:lnTo>
                    <a:pt x="181" y="196"/>
                  </a:lnTo>
                  <a:lnTo>
                    <a:pt x="181" y="215"/>
                  </a:lnTo>
                  <a:lnTo>
                    <a:pt x="200" y="233"/>
                  </a:lnTo>
                  <a:lnTo>
                    <a:pt x="200" y="250"/>
                  </a:lnTo>
                  <a:lnTo>
                    <a:pt x="221" y="269"/>
                  </a:lnTo>
                  <a:lnTo>
                    <a:pt x="240" y="269"/>
                  </a:lnTo>
                  <a:lnTo>
                    <a:pt x="240" y="286"/>
                  </a:lnTo>
                  <a:lnTo>
                    <a:pt x="261" y="286"/>
                  </a:lnTo>
                  <a:lnTo>
                    <a:pt x="240" y="306"/>
                  </a:lnTo>
                  <a:lnTo>
                    <a:pt x="240" y="286"/>
                  </a:lnTo>
                  <a:lnTo>
                    <a:pt x="221" y="286"/>
                  </a:lnTo>
                  <a:lnTo>
                    <a:pt x="200" y="286"/>
                  </a:lnTo>
                  <a:lnTo>
                    <a:pt x="181" y="269"/>
                  </a:lnTo>
                  <a:lnTo>
                    <a:pt x="181" y="250"/>
                  </a:lnTo>
                  <a:lnTo>
                    <a:pt x="181" y="233"/>
                  </a:lnTo>
                  <a:lnTo>
                    <a:pt x="161" y="215"/>
                  </a:lnTo>
                  <a:lnTo>
                    <a:pt x="140" y="196"/>
                  </a:lnTo>
                  <a:lnTo>
                    <a:pt x="140" y="181"/>
                  </a:lnTo>
                  <a:lnTo>
                    <a:pt x="121" y="181"/>
                  </a:lnTo>
                  <a:lnTo>
                    <a:pt x="100" y="181"/>
                  </a:lnTo>
                  <a:lnTo>
                    <a:pt x="81" y="164"/>
                  </a:lnTo>
                  <a:lnTo>
                    <a:pt x="100" y="181"/>
                  </a:lnTo>
                  <a:lnTo>
                    <a:pt x="121" y="164"/>
                  </a:lnTo>
                  <a:lnTo>
                    <a:pt x="100" y="127"/>
                  </a:lnTo>
                  <a:lnTo>
                    <a:pt x="60" y="108"/>
                  </a:lnTo>
                  <a:lnTo>
                    <a:pt x="60" y="91"/>
                  </a:lnTo>
                  <a:lnTo>
                    <a:pt x="41" y="73"/>
                  </a:lnTo>
                  <a:lnTo>
                    <a:pt x="41" y="54"/>
                  </a:lnTo>
                  <a:lnTo>
                    <a:pt x="19" y="54"/>
                  </a:lnTo>
                  <a:lnTo>
                    <a:pt x="19" y="37"/>
                  </a:lnTo>
                  <a:lnTo>
                    <a:pt x="0" y="0"/>
                  </a:lnTo>
                  <a:lnTo>
                    <a:pt x="81" y="0"/>
                  </a:lnTo>
                  <a:lnTo>
                    <a:pt x="181" y="37"/>
                  </a:lnTo>
                  <a:lnTo>
                    <a:pt x="281" y="37"/>
                  </a:lnTo>
                  <a:lnTo>
                    <a:pt x="302" y="37"/>
                  </a:lnTo>
                  <a:lnTo>
                    <a:pt x="321" y="37"/>
                  </a:lnTo>
                  <a:lnTo>
                    <a:pt x="340" y="37"/>
                  </a:lnTo>
                  <a:lnTo>
                    <a:pt x="361" y="54"/>
                  </a:lnTo>
                  <a:lnTo>
                    <a:pt x="380" y="54"/>
                  </a:lnTo>
                  <a:lnTo>
                    <a:pt x="380" y="91"/>
                  </a:lnTo>
                  <a:lnTo>
                    <a:pt x="423" y="108"/>
                  </a:lnTo>
                  <a:lnTo>
                    <a:pt x="444" y="108"/>
                  </a:lnTo>
                  <a:lnTo>
                    <a:pt x="463" y="108"/>
                  </a:lnTo>
                  <a:lnTo>
                    <a:pt x="463" y="91"/>
                  </a:lnTo>
                  <a:lnTo>
                    <a:pt x="522" y="108"/>
                  </a:lnTo>
                  <a:lnTo>
                    <a:pt x="544" y="144"/>
                  </a:lnTo>
                  <a:lnTo>
                    <a:pt x="584" y="181"/>
                  </a:lnTo>
                  <a:lnTo>
                    <a:pt x="584" y="196"/>
                  </a:lnTo>
                  <a:lnTo>
                    <a:pt x="603" y="196"/>
                  </a:lnTo>
                  <a:lnTo>
                    <a:pt x="624" y="196"/>
                  </a:lnTo>
                  <a:lnTo>
                    <a:pt x="624" y="215"/>
                  </a:lnTo>
                  <a:close/>
                </a:path>
              </a:pathLst>
            </a:custGeom>
            <a:solidFill>
              <a:srgbClr val="C0C0C0"/>
            </a:solidFill>
            <a:ln w="9525">
              <a:solidFill>
                <a:srgbClr val="C0C0C0"/>
              </a:solidFill>
              <a:round/>
              <a:headEnd/>
              <a:tailEnd/>
            </a:ln>
          </p:spPr>
          <p:txBody>
            <a:bodyPr/>
            <a:lstStyle/>
            <a:p>
              <a:endParaRPr lang="en-US"/>
            </a:p>
          </p:txBody>
        </p:sp>
        <p:sp>
          <p:nvSpPr>
            <p:cNvPr id="9422" name="Freeform 113"/>
            <p:cNvSpPr>
              <a:spLocks/>
            </p:cNvSpPr>
            <p:nvPr/>
          </p:nvSpPr>
          <p:spPr bwMode="auto">
            <a:xfrm>
              <a:off x="2016" y="3522"/>
              <a:ext cx="30" cy="9"/>
            </a:xfrm>
            <a:custGeom>
              <a:avLst/>
              <a:gdLst>
                <a:gd name="T0" fmla="*/ 0 w 61"/>
                <a:gd name="T1" fmla="*/ 0 h 19"/>
                <a:gd name="T2" fmla="*/ 0 w 61"/>
                <a:gd name="T3" fmla="*/ 0 h 19"/>
                <a:gd name="T4" fmla="*/ 0 w 61"/>
                <a:gd name="T5" fmla="*/ 0 h 19"/>
                <a:gd name="T6" fmla="*/ 0 w 61"/>
                <a:gd name="T7" fmla="*/ 0 h 19"/>
                <a:gd name="T8" fmla="*/ 0 w 61"/>
                <a:gd name="T9" fmla="*/ 0 h 19"/>
                <a:gd name="T10" fmla="*/ 0 w 61"/>
                <a:gd name="T11" fmla="*/ 0 h 19"/>
                <a:gd name="T12" fmla="*/ 0 w 61"/>
                <a:gd name="T13" fmla="*/ 0 h 19"/>
                <a:gd name="T14" fmla="*/ 0 w 61"/>
                <a:gd name="T15" fmla="*/ 0 h 19"/>
                <a:gd name="T16" fmla="*/ 0 w 61"/>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19"/>
                <a:gd name="T29" fmla="*/ 61 w 61"/>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19">
                  <a:moveTo>
                    <a:pt x="19" y="0"/>
                  </a:moveTo>
                  <a:lnTo>
                    <a:pt x="42" y="0"/>
                  </a:lnTo>
                  <a:lnTo>
                    <a:pt x="61" y="0"/>
                  </a:lnTo>
                  <a:lnTo>
                    <a:pt x="42" y="0"/>
                  </a:lnTo>
                  <a:lnTo>
                    <a:pt x="42" y="19"/>
                  </a:lnTo>
                  <a:lnTo>
                    <a:pt x="19" y="19"/>
                  </a:lnTo>
                  <a:lnTo>
                    <a:pt x="0" y="19"/>
                  </a:lnTo>
                  <a:lnTo>
                    <a:pt x="0" y="0"/>
                  </a:lnTo>
                  <a:lnTo>
                    <a:pt x="19" y="0"/>
                  </a:lnTo>
                  <a:close/>
                </a:path>
              </a:pathLst>
            </a:custGeom>
            <a:solidFill>
              <a:srgbClr val="C0C0C0"/>
            </a:solidFill>
            <a:ln w="9525">
              <a:solidFill>
                <a:srgbClr val="C0C0C0"/>
              </a:solidFill>
              <a:round/>
              <a:headEnd/>
              <a:tailEnd/>
            </a:ln>
          </p:spPr>
          <p:txBody>
            <a:bodyPr/>
            <a:lstStyle/>
            <a:p>
              <a:endParaRPr lang="en-US"/>
            </a:p>
          </p:txBody>
        </p:sp>
        <p:sp>
          <p:nvSpPr>
            <p:cNvPr id="9423" name="Freeform 114"/>
            <p:cNvSpPr>
              <a:spLocks/>
            </p:cNvSpPr>
            <p:nvPr/>
          </p:nvSpPr>
          <p:spPr bwMode="auto">
            <a:xfrm>
              <a:off x="2005" y="3513"/>
              <a:ext cx="20" cy="18"/>
            </a:xfrm>
            <a:custGeom>
              <a:avLst/>
              <a:gdLst>
                <a:gd name="T0" fmla="*/ 0 w 41"/>
                <a:gd name="T1" fmla="*/ 1 h 36"/>
                <a:gd name="T2" fmla="*/ 0 w 41"/>
                <a:gd name="T3" fmla="*/ 0 h 36"/>
                <a:gd name="T4" fmla="*/ 0 w 41"/>
                <a:gd name="T5" fmla="*/ 1 h 36"/>
                <a:gd name="T6" fmla="*/ 0 w 41"/>
                <a:gd name="T7" fmla="*/ 1 h 36"/>
                <a:gd name="T8" fmla="*/ 0 w 41"/>
                <a:gd name="T9" fmla="*/ 0 h 36"/>
                <a:gd name="T10" fmla="*/ 0 w 41"/>
                <a:gd name="T11" fmla="*/ 1 h 36"/>
                <a:gd name="T12" fmla="*/ 0 w 41"/>
                <a:gd name="T13" fmla="*/ 1 h 36"/>
                <a:gd name="T14" fmla="*/ 0 w 41"/>
                <a:gd name="T15" fmla="*/ 1 h 36"/>
                <a:gd name="T16" fmla="*/ 0 w 41"/>
                <a:gd name="T17" fmla="*/ 1 h 36"/>
                <a:gd name="T18" fmla="*/ 0 w 41"/>
                <a:gd name="T19" fmla="*/ 1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36"/>
                <a:gd name="T32" fmla="*/ 41 w 41"/>
                <a:gd name="T33" fmla="*/ 36 h 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36">
                  <a:moveTo>
                    <a:pt x="0" y="17"/>
                  </a:moveTo>
                  <a:lnTo>
                    <a:pt x="0" y="0"/>
                  </a:lnTo>
                  <a:lnTo>
                    <a:pt x="0" y="17"/>
                  </a:lnTo>
                  <a:lnTo>
                    <a:pt x="22" y="17"/>
                  </a:lnTo>
                  <a:lnTo>
                    <a:pt x="41" y="0"/>
                  </a:lnTo>
                  <a:lnTo>
                    <a:pt x="41" y="17"/>
                  </a:lnTo>
                  <a:lnTo>
                    <a:pt x="22" y="17"/>
                  </a:lnTo>
                  <a:lnTo>
                    <a:pt x="0" y="17"/>
                  </a:lnTo>
                  <a:lnTo>
                    <a:pt x="0" y="36"/>
                  </a:lnTo>
                  <a:lnTo>
                    <a:pt x="0" y="17"/>
                  </a:lnTo>
                  <a:close/>
                </a:path>
              </a:pathLst>
            </a:custGeom>
            <a:solidFill>
              <a:srgbClr val="C0C0C0"/>
            </a:solidFill>
            <a:ln w="9525">
              <a:solidFill>
                <a:srgbClr val="C0C0C0"/>
              </a:solidFill>
              <a:round/>
              <a:headEnd/>
              <a:tailEnd/>
            </a:ln>
          </p:spPr>
          <p:txBody>
            <a:bodyPr/>
            <a:lstStyle/>
            <a:p>
              <a:endParaRPr lang="en-US"/>
            </a:p>
          </p:txBody>
        </p:sp>
        <p:sp>
          <p:nvSpPr>
            <p:cNvPr id="9424" name="Freeform 115"/>
            <p:cNvSpPr>
              <a:spLocks/>
            </p:cNvSpPr>
            <p:nvPr/>
          </p:nvSpPr>
          <p:spPr bwMode="auto">
            <a:xfrm>
              <a:off x="1784" y="3352"/>
              <a:ext cx="22" cy="27"/>
            </a:xfrm>
            <a:custGeom>
              <a:avLst/>
              <a:gdLst>
                <a:gd name="T0" fmla="*/ 0 w 42"/>
                <a:gd name="T1" fmla="*/ 1 h 54"/>
                <a:gd name="T2" fmla="*/ 1 w 42"/>
                <a:gd name="T3" fmla="*/ 1 h 54"/>
                <a:gd name="T4" fmla="*/ 1 w 42"/>
                <a:gd name="T5" fmla="*/ 1 h 54"/>
                <a:gd name="T6" fmla="*/ 1 w 42"/>
                <a:gd name="T7" fmla="*/ 0 h 54"/>
                <a:gd name="T8" fmla="*/ 1 w 42"/>
                <a:gd name="T9" fmla="*/ 0 h 54"/>
                <a:gd name="T10" fmla="*/ 1 w 42"/>
                <a:gd name="T11" fmla="*/ 1 h 54"/>
                <a:gd name="T12" fmla="*/ 1 w 42"/>
                <a:gd name="T13" fmla="*/ 1 h 54"/>
                <a:gd name="T14" fmla="*/ 1 w 42"/>
                <a:gd name="T15" fmla="*/ 1 h 54"/>
                <a:gd name="T16" fmla="*/ 1 w 42"/>
                <a:gd name="T17" fmla="*/ 1 h 54"/>
                <a:gd name="T18" fmla="*/ 0 w 42"/>
                <a:gd name="T19" fmla="*/ 1 h 54"/>
                <a:gd name="T20" fmla="*/ 0 w 42"/>
                <a:gd name="T21" fmla="*/ 1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54"/>
                <a:gd name="T35" fmla="*/ 42 w 42"/>
                <a:gd name="T36" fmla="*/ 54 h 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54">
                  <a:moveTo>
                    <a:pt x="0" y="37"/>
                  </a:moveTo>
                  <a:lnTo>
                    <a:pt x="23" y="37"/>
                  </a:lnTo>
                  <a:lnTo>
                    <a:pt x="23" y="20"/>
                  </a:lnTo>
                  <a:lnTo>
                    <a:pt x="23" y="0"/>
                  </a:lnTo>
                  <a:lnTo>
                    <a:pt x="42" y="0"/>
                  </a:lnTo>
                  <a:lnTo>
                    <a:pt x="42" y="20"/>
                  </a:lnTo>
                  <a:lnTo>
                    <a:pt x="42" y="37"/>
                  </a:lnTo>
                  <a:lnTo>
                    <a:pt x="42" y="54"/>
                  </a:lnTo>
                  <a:lnTo>
                    <a:pt x="23" y="54"/>
                  </a:lnTo>
                  <a:lnTo>
                    <a:pt x="0" y="54"/>
                  </a:lnTo>
                  <a:lnTo>
                    <a:pt x="0" y="37"/>
                  </a:lnTo>
                  <a:close/>
                </a:path>
              </a:pathLst>
            </a:custGeom>
            <a:solidFill>
              <a:srgbClr val="C0C0C0"/>
            </a:solidFill>
            <a:ln w="9525">
              <a:solidFill>
                <a:srgbClr val="C0C0C0"/>
              </a:solidFill>
              <a:round/>
              <a:headEnd/>
              <a:tailEnd/>
            </a:ln>
          </p:spPr>
          <p:txBody>
            <a:bodyPr/>
            <a:lstStyle/>
            <a:p>
              <a:endParaRPr lang="en-US"/>
            </a:p>
          </p:txBody>
        </p:sp>
        <p:sp>
          <p:nvSpPr>
            <p:cNvPr id="9425" name="Freeform 116"/>
            <p:cNvSpPr>
              <a:spLocks/>
            </p:cNvSpPr>
            <p:nvPr/>
          </p:nvSpPr>
          <p:spPr bwMode="auto">
            <a:xfrm>
              <a:off x="3753" y="2564"/>
              <a:ext cx="11" cy="0"/>
            </a:xfrm>
            <a:custGeom>
              <a:avLst/>
              <a:gdLst>
                <a:gd name="T0" fmla="*/ 0 w 21"/>
                <a:gd name="T1" fmla="*/ 1 w 21"/>
                <a:gd name="T2" fmla="*/ 0 w 21"/>
                <a:gd name="T3" fmla="*/ 0 60000 65536"/>
                <a:gd name="T4" fmla="*/ 0 60000 65536"/>
                <a:gd name="T5" fmla="*/ 0 60000 65536"/>
                <a:gd name="T6" fmla="*/ 0 w 21"/>
                <a:gd name="T7" fmla="*/ 21 w 21"/>
              </a:gdLst>
              <a:ahLst/>
              <a:cxnLst>
                <a:cxn ang="T3">
                  <a:pos x="T0" y="0"/>
                </a:cxn>
                <a:cxn ang="T4">
                  <a:pos x="T1" y="0"/>
                </a:cxn>
                <a:cxn ang="T5">
                  <a:pos x="T2" y="0"/>
                </a:cxn>
              </a:cxnLst>
              <a:rect l="T6" t="0" r="T7" b="0"/>
              <a:pathLst>
                <a:path w="21">
                  <a:moveTo>
                    <a:pt x="0" y="0"/>
                  </a:moveTo>
                  <a:lnTo>
                    <a:pt x="21" y="0"/>
                  </a:lnTo>
                  <a:lnTo>
                    <a:pt x="0" y="0"/>
                  </a:lnTo>
                  <a:close/>
                </a:path>
              </a:pathLst>
            </a:custGeom>
            <a:solidFill>
              <a:srgbClr val="C0C0C0"/>
            </a:solidFill>
            <a:ln w="9525">
              <a:solidFill>
                <a:srgbClr val="C0C0C0"/>
              </a:solidFill>
              <a:round/>
              <a:headEnd/>
              <a:tailEnd/>
            </a:ln>
          </p:spPr>
          <p:txBody>
            <a:bodyPr/>
            <a:lstStyle/>
            <a:p>
              <a:endParaRPr lang="en-US"/>
            </a:p>
          </p:txBody>
        </p:sp>
        <p:sp>
          <p:nvSpPr>
            <p:cNvPr id="9426" name="Freeform 117"/>
            <p:cNvSpPr>
              <a:spLocks/>
            </p:cNvSpPr>
            <p:nvPr/>
          </p:nvSpPr>
          <p:spPr bwMode="auto">
            <a:xfrm>
              <a:off x="529" y="2476"/>
              <a:ext cx="20" cy="8"/>
            </a:xfrm>
            <a:custGeom>
              <a:avLst/>
              <a:gdLst>
                <a:gd name="T0" fmla="*/ 1 w 40"/>
                <a:gd name="T1" fmla="*/ 0 h 17"/>
                <a:gd name="T2" fmla="*/ 1 w 40"/>
                <a:gd name="T3" fmla="*/ 0 h 17"/>
                <a:gd name="T4" fmla="*/ 1 w 40"/>
                <a:gd name="T5" fmla="*/ 0 h 17"/>
                <a:gd name="T6" fmla="*/ 0 w 40"/>
                <a:gd name="T7" fmla="*/ 0 h 17"/>
                <a:gd name="T8" fmla="*/ 0 w 40"/>
                <a:gd name="T9" fmla="*/ 0 h 17"/>
                <a:gd name="T10" fmla="*/ 1 w 40"/>
                <a:gd name="T11" fmla="*/ 0 h 17"/>
                <a:gd name="T12" fmla="*/ 1 w 40"/>
                <a:gd name="T13" fmla="*/ 0 h 17"/>
                <a:gd name="T14" fmla="*/ 0 60000 65536"/>
                <a:gd name="T15" fmla="*/ 0 60000 65536"/>
                <a:gd name="T16" fmla="*/ 0 60000 65536"/>
                <a:gd name="T17" fmla="*/ 0 60000 65536"/>
                <a:gd name="T18" fmla="*/ 0 60000 65536"/>
                <a:gd name="T19" fmla="*/ 0 60000 65536"/>
                <a:gd name="T20" fmla="*/ 0 60000 65536"/>
                <a:gd name="T21" fmla="*/ 0 w 40"/>
                <a:gd name="T22" fmla="*/ 0 h 17"/>
                <a:gd name="T23" fmla="*/ 40 w 40"/>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17">
                  <a:moveTo>
                    <a:pt x="40" y="0"/>
                  </a:moveTo>
                  <a:lnTo>
                    <a:pt x="19" y="0"/>
                  </a:lnTo>
                  <a:lnTo>
                    <a:pt x="19" y="17"/>
                  </a:lnTo>
                  <a:lnTo>
                    <a:pt x="0" y="17"/>
                  </a:lnTo>
                  <a:lnTo>
                    <a:pt x="0" y="0"/>
                  </a:lnTo>
                  <a:lnTo>
                    <a:pt x="19" y="0"/>
                  </a:lnTo>
                  <a:lnTo>
                    <a:pt x="40" y="0"/>
                  </a:lnTo>
                  <a:close/>
                </a:path>
              </a:pathLst>
            </a:custGeom>
            <a:solidFill>
              <a:srgbClr val="C0C0C0"/>
            </a:solidFill>
            <a:ln w="9525">
              <a:solidFill>
                <a:srgbClr val="C0C0C0"/>
              </a:solidFill>
              <a:round/>
              <a:headEnd/>
              <a:tailEnd/>
            </a:ln>
          </p:spPr>
          <p:txBody>
            <a:bodyPr/>
            <a:lstStyle/>
            <a:p>
              <a:endParaRPr lang="en-US"/>
            </a:p>
          </p:txBody>
        </p:sp>
        <p:sp>
          <p:nvSpPr>
            <p:cNvPr id="9427" name="Freeform 118"/>
            <p:cNvSpPr>
              <a:spLocks/>
            </p:cNvSpPr>
            <p:nvPr/>
          </p:nvSpPr>
          <p:spPr bwMode="auto">
            <a:xfrm>
              <a:off x="518" y="2457"/>
              <a:ext cx="11" cy="0"/>
            </a:xfrm>
            <a:custGeom>
              <a:avLst/>
              <a:gdLst>
                <a:gd name="T0" fmla="*/ 1 w 21"/>
                <a:gd name="T1" fmla="*/ 0 w 21"/>
                <a:gd name="T2" fmla="*/ 1 w 21"/>
                <a:gd name="T3" fmla="*/ 0 60000 65536"/>
                <a:gd name="T4" fmla="*/ 0 60000 65536"/>
                <a:gd name="T5" fmla="*/ 0 60000 65536"/>
                <a:gd name="T6" fmla="*/ 0 w 21"/>
                <a:gd name="T7" fmla="*/ 21 w 21"/>
              </a:gdLst>
              <a:ahLst/>
              <a:cxnLst>
                <a:cxn ang="T3">
                  <a:pos x="T0" y="0"/>
                </a:cxn>
                <a:cxn ang="T4">
                  <a:pos x="T1" y="0"/>
                </a:cxn>
                <a:cxn ang="T5">
                  <a:pos x="T2" y="0"/>
                </a:cxn>
              </a:cxnLst>
              <a:rect l="T6" t="0" r="T7" b="0"/>
              <a:pathLst>
                <a:path w="21">
                  <a:moveTo>
                    <a:pt x="21" y="0"/>
                  </a:moveTo>
                  <a:lnTo>
                    <a:pt x="0" y="0"/>
                  </a:lnTo>
                  <a:lnTo>
                    <a:pt x="21" y="0"/>
                  </a:lnTo>
                  <a:close/>
                </a:path>
              </a:pathLst>
            </a:custGeom>
            <a:solidFill>
              <a:srgbClr val="C0C0C0"/>
            </a:solidFill>
            <a:ln w="9525">
              <a:solidFill>
                <a:srgbClr val="C0C0C0"/>
              </a:solidFill>
              <a:round/>
              <a:headEnd/>
              <a:tailEnd/>
            </a:ln>
          </p:spPr>
          <p:txBody>
            <a:bodyPr/>
            <a:lstStyle/>
            <a:p>
              <a:endParaRPr lang="en-US"/>
            </a:p>
          </p:txBody>
        </p:sp>
        <p:sp>
          <p:nvSpPr>
            <p:cNvPr id="9428" name="Freeform 119"/>
            <p:cNvSpPr>
              <a:spLocks/>
            </p:cNvSpPr>
            <p:nvPr/>
          </p:nvSpPr>
          <p:spPr bwMode="auto">
            <a:xfrm>
              <a:off x="509" y="2449"/>
              <a:ext cx="0" cy="8"/>
            </a:xfrm>
            <a:custGeom>
              <a:avLst/>
              <a:gdLst>
                <a:gd name="T0" fmla="*/ 0 h 18"/>
                <a:gd name="T1" fmla="*/ 0 h 18"/>
                <a:gd name="T2" fmla="*/ 0 h 18"/>
                <a:gd name="T3" fmla="*/ 0 60000 65536"/>
                <a:gd name="T4" fmla="*/ 0 60000 65536"/>
                <a:gd name="T5" fmla="*/ 0 60000 65536"/>
                <a:gd name="T6" fmla="*/ 0 h 18"/>
                <a:gd name="T7" fmla="*/ 18 h 18"/>
              </a:gdLst>
              <a:ahLst/>
              <a:cxnLst>
                <a:cxn ang="T3">
                  <a:pos x="0" y="T0"/>
                </a:cxn>
                <a:cxn ang="T4">
                  <a:pos x="0" y="T1"/>
                </a:cxn>
                <a:cxn ang="T5">
                  <a:pos x="0" y="T2"/>
                </a:cxn>
              </a:cxnLst>
              <a:rect l="0" t="T6" r="0" b="T7"/>
              <a:pathLst>
                <a:path h="18">
                  <a:moveTo>
                    <a:pt x="0" y="0"/>
                  </a:moveTo>
                  <a:lnTo>
                    <a:pt x="0" y="18"/>
                  </a:lnTo>
                  <a:lnTo>
                    <a:pt x="0" y="0"/>
                  </a:lnTo>
                  <a:close/>
                </a:path>
              </a:pathLst>
            </a:custGeom>
            <a:solidFill>
              <a:srgbClr val="C0C0C0"/>
            </a:solidFill>
            <a:ln w="9525">
              <a:solidFill>
                <a:srgbClr val="C0C0C0"/>
              </a:solidFill>
              <a:round/>
              <a:headEnd/>
              <a:tailEnd/>
            </a:ln>
          </p:spPr>
          <p:txBody>
            <a:bodyPr/>
            <a:lstStyle/>
            <a:p>
              <a:endParaRPr lang="en-US"/>
            </a:p>
          </p:txBody>
        </p:sp>
        <p:sp>
          <p:nvSpPr>
            <p:cNvPr id="9429" name="Freeform 120"/>
            <p:cNvSpPr>
              <a:spLocks/>
            </p:cNvSpPr>
            <p:nvPr/>
          </p:nvSpPr>
          <p:spPr bwMode="auto">
            <a:xfrm>
              <a:off x="489" y="2449"/>
              <a:ext cx="9" cy="0"/>
            </a:xfrm>
            <a:custGeom>
              <a:avLst/>
              <a:gdLst>
                <a:gd name="T0" fmla="*/ 0 w 20"/>
                <a:gd name="T1" fmla="*/ 0 w 20"/>
                <a:gd name="T2" fmla="*/ 0 w 20"/>
                <a:gd name="T3" fmla="*/ 0 60000 65536"/>
                <a:gd name="T4" fmla="*/ 0 60000 65536"/>
                <a:gd name="T5" fmla="*/ 0 60000 65536"/>
                <a:gd name="T6" fmla="*/ 0 w 20"/>
                <a:gd name="T7" fmla="*/ 20 w 20"/>
              </a:gdLst>
              <a:ahLst/>
              <a:cxnLst>
                <a:cxn ang="T3">
                  <a:pos x="T0" y="0"/>
                </a:cxn>
                <a:cxn ang="T4">
                  <a:pos x="T1" y="0"/>
                </a:cxn>
                <a:cxn ang="T5">
                  <a:pos x="T2" y="0"/>
                </a:cxn>
              </a:cxnLst>
              <a:rect l="T6" t="0" r="T7" b="0"/>
              <a:pathLst>
                <a:path w="20">
                  <a:moveTo>
                    <a:pt x="20" y="0"/>
                  </a:moveTo>
                  <a:lnTo>
                    <a:pt x="0" y="0"/>
                  </a:lnTo>
                  <a:lnTo>
                    <a:pt x="20" y="0"/>
                  </a:lnTo>
                  <a:close/>
                </a:path>
              </a:pathLst>
            </a:custGeom>
            <a:solidFill>
              <a:srgbClr val="C0C0C0"/>
            </a:solidFill>
            <a:ln w="9525">
              <a:solidFill>
                <a:srgbClr val="C0C0C0"/>
              </a:solidFill>
              <a:round/>
              <a:headEnd/>
              <a:tailEnd/>
            </a:ln>
          </p:spPr>
          <p:txBody>
            <a:bodyPr/>
            <a:lstStyle/>
            <a:p>
              <a:endParaRPr lang="en-US"/>
            </a:p>
          </p:txBody>
        </p:sp>
        <p:sp>
          <p:nvSpPr>
            <p:cNvPr id="9430" name="Freeform 121"/>
            <p:cNvSpPr>
              <a:spLocks/>
            </p:cNvSpPr>
            <p:nvPr/>
          </p:nvSpPr>
          <p:spPr bwMode="auto">
            <a:xfrm>
              <a:off x="469" y="2439"/>
              <a:ext cx="10" cy="0"/>
            </a:xfrm>
            <a:custGeom>
              <a:avLst/>
              <a:gdLst>
                <a:gd name="T0" fmla="*/ 0 w 21"/>
                <a:gd name="T1" fmla="*/ 0 w 21"/>
                <a:gd name="T2" fmla="*/ 0 w 21"/>
                <a:gd name="T3" fmla="*/ 0 60000 65536"/>
                <a:gd name="T4" fmla="*/ 0 60000 65536"/>
                <a:gd name="T5" fmla="*/ 0 60000 65536"/>
                <a:gd name="T6" fmla="*/ 0 w 21"/>
                <a:gd name="T7" fmla="*/ 21 w 21"/>
              </a:gdLst>
              <a:ahLst/>
              <a:cxnLst>
                <a:cxn ang="T3">
                  <a:pos x="T0" y="0"/>
                </a:cxn>
                <a:cxn ang="T4">
                  <a:pos x="T1" y="0"/>
                </a:cxn>
                <a:cxn ang="T5">
                  <a:pos x="T2" y="0"/>
                </a:cxn>
              </a:cxnLst>
              <a:rect l="T6" t="0" r="T7" b="0"/>
              <a:pathLst>
                <a:path w="21">
                  <a:moveTo>
                    <a:pt x="21" y="0"/>
                  </a:moveTo>
                  <a:lnTo>
                    <a:pt x="0" y="0"/>
                  </a:lnTo>
                  <a:lnTo>
                    <a:pt x="21" y="0"/>
                  </a:lnTo>
                  <a:close/>
                </a:path>
              </a:pathLst>
            </a:custGeom>
            <a:solidFill>
              <a:srgbClr val="C0C0C0"/>
            </a:solidFill>
            <a:ln w="9525">
              <a:solidFill>
                <a:srgbClr val="C0C0C0"/>
              </a:solidFill>
              <a:round/>
              <a:headEnd/>
              <a:tailEnd/>
            </a:ln>
          </p:spPr>
          <p:txBody>
            <a:bodyPr/>
            <a:lstStyle/>
            <a:p>
              <a:endParaRPr lang="en-US"/>
            </a:p>
          </p:txBody>
        </p:sp>
        <p:sp>
          <p:nvSpPr>
            <p:cNvPr id="9431" name="Freeform 122"/>
            <p:cNvSpPr>
              <a:spLocks/>
            </p:cNvSpPr>
            <p:nvPr/>
          </p:nvSpPr>
          <p:spPr bwMode="auto">
            <a:xfrm>
              <a:off x="1623" y="2412"/>
              <a:ext cx="161" cy="54"/>
            </a:xfrm>
            <a:custGeom>
              <a:avLst/>
              <a:gdLst>
                <a:gd name="T0" fmla="*/ 0 w 323"/>
                <a:gd name="T1" fmla="*/ 1 h 108"/>
                <a:gd name="T2" fmla="*/ 0 w 323"/>
                <a:gd name="T3" fmla="*/ 1 h 108"/>
                <a:gd name="T4" fmla="*/ 0 w 323"/>
                <a:gd name="T5" fmla="*/ 1 h 108"/>
                <a:gd name="T6" fmla="*/ 0 w 323"/>
                <a:gd name="T7" fmla="*/ 1 h 108"/>
                <a:gd name="T8" fmla="*/ 0 w 323"/>
                <a:gd name="T9" fmla="*/ 1 h 108"/>
                <a:gd name="T10" fmla="*/ 0 w 323"/>
                <a:gd name="T11" fmla="*/ 1 h 108"/>
                <a:gd name="T12" fmla="*/ 0 w 323"/>
                <a:gd name="T13" fmla="*/ 1 h 108"/>
                <a:gd name="T14" fmla="*/ 0 w 323"/>
                <a:gd name="T15" fmla="*/ 1 h 108"/>
                <a:gd name="T16" fmla="*/ 0 w 323"/>
                <a:gd name="T17" fmla="*/ 1 h 108"/>
                <a:gd name="T18" fmla="*/ 0 w 323"/>
                <a:gd name="T19" fmla="*/ 1 h 108"/>
                <a:gd name="T20" fmla="*/ 0 w 323"/>
                <a:gd name="T21" fmla="*/ 1 h 108"/>
                <a:gd name="T22" fmla="*/ 0 w 323"/>
                <a:gd name="T23" fmla="*/ 1 h 108"/>
                <a:gd name="T24" fmla="*/ 0 w 323"/>
                <a:gd name="T25" fmla="*/ 1 h 108"/>
                <a:gd name="T26" fmla="*/ 0 w 323"/>
                <a:gd name="T27" fmla="*/ 1 h 108"/>
                <a:gd name="T28" fmla="*/ 0 w 323"/>
                <a:gd name="T29" fmla="*/ 1 h 108"/>
                <a:gd name="T30" fmla="*/ 0 w 323"/>
                <a:gd name="T31" fmla="*/ 1 h 108"/>
                <a:gd name="T32" fmla="*/ 0 w 323"/>
                <a:gd name="T33" fmla="*/ 1 h 108"/>
                <a:gd name="T34" fmla="*/ 0 w 323"/>
                <a:gd name="T35" fmla="*/ 1 h 108"/>
                <a:gd name="T36" fmla="*/ 0 w 323"/>
                <a:gd name="T37" fmla="*/ 1 h 108"/>
                <a:gd name="T38" fmla="*/ 0 w 323"/>
                <a:gd name="T39" fmla="*/ 1 h 108"/>
                <a:gd name="T40" fmla="*/ 0 w 323"/>
                <a:gd name="T41" fmla="*/ 1 h 108"/>
                <a:gd name="T42" fmla="*/ 0 w 323"/>
                <a:gd name="T43" fmla="*/ 1 h 108"/>
                <a:gd name="T44" fmla="*/ 0 w 323"/>
                <a:gd name="T45" fmla="*/ 1 h 108"/>
                <a:gd name="T46" fmla="*/ 0 w 323"/>
                <a:gd name="T47" fmla="*/ 1 h 108"/>
                <a:gd name="T48" fmla="*/ 0 w 323"/>
                <a:gd name="T49" fmla="*/ 0 h 108"/>
                <a:gd name="T50" fmla="*/ 0 w 323"/>
                <a:gd name="T51" fmla="*/ 0 h 108"/>
                <a:gd name="T52" fmla="*/ 0 w 323"/>
                <a:gd name="T53" fmla="*/ 0 h 108"/>
                <a:gd name="T54" fmla="*/ 0 w 323"/>
                <a:gd name="T55" fmla="*/ 1 h 108"/>
                <a:gd name="T56" fmla="*/ 0 w 323"/>
                <a:gd name="T57" fmla="*/ 1 h 108"/>
                <a:gd name="T58" fmla="*/ 0 w 323"/>
                <a:gd name="T59" fmla="*/ 1 h 108"/>
                <a:gd name="T60" fmla="*/ 0 w 323"/>
                <a:gd name="T61" fmla="*/ 1 h 108"/>
                <a:gd name="T62" fmla="*/ 0 w 323"/>
                <a:gd name="T63" fmla="*/ 1 h 108"/>
                <a:gd name="T64" fmla="*/ 0 w 323"/>
                <a:gd name="T65" fmla="*/ 1 h 108"/>
                <a:gd name="T66" fmla="*/ 0 w 323"/>
                <a:gd name="T67" fmla="*/ 1 h 108"/>
                <a:gd name="T68" fmla="*/ 0 w 323"/>
                <a:gd name="T69" fmla="*/ 1 h 108"/>
                <a:gd name="T70" fmla="*/ 0 w 323"/>
                <a:gd name="T71" fmla="*/ 1 h 1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3"/>
                <a:gd name="T109" fmla="*/ 0 h 108"/>
                <a:gd name="T110" fmla="*/ 323 w 323"/>
                <a:gd name="T111" fmla="*/ 108 h 1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3" h="108">
                  <a:moveTo>
                    <a:pt x="323" y="91"/>
                  </a:moveTo>
                  <a:lnTo>
                    <a:pt x="304" y="108"/>
                  </a:lnTo>
                  <a:lnTo>
                    <a:pt x="283" y="108"/>
                  </a:lnTo>
                  <a:lnTo>
                    <a:pt x="263" y="108"/>
                  </a:lnTo>
                  <a:lnTo>
                    <a:pt x="242" y="108"/>
                  </a:lnTo>
                  <a:lnTo>
                    <a:pt x="223" y="91"/>
                  </a:lnTo>
                  <a:lnTo>
                    <a:pt x="242" y="91"/>
                  </a:lnTo>
                  <a:lnTo>
                    <a:pt x="242" y="73"/>
                  </a:lnTo>
                  <a:lnTo>
                    <a:pt x="223" y="73"/>
                  </a:lnTo>
                  <a:lnTo>
                    <a:pt x="202" y="73"/>
                  </a:lnTo>
                  <a:lnTo>
                    <a:pt x="183" y="73"/>
                  </a:lnTo>
                  <a:lnTo>
                    <a:pt x="183" y="54"/>
                  </a:lnTo>
                  <a:lnTo>
                    <a:pt x="162" y="54"/>
                  </a:lnTo>
                  <a:lnTo>
                    <a:pt x="142" y="54"/>
                  </a:lnTo>
                  <a:lnTo>
                    <a:pt x="142" y="37"/>
                  </a:lnTo>
                  <a:lnTo>
                    <a:pt x="121" y="37"/>
                  </a:lnTo>
                  <a:lnTo>
                    <a:pt x="102" y="37"/>
                  </a:lnTo>
                  <a:lnTo>
                    <a:pt x="81" y="37"/>
                  </a:lnTo>
                  <a:lnTo>
                    <a:pt x="81" y="20"/>
                  </a:lnTo>
                  <a:lnTo>
                    <a:pt x="62" y="20"/>
                  </a:lnTo>
                  <a:lnTo>
                    <a:pt x="41" y="20"/>
                  </a:lnTo>
                  <a:lnTo>
                    <a:pt x="41" y="37"/>
                  </a:lnTo>
                  <a:lnTo>
                    <a:pt x="0" y="54"/>
                  </a:lnTo>
                  <a:lnTo>
                    <a:pt x="22" y="20"/>
                  </a:lnTo>
                  <a:lnTo>
                    <a:pt x="41" y="0"/>
                  </a:lnTo>
                  <a:lnTo>
                    <a:pt x="102" y="0"/>
                  </a:lnTo>
                  <a:lnTo>
                    <a:pt x="121" y="0"/>
                  </a:lnTo>
                  <a:lnTo>
                    <a:pt x="162" y="20"/>
                  </a:lnTo>
                  <a:lnTo>
                    <a:pt x="202" y="37"/>
                  </a:lnTo>
                  <a:lnTo>
                    <a:pt x="223" y="37"/>
                  </a:lnTo>
                  <a:lnTo>
                    <a:pt x="242" y="54"/>
                  </a:lnTo>
                  <a:lnTo>
                    <a:pt x="263" y="73"/>
                  </a:lnTo>
                  <a:lnTo>
                    <a:pt x="283" y="73"/>
                  </a:lnTo>
                  <a:lnTo>
                    <a:pt x="304" y="73"/>
                  </a:lnTo>
                  <a:lnTo>
                    <a:pt x="304" y="91"/>
                  </a:lnTo>
                  <a:lnTo>
                    <a:pt x="323" y="91"/>
                  </a:lnTo>
                  <a:close/>
                </a:path>
              </a:pathLst>
            </a:custGeom>
            <a:solidFill>
              <a:srgbClr val="C0C0C0"/>
            </a:solidFill>
            <a:ln w="9525">
              <a:solidFill>
                <a:srgbClr val="C0C0C0"/>
              </a:solidFill>
              <a:round/>
              <a:headEnd/>
              <a:tailEnd/>
            </a:ln>
          </p:spPr>
          <p:txBody>
            <a:bodyPr/>
            <a:lstStyle/>
            <a:p>
              <a:endParaRPr lang="en-US"/>
            </a:p>
          </p:txBody>
        </p:sp>
        <p:sp>
          <p:nvSpPr>
            <p:cNvPr id="9432" name="Freeform 123"/>
            <p:cNvSpPr>
              <a:spLocks/>
            </p:cNvSpPr>
            <p:nvPr/>
          </p:nvSpPr>
          <p:spPr bwMode="auto">
            <a:xfrm>
              <a:off x="1643" y="2430"/>
              <a:ext cx="11" cy="19"/>
            </a:xfrm>
            <a:custGeom>
              <a:avLst/>
              <a:gdLst>
                <a:gd name="T0" fmla="*/ 1 w 21"/>
                <a:gd name="T1" fmla="*/ 1 h 36"/>
                <a:gd name="T2" fmla="*/ 1 w 21"/>
                <a:gd name="T3" fmla="*/ 1 h 36"/>
                <a:gd name="T4" fmla="*/ 0 w 21"/>
                <a:gd name="T5" fmla="*/ 1 h 36"/>
                <a:gd name="T6" fmla="*/ 0 w 21"/>
                <a:gd name="T7" fmla="*/ 1 h 36"/>
                <a:gd name="T8" fmla="*/ 0 w 21"/>
                <a:gd name="T9" fmla="*/ 0 h 36"/>
                <a:gd name="T10" fmla="*/ 1 w 21"/>
                <a:gd name="T11" fmla="*/ 0 h 36"/>
                <a:gd name="T12" fmla="*/ 1 w 21"/>
                <a:gd name="T13" fmla="*/ 1 h 36"/>
                <a:gd name="T14" fmla="*/ 0 60000 65536"/>
                <a:gd name="T15" fmla="*/ 0 60000 65536"/>
                <a:gd name="T16" fmla="*/ 0 60000 65536"/>
                <a:gd name="T17" fmla="*/ 0 60000 65536"/>
                <a:gd name="T18" fmla="*/ 0 60000 65536"/>
                <a:gd name="T19" fmla="*/ 0 60000 65536"/>
                <a:gd name="T20" fmla="*/ 0 60000 65536"/>
                <a:gd name="T21" fmla="*/ 0 w 21"/>
                <a:gd name="T22" fmla="*/ 0 h 36"/>
                <a:gd name="T23" fmla="*/ 21 w 21"/>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36">
                  <a:moveTo>
                    <a:pt x="21" y="17"/>
                  </a:moveTo>
                  <a:lnTo>
                    <a:pt x="21" y="36"/>
                  </a:lnTo>
                  <a:lnTo>
                    <a:pt x="0" y="36"/>
                  </a:lnTo>
                  <a:lnTo>
                    <a:pt x="0" y="17"/>
                  </a:lnTo>
                  <a:lnTo>
                    <a:pt x="0" y="0"/>
                  </a:lnTo>
                  <a:lnTo>
                    <a:pt x="21" y="0"/>
                  </a:lnTo>
                  <a:lnTo>
                    <a:pt x="21" y="17"/>
                  </a:lnTo>
                  <a:close/>
                </a:path>
              </a:pathLst>
            </a:custGeom>
            <a:solidFill>
              <a:srgbClr val="C0C0C0"/>
            </a:solidFill>
            <a:ln w="9525">
              <a:solidFill>
                <a:srgbClr val="C0C0C0"/>
              </a:solidFill>
              <a:round/>
              <a:headEnd/>
              <a:tailEnd/>
            </a:ln>
          </p:spPr>
          <p:txBody>
            <a:bodyPr/>
            <a:lstStyle/>
            <a:p>
              <a:endParaRPr lang="en-US"/>
            </a:p>
          </p:txBody>
        </p:sp>
        <p:sp>
          <p:nvSpPr>
            <p:cNvPr id="9433" name="Freeform 124"/>
            <p:cNvSpPr>
              <a:spLocks/>
            </p:cNvSpPr>
            <p:nvPr/>
          </p:nvSpPr>
          <p:spPr bwMode="auto">
            <a:xfrm>
              <a:off x="1724" y="2484"/>
              <a:ext cx="31" cy="10"/>
            </a:xfrm>
            <a:custGeom>
              <a:avLst/>
              <a:gdLst>
                <a:gd name="T0" fmla="*/ 1 w 61"/>
                <a:gd name="T1" fmla="*/ 0 h 20"/>
                <a:gd name="T2" fmla="*/ 1 w 61"/>
                <a:gd name="T3" fmla="*/ 0 h 20"/>
                <a:gd name="T4" fmla="*/ 1 w 61"/>
                <a:gd name="T5" fmla="*/ 1 h 20"/>
                <a:gd name="T6" fmla="*/ 1 w 61"/>
                <a:gd name="T7" fmla="*/ 1 h 20"/>
                <a:gd name="T8" fmla="*/ 1 w 61"/>
                <a:gd name="T9" fmla="*/ 1 h 20"/>
                <a:gd name="T10" fmla="*/ 0 w 61"/>
                <a:gd name="T11" fmla="*/ 1 h 20"/>
                <a:gd name="T12" fmla="*/ 0 w 61"/>
                <a:gd name="T13" fmla="*/ 0 h 20"/>
                <a:gd name="T14" fmla="*/ 1 w 61"/>
                <a:gd name="T15" fmla="*/ 0 h 20"/>
                <a:gd name="T16" fmla="*/ 1 w 61"/>
                <a:gd name="T17" fmla="*/ 0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20"/>
                <a:gd name="T29" fmla="*/ 61 w 61"/>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20">
                  <a:moveTo>
                    <a:pt x="40" y="0"/>
                  </a:moveTo>
                  <a:lnTo>
                    <a:pt x="61" y="0"/>
                  </a:lnTo>
                  <a:lnTo>
                    <a:pt x="61" y="20"/>
                  </a:lnTo>
                  <a:lnTo>
                    <a:pt x="40" y="20"/>
                  </a:lnTo>
                  <a:lnTo>
                    <a:pt x="19" y="20"/>
                  </a:lnTo>
                  <a:lnTo>
                    <a:pt x="0" y="20"/>
                  </a:lnTo>
                  <a:lnTo>
                    <a:pt x="0" y="0"/>
                  </a:lnTo>
                  <a:lnTo>
                    <a:pt x="19" y="0"/>
                  </a:lnTo>
                  <a:lnTo>
                    <a:pt x="40" y="0"/>
                  </a:lnTo>
                  <a:close/>
                </a:path>
              </a:pathLst>
            </a:custGeom>
            <a:solidFill>
              <a:srgbClr val="C0C0C0"/>
            </a:solidFill>
            <a:ln w="9525">
              <a:solidFill>
                <a:srgbClr val="C0C0C0"/>
              </a:solidFill>
              <a:round/>
              <a:headEnd/>
              <a:tailEnd/>
            </a:ln>
          </p:spPr>
          <p:txBody>
            <a:bodyPr/>
            <a:lstStyle/>
            <a:p>
              <a:endParaRPr lang="en-US"/>
            </a:p>
          </p:txBody>
        </p:sp>
        <p:sp>
          <p:nvSpPr>
            <p:cNvPr id="9434" name="Freeform 125"/>
            <p:cNvSpPr>
              <a:spLocks/>
            </p:cNvSpPr>
            <p:nvPr/>
          </p:nvSpPr>
          <p:spPr bwMode="auto">
            <a:xfrm>
              <a:off x="1905" y="2476"/>
              <a:ext cx="21" cy="18"/>
            </a:xfrm>
            <a:custGeom>
              <a:avLst/>
              <a:gdLst>
                <a:gd name="T0" fmla="*/ 1 w 40"/>
                <a:gd name="T1" fmla="*/ 0 h 37"/>
                <a:gd name="T2" fmla="*/ 1 w 40"/>
                <a:gd name="T3" fmla="*/ 0 h 37"/>
                <a:gd name="T4" fmla="*/ 0 w 40"/>
                <a:gd name="T5" fmla="*/ 0 h 37"/>
                <a:gd name="T6" fmla="*/ 0 w 40"/>
                <a:gd name="T7" fmla="*/ 0 h 37"/>
                <a:gd name="T8" fmla="*/ 0 w 40"/>
                <a:gd name="T9" fmla="*/ 0 h 37"/>
                <a:gd name="T10" fmla="*/ 0 w 40"/>
                <a:gd name="T11" fmla="*/ 0 h 37"/>
                <a:gd name="T12" fmla="*/ 1 w 40"/>
                <a:gd name="T13" fmla="*/ 0 h 37"/>
                <a:gd name="T14" fmla="*/ 1 w 40"/>
                <a:gd name="T15" fmla="*/ 0 h 37"/>
                <a:gd name="T16" fmla="*/ 0 60000 65536"/>
                <a:gd name="T17" fmla="*/ 0 60000 65536"/>
                <a:gd name="T18" fmla="*/ 0 60000 65536"/>
                <a:gd name="T19" fmla="*/ 0 60000 65536"/>
                <a:gd name="T20" fmla="*/ 0 60000 65536"/>
                <a:gd name="T21" fmla="*/ 0 60000 65536"/>
                <a:gd name="T22" fmla="*/ 0 60000 65536"/>
                <a:gd name="T23" fmla="*/ 0 60000 65536"/>
                <a:gd name="T24" fmla="*/ 0 w 40"/>
                <a:gd name="T25" fmla="*/ 0 h 37"/>
                <a:gd name="T26" fmla="*/ 40 w 40"/>
                <a:gd name="T27" fmla="*/ 37 h 3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 h="37">
                  <a:moveTo>
                    <a:pt x="40" y="17"/>
                  </a:moveTo>
                  <a:lnTo>
                    <a:pt x="21" y="37"/>
                  </a:lnTo>
                  <a:lnTo>
                    <a:pt x="0" y="37"/>
                  </a:lnTo>
                  <a:lnTo>
                    <a:pt x="0" y="17"/>
                  </a:lnTo>
                  <a:lnTo>
                    <a:pt x="0" y="0"/>
                  </a:lnTo>
                  <a:lnTo>
                    <a:pt x="0" y="17"/>
                  </a:lnTo>
                  <a:lnTo>
                    <a:pt x="21" y="17"/>
                  </a:lnTo>
                  <a:lnTo>
                    <a:pt x="40" y="17"/>
                  </a:lnTo>
                  <a:close/>
                </a:path>
              </a:pathLst>
            </a:custGeom>
            <a:solidFill>
              <a:srgbClr val="C0C0C0"/>
            </a:solidFill>
            <a:ln w="9525">
              <a:solidFill>
                <a:srgbClr val="C0C0C0"/>
              </a:solidFill>
              <a:round/>
              <a:headEnd/>
              <a:tailEnd/>
            </a:ln>
          </p:spPr>
          <p:txBody>
            <a:bodyPr/>
            <a:lstStyle/>
            <a:p>
              <a:endParaRPr lang="en-US"/>
            </a:p>
          </p:txBody>
        </p:sp>
        <p:sp>
          <p:nvSpPr>
            <p:cNvPr id="9435" name="Freeform 126"/>
            <p:cNvSpPr>
              <a:spLocks/>
            </p:cNvSpPr>
            <p:nvPr/>
          </p:nvSpPr>
          <p:spPr bwMode="auto">
            <a:xfrm>
              <a:off x="1784" y="2457"/>
              <a:ext cx="92" cy="37"/>
            </a:xfrm>
            <a:custGeom>
              <a:avLst/>
              <a:gdLst>
                <a:gd name="T0" fmla="*/ 1 w 182"/>
                <a:gd name="T1" fmla="*/ 1 h 73"/>
                <a:gd name="T2" fmla="*/ 1 w 182"/>
                <a:gd name="T3" fmla="*/ 1 h 73"/>
                <a:gd name="T4" fmla="*/ 1 w 182"/>
                <a:gd name="T5" fmla="*/ 1 h 73"/>
                <a:gd name="T6" fmla="*/ 1 w 182"/>
                <a:gd name="T7" fmla="*/ 1 h 73"/>
                <a:gd name="T8" fmla="*/ 1 w 182"/>
                <a:gd name="T9" fmla="*/ 1 h 73"/>
                <a:gd name="T10" fmla="*/ 1 w 182"/>
                <a:gd name="T11" fmla="*/ 1 h 73"/>
                <a:gd name="T12" fmla="*/ 1 w 182"/>
                <a:gd name="T13" fmla="*/ 1 h 73"/>
                <a:gd name="T14" fmla="*/ 1 w 182"/>
                <a:gd name="T15" fmla="*/ 1 h 73"/>
                <a:gd name="T16" fmla="*/ 1 w 182"/>
                <a:gd name="T17" fmla="*/ 1 h 73"/>
                <a:gd name="T18" fmla="*/ 1 w 182"/>
                <a:gd name="T19" fmla="*/ 1 h 73"/>
                <a:gd name="T20" fmla="*/ 1 w 182"/>
                <a:gd name="T21" fmla="*/ 1 h 73"/>
                <a:gd name="T22" fmla="*/ 1 w 182"/>
                <a:gd name="T23" fmla="*/ 1 h 73"/>
                <a:gd name="T24" fmla="*/ 1 w 182"/>
                <a:gd name="T25" fmla="*/ 1 h 73"/>
                <a:gd name="T26" fmla="*/ 1 w 182"/>
                <a:gd name="T27" fmla="*/ 1 h 73"/>
                <a:gd name="T28" fmla="*/ 0 w 182"/>
                <a:gd name="T29" fmla="*/ 1 h 73"/>
                <a:gd name="T30" fmla="*/ 0 w 182"/>
                <a:gd name="T31" fmla="*/ 1 h 73"/>
                <a:gd name="T32" fmla="*/ 0 w 182"/>
                <a:gd name="T33" fmla="*/ 1 h 73"/>
                <a:gd name="T34" fmla="*/ 1 w 182"/>
                <a:gd name="T35" fmla="*/ 1 h 73"/>
                <a:gd name="T36" fmla="*/ 1 w 182"/>
                <a:gd name="T37" fmla="*/ 1 h 73"/>
                <a:gd name="T38" fmla="*/ 1 w 182"/>
                <a:gd name="T39" fmla="*/ 1 h 73"/>
                <a:gd name="T40" fmla="*/ 1 w 182"/>
                <a:gd name="T41" fmla="*/ 1 h 73"/>
                <a:gd name="T42" fmla="*/ 1 w 182"/>
                <a:gd name="T43" fmla="*/ 0 h 73"/>
                <a:gd name="T44" fmla="*/ 1 w 182"/>
                <a:gd name="T45" fmla="*/ 1 h 73"/>
                <a:gd name="T46" fmla="*/ 1 w 182"/>
                <a:gd name="T47" fmla="*/ 1 h 73"/>
                <a:gd name="T48" fmla="*/ 1 w 182"/>
                <a:gd name="T49" fmla="*/ 1 h 73"/>
                <a:gd name="T50" fmla="*/ 1 w 182"/>
                <a:gd name="T51" fmla="*/ 1 h 73"/>
                <a:gd name="T52" fmla="*/ 1 w 182"/>
                <a:gd name="T53" fmla="*/ 1 h 73"/>
                <a:gd name="T54" fmla="*/ 1 w 182"/>
                <a:gd name="T55" fmla="*/ 1 h 73"/>
                <a:gd name="T56" fmla="*/ 1 w 182"/>
                <a:gd name="T57" fmla="*/ 1 h 73"/>
                <a:gd name="T58" fmla="*/ 1 w 182"/>
                <a:gd name="T59" fmla="*/ 1 h 7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82"/>
                <a:gd name="T91" fmla="*/ 0 h 73"/>
                <a:gd name="T92" fmla="*/ 182 w 182"/>
                <a:gd name="T93" fmla="*/ 73 h 7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82" h="73">
                  <a:moveTo>
                    <a:pt x="161" y="36"/>
                  </a:moveTo>
                  <a:lnTo>
                    <a:pt x="182" y="36"/>
                  </a:lnTo>
                  <a:lnTo>
                    <a:pt x="182" y="53"/>
                  </a:lnTo>
                  <a:lnTo>
                    <a:pt x="161" y="53"/>
                  </a:lnTo>
                  <a:lnTo>
                    <a:pt x="142" y="53"/>
                  </a:lnTo>
                  <a:lnTo>
                    <a:pt x="123" y="53"/>
                  </a:lnTo>
                  <a:lnTo>
                    <a:pt x="102" y="53"/>
                  </a:lnTo>
                  <a:lnTo>
                    <a:pt x="102" y="73"/>
                  </a:lnTo>
                  <a:lnTo>
                    <a:pt x="82" y="73"/>
                  </a:lnTo>
                  <a:lnTo>
                    <a:pt x="82" y="53"/>
                  </a:lnTo>
                  <a:lnTo>
                    <a:pt x="61" y="53"/>
                  </a:lnTo>
                  <a:lnTo>
                    <a:pt x="42" y="53"/>
                  </a:lnTo>
                  <a:lnTo>
                    <a:pt x="23" y="53"/>
                  </a:lnTo>
                  <a:lnTo>
                    <a:pt x="23" y="73"/>
                  </a:lnTo>
                  <a:lnTo>
                    <a:pt x="0" y="73"/>
                  </a:lnTo>
                  <a:lnTo>
                    <a:pt x="0" y="53"/>
                  </a:lnTo>
                  <a:lnTo>
                    <a:pt x="0" y="36"/>
                  </a:lnTo>
                  <a:lnTo>
                    <a:pt x="42" y="36"/>
                  </a:lnTo>
                  <a:lnTo>
                    <a:pt x="61" y="36"/>
                  </a:lnTo>
                  <a:lnTo>
                    <a:pt x="42" y="36"/>
                  </a:lnTo>
                  <a:lnTo>
                    <a:pt x="42" y="17"/>
                  </a:lnTo>
                  <a:lnTo>
                    <a:pt x="42" y="0"/>
                  </a:lnTo>
                  <a:lnTo>
                    <a:pt x="42" y="17"/>
                  </a:lnTo>
                  <a:lnTo>
                    <a:pt x="61" y="17"/>
                  </a:lnTo>
                  <a:lnTo>
                    <a:pt x="82" y="17"/>
                  </a:lnTo>
                  <a:lnTo>
                    <a:pt x="102" y="17"/>
                  </a:lnTo>
                  <a:lnTo>
                    <a:pt x="123" y="17"/>
                  </a:lnTo>
                  <a:lnTo>
                    <a:pt x="142" y="36"/>
                  </a:lnTo>
                  <a:lnTo>
                    <a:pt x="182" y="36"/>
                  </a:lnTo>
                  <a:lnTo>
                    <a:pt x="161" y="36"/>
                  </a:lnTo>
                  <a:close/>
                </a:path>
              </a:pathLst>
            </a:custGeom>
            <a:solidFill>
              <a:srgbClr val="C0C0C0"/>
            </a:solidFill>
            <a:ln w="9525">
              <a:solidFill>
                <a:srgbClr val="C0C0C0"/>
              </a:solidFill>
              <a:round/>
              <a:headEnd/>
              <a:tailEnd/>
            </a:ln>
          </p:spPr>
          <p:txBody>
            <a:bodyPr/>
            <a:lstStyle/>
            <a:p>
              <a:endParaRPr lang="en-US"/>
            </a:p>
          </p:txBody>
        </p:sp>
        <p:sp>
          <p:nvSpPr>
            <p:cNvPr id="9436" name="Freeform 127"/>
            <p:cNvSpPr>
              <a:spLocks/>
            </p:cNvSpPr>
            <p:nvPr/>
          </p:nvSpPr>
          <p:spPr bwMode="auto">
            <a:xfrm>
              <a:off x="2146" y="2735"/>
              <a:ext cx="30" cy="27"/>
            </a:xfrm>
            <a:custGeom>
              <a:avLst/>
              <a:gdLst>
                <a:gd name="T0" fmla="*/ 1 w 59"/>
                <a:gd name="T1" fmla="*/ 0 h 54"/>
                <a:gd name="T2" fmla="*/ 1 w 59"/>
                <a:gd name="T3" fmla="*/ 0 h 54"/>
                <a:gd name="T4" fmla="*/ 1 w 59"/>
                <a:gd name="T5" fmla="*/ 0 h 54"/>
                <a:gd name="T6" fmla="*/ 1 w 59"/>
                <a:gd name="T7" fmla="*/ 1 h 54"/>
                <a:gd name="T8" fmla="*/ 1 w 59"/>
                <a:gd name="T9" fmla="*/ 1 h 54"/>
                <a:gd name="T10" fmla="*/ 1 w 59"/>
                <a:gd name="T11" fmla="*/ 1 h 54"/>
                <a:gd name="T12" fmla="*/ 1 w 59"/>
                <a:gd name="T13" fmla="*/ 1 h 54"/>
                <a:gd name="T14" fmla="*/ 0 w 59"/>
                <a:gd name="T15" fmla="*/ 1 h 54"/>
                <a:gd name="T16" fmla="*/ 0 w 59"/>
                <a:gd name="T17" fmla="*/ 1 h 54"/>
                <a:gd name="T18" fmla="*/ 0 w 59"/>
                <a:gd name="T19" fmla="*/ 0 h 54"/>
                <a:gd name="T20" fmla="*/ 1 w 59"/>
                <a:gd name="T21" fmla="*/ 0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9"/>
                <a:gd name="T34" fmla="*/ 0 h 54"/>
                <a:gd name="T35" fmla="*/ 59 w 59"/>
                <a:gd name="T36" fmla="*/ 54 h 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9" h="54">
                  <a:moveTo>
                    <a:pt x="21" y="0"/>
                  </a:moveTo>
                  <a:lnTo>
                    <a:pt x="40" y="0"/>
                  </a:lnTo>
                  <a:lnTo>
                    <a:pt x="59" y="0"/>
                  </a:lnTo>
                  <a:lnTo>
                    <a:pt x="59" y="18"/>
                  </a:lnTo>
                  <a:lnTo>
                    <a:pt x="40" y="35"/>
                  </a:lnTo>
                  <a:lnTo>
                    <a:pt x="40" y="54"/>
                  </a:lnTo>
                  <a:lnTo>
                    <a:pt x="21" y="54"/>
                  </a:lnTo>
                  <a:lnTo>
                    <a:pt x="0" y="35"/>
                  </a:lnTo>
                  <a:lnTo>
                    <a:pt x="0" y="18"/>
                  </a:lnTo>
                  <a:lnTo>
                    <a:pt x="0" y="0"/>
                  </a:lnTo>
                  <a:lnTo>
                    <a:pt x="21" y="0"/>
                  </a:lnTo>
                  <a:close/>
                </a:path>
              </a:pathLst>
            </a:custGeom>
            <a:solidFill>
              <a:srgbClr val="C0C0C0"/>
            </a:solidFill>
            <a:ln w="9525">
              <a:solidFill>
                <a:srgbClr val="C0C0C0"/>
              </a:solidFill>
              <a:round/>
              <a:headEnd/>
              <a:tailEnd/>
            </a:ln>
          </p:spPr>
          <p:txBody>
            <a:bodyPr/>
            <a:lstStyle/>
            <a:p>
              <a:endParaRPr lang="en-US"/>
            </a:p>
          </p:txBody>
        </p:sp>
        <p:sp>
          <p:nvSpPr>
            <p:cNvPr id="9437" name="Freeform 128"/>
            <p:cNvSpPr>
              <a:spLocks/>
            </p:cNvSpPr>
            <p:nvPr/>
          </p:nvSpPr>
          <p:spPr bwMode="auto">
            <a:xfrm>
              <a:off x="1713" y="2359"/>
              <a:ext cx="11" cy="0"/>
            </a:xfrm>
            <a:custGeom>
              <a:avLst/>
              <a:gdLst>
                <a:gd name="T0" fmla="*/ 0 w 21"/>
                <a:gd name="T1" fmla="*/ 1 w 21"/>
                <a:gd name="T2" fmla="*/ 0 w 21"/>
                <a:gd name="T3" fmla="*/ 0 60000 65536"/>
                <a:gd name="T4" fmla="*/ 0 60000 65536"/>
                <a:gd name="T5" fmla="*/ 0 60000 65536"/>
                <a:gd name="T6" fmla="*/ 0 w 21"/>
                <a:gd name="T7" fmla="*/ 21 w 21"/>
              </a:gdLst>
              <a:ahLst/>
              <a:cxnLst>
                <a:cxn ang="T3">
                  <a:pos x="T0" y="0"/>
                </a:cxn>
                <a:cxn ang="T4">
                  <a:pos x="T1" y="0"/>
                </a:cxn>
                <a:cxn ang="T5">
                  <a:pos x="T2" y="0"/>
                </a:cxn>
              </a:cxnLst>
              <a:rect l="T6" t="0" r="T7" b="0"/>
              <a:pathLst>
                <a:path w="21">
                  <a:moveTo>
                    <a:pt x="0" y="0"/>
                  </a:moveTo>
                  <a:lnTo>
                    <a:pt x="21" y="0"/>
                  </a:lnTo>
                  <a:lnTo>
                    <a:pt x="0" y="0"/>
                  </a:lnTo>
                  <a:close/>
                </a:path>
              </a:pathLst>
            </a:custGeom>
            <a:solidFill>
              <a:srgbClr val="C0C0C0"/>
            </a:solidFill>
            <a:ln w="9525">
              <a:solidFill>
                <a:srgbClr val="C0C0C0"/>
              </a:solidFill>
              <a:round/>
              <a:headEnd/>
              <a:tailEnd/>
            </a:ln>
          </p:spPr>
          <p:txBody>
            <a:bodyPr/>
            <a:lstStyle/>
            <a:p>
              <a:endParaRPr lang="en-US"/>
            </a:p>
          </p:txBody>
        </p:sp>
        <p:sp>
          <p:nvSpPr>
            <p:cNvPr id="9438" name="Freeform 129"/>
            <p:cNvSpPr>
              <a:spLocks/>
            </p:cNvSpPr>
            <p:nvPr/>
          </p:nvSpPr>
          <p:spPr bwMode="auto">
            <a:xfrm>
              <a:off x="1796" y="2439"/>
              <a:ext cx="10" cy="10"/>
            </a:xfrm>
            <a:custGeom>
              <a:avLst/>
              <a:gdLst>
                <a:gd name="T0" fmla="*/ 0 w 19"/>
                <a:gd name="T1" fmla="*/ 1 h 19"/>
                <a:gd name="T2" fmla="*/ 1 w 19"/>
                <a:gd name="T3" fmla="*/ 1 h 19"/>
                <a:gd name="T4" fmla="*/ 1 w 19"/>
                <a:gd name="T5" fmla="*/ 0 h 19"/>
                <a:gd name="T6" fmla="*/ 1 w 19"/>
                <a:gd name="T7" fmla="*/ 1 h 19"/>
                <a:gd name="T8" fmla="*/ 0 w 19"/>
                <a:gd name="T9" fmla="*/ 1 h 19"/>
                <a:gd name="T10" fmla="*/ 0 60000 65536"/>
                <a:gd name="T11" fmla="*/ 0 60000 65536"/>
                <a:gd name="T12" fmla="*/ 0 60000 65536"/>
                <a:gd name="T13" fmla="*/ 0 60000 65536"/>
                <a:gd name="T14" fmla="*/ 0 60000 65536"/>
                <a:gd name="T15" fmla="*/ 0 w 19"/>
                <a:gd name="T16" fmla="*/ 0 h 19"/>
                <a:gd name="T17" fmla="*/ 19 w 19"/>
                <a:gd name="T18" fmla="*/ 19 h 19"/>
              </a:gdLst>
              <a:ahLst/>
              <a:cxnLst>
                <a:cxn ang="T10">
                  <a:pos x="T0" y="T1"/>
                </a:cxn>
                <a:cxn ang="T11">
                  <a:pos x="T2" y="T3"/>
                </a:cxn>
                <a:cxn ang="T12">
                  <a:pos x="T4" y="T5"/>
                </a:cxn>
                <a:cxn ang="T13">
                  <a:pos x="T6" y="T7"/>
                </a:cxn>
                <a:cxn ang="T14">
                  <a:pos x="T8" y="T9"/>
                </a:cxn>
              </a:cxnLst>
              <a:rect l="T15" t="T16" r="T17" b="T18"/>
              <a:pathLst>
                <a:path w="19" h="19">
                  <a:moveTo>
                    <a:pt x="0" y="19"/>
                  </a:moveTo>
                  <a:lnTo>
                    <a:pt x="19" y="19"/>
                  </a:lnTo>
                  <a:lnTo>
                    <a:pt x="19" y="0"/>
                  </a:lnTo>
                  <a:lnTo>
                    <a:pt x="19" y="19"/>
                  </a:lnTo>
                  <a:lnTo>
                    <a:pt x="0" y="19"/>
                  </a:lnTo>
                  <a:close/>
                </a:path>
              </a:pathLst>
            </a:custGeom>
            <a:solidFill>
              <a:srgbClr val="C0C0C0"/>
            </a:solidFill>
            <a:ln w="9525">
              <a:solidFill>
                <a:srgbClr val="C0C0C0"/>
              </a:solidFill>
              <a:round/>
              <a:headEnd/>
              <a:tailEnd/>
            </a:ln>
          </p:spPr>
          <p:txBody>
            <a:bodyPr/>
            <a:lstStyle/>
            <a:p>
              <a:endParaRPr lang="en-US"/>
            </a:p>
          </p:txBody>
        </p:sp>
        <p:sp>
          <p:nvSpPr>
            <p:cNvPr id="9439" name="Freeform 130"/>
            <p:cNvSpPr>
              <a:spLocks/>
            </p:cNvSpPr>
            <p:nvPr/>
          </p:nvSpPr>
          <p:spPr bwMode="auto">
            <a:xfrm>
              <a:off x="1573" y="1669"/>
              <a:ext cx="120" cy="54"/>
            </a:xfrm>
            <a:custGeom>
              <a:avLst/>
              <a:gdLst>
                <a:gd name="T0" fmla="*/ 1 w 240"/>
                <a:gd name="T1" fmla="*/ 1 h 107"/>
                <a:gd name="T2" fmla="*/ 1 w 240"/>
                <a:gd name="T3" fmla="*/ 1 h 107"/>
                <a:gd name="T4" fmla="*/ 1 w 240"/>
                <a:gd name="T5" fmla="*/ 1 h 107"/>
                <a:gd name="T6" fmla="*/ 1 w 240"/>
                <a:gd name="T7" fmla="*/ 1 h 107"/>
                <a:gd name="T8" fmla="*/ 1 w 240"/>
                <a:gd name="T9" fmla="*/ 1 h 107"/>
                <a:gd name="T10" fmla="*/ 1 w 240"/>
                <a:gd name="T11" fmla="*/ 1 h 107"/>
                <a:gd name="T12" fmla="*/ 1 w 240"/>
                <a:gd name="T13" fmla="*/ 0 h 107"/>
                <a:gd name="T14" fmla="*/ 1 w 240"/>
                <a:gd name="T15" fmla="*/ 1 h 107"/>
                <a:gd name="T16" fmla="*/ 1 w 240"/>
                <a:gd name="T17" fmla="*/ 1 h 107"/>
                <a:gd name="T18" fmla="*/ 1 w 240"/>
                <a:gd name="T19" fmla="*/ 1 h 107"/>
                <a:gd name="T20" fmla="*/ 1 w 240"/>
                <a:gd name="T21" fmla="*/ 1 h 107"/>
                <a:gd name="T22" fmla="*/ 1 w 240"/>
                <a:gd name="T23" fmla="*/ 1 h 107"/>
                <a:gd name="T24" fmla="*/ 1 w 240"/>
                <a:gd name="T25" fmla="*/ 1 h 107"/>
                <a:gd name="T26" fmla="*/ 1 w 240"/>
                <a:gd name="T27" fmla="*/ 1 h 107"/>
                <a:gd name="T28" fmla="*/ 1 w 240"/>
                <a:gd name="T29" fmla="*/ 1 h 107"/>
                <a:gd name="T30" fmla="*/ 1 w 240"/>
                <a:gd name="T31" fmla="*/ 1 h 107"/>
                <a:gd name="T32" fmla="*/ 1 w 240"/>
                <a:gd name="T33" fmla="*/ 1 h 107"/>
                <a:gd name="T34" fmla="*/ 1 w 240"/>
                <a:gd name="T35" fmla="*/ 1 h 107"/>
                <a:gd name="T36" fmla="*/ 1 w 240"/>
                <a:gd name="T37" fmla="*/ 1 h 107"/>
                <a:gd name="T38" fmla="*/ 1 w 240"/>
                <a:gd name="T39" fmla="*/ 1 h 107"/>
                <a:gd name="T40" fmla="*/ 1 w 240"/>
                <a:gd name="T41" fmla="*/ 1 h 107"/>
                <a:gd name="T42" fmla="*/ 1 w 240"/>
                <a:gd name="T43" fmla="*/ 1 h 107"/>
                <a:gd name="T44" fmla="*/ 1 w 240"/>
                <a:gd name="T45" fmla="*/ 1 h 107"/>
                <a:gd name="T46" fmla="*/ 1 w 240"/>
                <a:gd name="T47" fmla="*/ 1 h 107"/>
                <a:gd name="T48" fmla="*/ 1 w 240"/>
                <a:gd name="T49" fmla="*/ 1 h 107"/>
                <a:gd name="T50" fmla="*/ 1 w 240"/>
                <a:gd name="T51" fmla="*/ 1 h 107"/>
                <a:gd name="T52" fmla="*/ 1 w 240"/>
                <a:gd name="T53" fmla="*/ 1 h 107"/>
                <a:gd name="T54" fmla="*/ 1 w 240"/>
                <a:gd name="T55" fmla="*/ 1 h 107"/>
                <a:gd name="T56" fmla="*/ 1 w 240"/>
                <a:gd name="T57" fmla="*/ 1 h 107"/>
                <a:gd name="T58" fmla="*/ 1 w 240"/>
                <a:gd name="T59" fmla="*/ 1 h 107"/>
                <a:gd name="T60" fmla="*/ 0 w 240"/>
                <a:gd name="T61" fmla="*/ 1 h 107"/>
                <a:gd name="T62" fmla="*/ 1 w 240"/>
                <a:gd name="T63" fmla="*/ 1 h 10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0"/>
                <a:gd name="T97" fmla="*/ 0 h 107"/>
                <a:gd name="T98" fmla="*/ 240 w 240"/>
                <a:gd name="T99" fmla="*/ 107 h 10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0" h="107">
                  <a:moveTo>
                    <a:pt x="21" y="73"/>
                  </a:moveTo>
                  <a:lnTo>
                    <a:pt x="40" y="73"/>
                  </a:lnTo>
                  <a:lnTo>
                    <a:pt x="40" y="54"/>
                  </a:lnTo>
                  <a:lnTo>
                    <a:pt x="40" y="36"/>
                  </a:lnTo>
                  <a:lnTo>
                    <a:pt x="40" y="19"/>
                  </a:lnTo>
                  <a:lnTo>
                    <a:pt x="59" y="19"/>
                  </a:lnTo>
                  <a:lnTo>
                    <a:pt x="59" y="0"/>
                  </a:lnTo>
                  <a:lnTo>
                    <a:pt x="80" y="19"/>
                  </a:lnTo>
                  <a:lnTo>
                    <a:pt x="99" y="19"/>
                  </a:lnTo>
                  <a:lnTo>
                    <a:pt x="140" y="19"/>
                  </a:lnTo>
                  <a:lnTo>
                    <a:pt x="161" y="19"/>
                  </a:lnTo>
                  <a:lnTo>
                    <a:pt x="180" y="36"/>
                  </a:lnTo>
                  <a:lnTo>
                    <a:pt x="180" y="54"/>
                  </a:lnTo>
                  <a:lnTo>
                    <a:pt x="199" y="54"/>
                  </a:lnTo>
                  <a:lnTo>
                    <a:pt x="199" y="73"/>
                  </a:lnTo>
                  <a:lnTo>
                    <a:pt x="220" y="73"/>
                  </a:lnTo>
                  <a:lnTo>
                    <a:pt x="240" y="73"/>
                  </a:lnTo>
                  <a:lnTo>
                    <a:pt x="220" y="73"/>
                  </a:lnTo>
                  <a:lnTo>
                    <a:pt x="199" y="73"/>
                  </a:lnTo>
                  <a:lnTo>
                    <a:pt x="180" y="73"/>
                  </a:lnTo>
                  <a:lnTo>
                    <a:pt x="161" y="73"/>
                  </a:lnTo>
                  <a:lnTo>
                    <a:pt x="140" y="73"/>
                  </a:lnTo>
                  <a:lnTo>
                    <a:pt x="121" y="73"/>
                  </a:lnTo>
                  <a:lnTo>
                    <a:pt x="99" y="90"/>
                  </a:lnTo>
                  <a:lnTo>
                    <a:pt x="59" y="90"/>
                  </a:lnTo>
                  <a:lnTo>
                    <a:pt x="59" y="107"/>
                  </a:lnTo>
                  <a:lnTo>
                    <a:pt x="59" y="90"/>
                  </a:lnTo>
                  <a:lnTo>
                    <a:pt x="59" y="73"/>
                  </a:lnTo>
                  <a:lnTo>
                    <a:pt x="40" y="73"/>
                  </a:lnTo>
                  <a:lnTo>
                    <a:pt x="21" y="73"/>
                  </a:lnTo>
                  <a:lnTo>
                    <a:pt x="0" y="73"/>
                  </a:lnTo>
                  <a:lnTo>
                    <a:pt x="21" y="73"/>
                  </a:lnTo>
                  <a:close/>
                </a:path>
              </a:pathLst>
            </a:custGeom>
            <a:solidFill>
              <a:srgbClr val="C0C0C0"/>
            </a:solidFill>
            <a:ln w="9525">
              <a:solidFill>
                <a:srgbClr val="C0C0C0"/>
              </a:solidFill>
              <a:round/>
              <a:headEnd/>
              <a:tailEnd/>
            </a:ln>
          </p:spPr>
          <p:txBody>
            <a:bodyPr/>
            <a:lstStyle/>
            <a:p>
              <a:endParaRPr lang="en-US"/>
            </a:p>
          </p:txBody>
        </p:sp>
        <p:sp>
          <p:nvSpPr>
            <p:cNvPr id="9440" name="Freeform 131"/>
            <p:cNvSpPr>
              <a:spLocks/>
            </p:cNvSpPr>
            <p:nvPr/>
          </p:nvSpPr>
          <p:spPr bwMode="auto">
            <a:xfrm>
              <a:off x="1744" y="1617"/>
              <a:ext cx="31" cy="18"/>
            </a:xfrm>
            <a:custGeom>
              <a:avLst/>
              <a:gdLst>
                <a:gd name="T0" fmla="*/ 1 w 62"/>
                <a:gd name="T1" fmla="*/ 0 h 37"/>
                <a:gd name="T2" fmla="*/ 1 w 62"/>
                <a:gd name="T3" fmla="*/ 0 h 37"/>
                <a:gd name="T4" fmla="*/ 0 w 62"/>
                <a:gd name="T5" fmla="*/ 0 h 37"/>
                <a:gd name="T6" fmla="*/ 0 w 62"/>
                <a:gd name="T7" fmla="*/ 0 h 37"/>
                <a:gd name="T8" fmla="*/ 0 w 62"/>
                <a:gd name="T9" fmla="*/ 0 h 37"/>
                <a:gd name="T10" fmla="*/ 1 w 62"/>
                <a:gd name="T11" fmla="*/ 0 h 37"/>
                <a:gd name="T12" fmla="*/ 1 w 62"/>
                <a:gd name="T13" fmla="*/ 0 h 37"/>
                <a:gd name="T14" fmla="*/ 0 60000 65536"/>
                <a:gd name="T15" fmla="*/ 0 60000 65536"/>
                <a:gd name="T16" fmla="*/ 0 60000 65536"/>
                <a:gd name="T17" fmla="*/ 0 60000 65536"/>
                <a:gd name="T18" fmla="*/ 0 60000 65536"/>
                <a:gd name="T19" fmla="*/ 0 60000 65536"/>
                <a:gd name="T20" fmla="*/ 0 60000 65536"/>
                <a:gd name="T21" fmla="*/ 0 w 62"/>
                <a:gd name="T22" fmla="*/ 0 h 37"/>
                <a:gd name="T23" fmla="*/ 62 w 62"/>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2" h="37">
                  <a:moveTo>
                    <a:pt x="62" y="18"/>
                  </a:moveTo>
                  <a:lnTo>
                    <a:pt x="21" y="37"/>
                  </a:lnTo>
                  <a:lnTo>
                    <a:pt x="0" y="37"/>
                  </a:lnTo>
                  <a:lnTo>
                    <a:pt x="0" y="18"/>
                  </a:lnTo>
                  <a:lnTo>
                    <a:pt x="0" y="0"/>
                  </a:lnTo>
                  <a:lnTo>
                    <a:pt x="41" y="0"/>
                  </a:lnTo>
                  <a:lnTo>
                    <a:pt x="62" y="18"/>
                  </a:lnTo>
                  <a:close/>
                </a:path>
              </a:pathLst>
            </a:custGeom>
            <a:solidFill>
              <a:srgbClr val="C0C0C0"/>
            </a:solidFill>
            <a:ln w="9525">
              <a:solidFill>
                <a:srgbClr val="C0C0C0"/>
              </a:solidFill>
              <a:round/>
              <a:headEnd/>
              <a:tailEnd/>
            </a:ln>
          </p:spPr>
          <p:txBody>
            <a:bodyPr/>
            <a:lstStyle/>
            <a:p>
              <a:endParaRPr lang="en-US"/>
            </a:p>
          </p:txBody>
        </p:sp>
        <p:sp>
          <p:nvSpPr>
            <p:cNvPr id="9441" name="Freeform 132"/>
            <p:cNvSpPr>
              <a:spLocks/>
            </p:cNvSpPr>
            <p:nvPr/>
          </p:nvSpPr>
          <p:spPr bwMode="auto">
            <a:xfrm>
              <a:off x="1643" y="1723"/>
              <a:ext cx="21" cy="18"/>
            </a:xfrm>
            <a:custGeom>
              <a:avLst/>
              <a:gdLst>
                <a:gd name="T0" fmla="*/ 0 w 40"/>
                <a:gd name="T1" fmla="*/ 0 h 37"/>
                <a:gd name="T2" fmla="*/ 1 w 40"/>
                <a:gd name="T3" fmla="*/ 0 h 37"/>
                <a:gd name="T4" fmla="*/ 1 w 40"/>
                <a:gd name="T5" fmla="*/ 0 h 37"/>
                <a:gd name="T6" fmla="*/ 1 w 40"/>
                <a:gd name="T7" fmla="*/ 0 h 37"/>
                <a:gd name="T8" fmla="*/ 1 w 40"/>
                <a:gd name="T9" fmla="*/ 0 h 37"/>
                <a:gd name="T10" fmla="*/ 0 w 40"/>
                <a:gd name="T11" fmla="*/ 0 h 37"/>
                <a:gd name="T12" fmla="*/ 0 w 40"/>
                <a:gd name="T13" fmla="*/ 0 h 37"/>
                <a:gd name="T14" fmla="*/ 0 w 40"/>
                <a:gd name="T15" fmla="*/ 0 h 37"/>
                <a:gd name="T16" fmla="*/ 0 w 40"/>
                <a:gd name="T17" fmla="*/ 0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37"/>
                <a:gd name="T29" fmla="*/ 40 w 40"/>
                <a:gd name="T30" fmla="*/ 37 h 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37">
                  <a:moveTo>
                    <a:pt x="0" y="0"/>
                  </a:moveTo>
                  <a:lnTo>
                    <a:pt x="21" y="0"/>
                  </a:lnTo>
                  <a:lnTo>
                    <a:pt x="40" y="0"/>
                  </a:lnTo>
                  <a:lnTo>
                    <a:pt x="40" y="20"/>
                  </a:lnTo>
                  <a:lnTo>
                    <a:pt x="21" y="20"/>
                  </a:lnTo>
                  <a:lnTo>
                    <a:pt x="0" y="20"/>
                  </a:lnTo>
                  <a:lnTo>
                    <a:pt x="0" y="37"/>
                  </a:lnTo>
                  <a:lnTo>
                    <a:pt x="0" y="20"/>
                  </a:lnTo>
                  <a:lnTo>
                    <a:pt x="0" y="0"/>
                  </a:lnTo>
                  <a:close/>
                </a:path>
              </a:pathLst>
            </a:custGeom>
            <a:solidFill>
              <a:srgbClr val="C0C0C0"/>
            </a:solidFill>
            <a:ln w="9525">
              <a:solidFill>
                <a:srgbClr val="C0C0C0"/>
              </a:solidFill>
              <a:round/>
              <a:headEnd/>
              <a:tailEnd/>
            </a:ln>
          </p:spPr>
          <p:txBody>
            <a:bodyPr/>
            <a:lstStyle/>
            <a:p>
              <a:endParaRPr lang="en-US"/>
            </a:p>
          </p:txBody>
        </p:sp>
        <p:sp>
          <p:nvSpPr>
            <p:cNvPr id="9442" name="Freeform 133"/>
            <p:cNvSpPr>
              <a:spLocks/>
            </p:cNvSpPr>
            <p:nvPr/>
          </p:nvSpPr>
          <p:spPr bwMode="auto">
            <a:xfrm>
              <a:off x="1684" y="1733"/>
              <a:ext cx="20" cy="18"/>
            </a:xfrm>
            <a:custGeom>
              <a:avLst/>
              <a:gdLst>
                <a:gd name="T0" fmla="*/ 0 w 41"/>
                <a:gd name="T1" fmla="*/ 1 h 36"/>
                <a:gd name="T2" fmla="*/ 0 w 41"/>
                <a:gd name="T3" fmla="*/ 1 h 36"/>
                <a:gd name="T4" fmla="*/ 0 w 41"/>
                <a:gd name="T5" fmla="*/ 1 h 36"/>
                <a:gd name="T6" fmla="*/ 0 w 41"/>
                <a:gd name="T7" fmla="*/ 1 h 36"/>
                <a:gd name="T8" fmla="*/ 0 w 41"/>
                <a:gd name="T9" fmla="*/ 1 h 36"/>
                <a:gd name="T10" fmla="*/ 0 w 41"/>
                <a:gd name="T11" fmla="*/ 0 h 36"/>
                <a:gd name="T12" fmla="*/ 0 w 41"/>
                <a:gd name="T13" fmla="*/ 1 h 36"/>
                <a:gd name="T14" fmla="*/ 0 60000 65536"/>
                <a:gd name="T15" fmla="*/ 0 60000 65536"/>
                <a:gd name="T16" fmla="*/ 0 60000 65536"/>
                <a:gd name="T17" fmla="*/ 0 60000 65536"/>
                <a:gd name="T18" fmla="*/ 0 60000 65536"/>
                <a:gd name="T19" fmla="*/ 0 60000 65536"/>
                <a:gd name="T20" fmla="*/ 0 60000 65536"/>
                <a:gd name="T21" fmla="*/ 0 w 41"/>
                <a:gd name="T22" fmla="*/ 0 h 36"/>
                <a:gd name="T23" fmla="*/ 41 w 41"/>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36">
                  <a:moveTo>
                    <a:pt x="41" y="17"/>
                  </a:moveTo>
                  <a:lnTo>
                    <a:pt x="41" y="36"/>
                  </a:lnTo>
                  <a:lnTo>
                    <a:pt x="20" y="36"/>
                  </a:lnTo>
                  <a:lnTo>
                    <a:pt x="0" y="36"/>
                  </a:lnTo>
                  <a:lnTo>
                    <a:pt x="0" y="17"/>
                  </a:lnTo>
                  <a:lnTo>
                    <a:pt x="20" y="0"/>
                  </a:lnTo>
                  <a:lnTo>
                    <a:pt x="41" y="17"/>
                  </a:lnTo>
                  <a:close/>
                </a:path>
              </a:pathLst>
            </a:custGeom>
            <a:solidFill>
              <a:srgbClr val="C0C0C0"/>
            </a:solidFill>
            <a:ln w="9525">
              <a:solidFill>
                <a:srgbClr val="C0C0C0"/>
              </a:solidFill>
              <a:round/>
              <a:headEnd/>
              <a:tailEnd/>
            </a:ln>
          </p:spPr>
          <p:txBody>
            <a:bodyPr/>
            <a:lstStyle/>
            <a:p>
              <a:endParaRPr lang="en-US"/>
            </a:p>
          </p:txBody>
        </p:sp>
        <p:sp>
          <p:nvSpPr>
            <p:cNvPr id="9443" name="Freeform 134"/>
            <p:cNvSpPr>
              <a:spLocks/>
            </p:cNvSpPr>
            <p:nvPr/>
          </p:nvSpPr>
          <p:spPr bwMode="auto">
            <a:xfrm>
              <a:off x="1775" y="1617"/>
              <a:ext cx="20" cy="8"/>
            </a:xfrm>
            <a:custGeom>
              <a:avLst/>
              <a:gdLst>
                <a:gd name="T0" fmla="*/ 1 w 40"/>
                <a:gd name="T1" fmla="*/ 0 h 18"/>
                <a:gd name="T2" fmla="*/ 0 w 40"/>
                <a:gd name="T3" fmla="*/ 0 h 18"/>
                <a:gd name="T4" fmla="*/ 0 w 40"/>
                <a:gd name="T5" fmla="*/ 0 h 18"/>
                <a:gd name="T6" fmla="*/ 1 w 40"/>
                <a:gd name="T7" fmla="*/ 0 h 18"/>
                <a:gd name="T8" fmla="*/ 1 w 40"/>
                <a:gd name="T9" fmla="*/ 0 h 18"/>
                <a:gd name="T10" fmla="*/ 1 w 40"/>
                <a:gd name="T11" fmla="*/ 0 h 18"/>
                <a:gd name="T12" fmla="*/ 0 60000 65536"/>
                <a:gd name="T13" fmla="*/ 0 60000 65536"/>
                <a:gd name="T14" fmla="*/ 0 60000 65536"/>
                <a:gd name="T15" fmla="*/ 0 60000 65536"/>
                <a:gd name="T16" fmla="*/ 0 60000 65536"/>
                <a:gd name="T17" fmla="*/ 0 60000 65536"/>
                <a:gd name="T18" fmla="*/ 0 w 40"/>
                <a:gd name="T19" fmla="*/ 0 h 18"/>
                <a:gd name="T20" fmla="*/ 40 w 4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40" h="18">
                  <a:moveTo>
                    <a:pt x="19" y="18"/>
                  </a:moveTo>
                  <a:lnTo>
                    <a:pt x="0" y="18"/>
                  </a:lnTo>
                  <a:lnTo>
                    <a:pt x="0" y="0"/>
                  </a:lnTo>
                  <a:lnTo>
                    <a:pt x="19" y="0"/>
                  </a:lnTo>
                  <a:lnTo>
                    <a:pt x="40" y="18"/>
                  </a:lnTo>
                  <a:lnTo>
                    <a:pt x="19" y="18"/>
                  </a:lnTo>
                  <a:close/>
                </a:path>
              </a:pathLst>
            </a:custGeom>
            <a:solidFill>
              <a:srgbClr val="C0C0C0"/>
            </a:solidFill>
            <a:ln w="9525">
              <a:solidFill>
                <a:srgbClr val="C0C0C0"/>
              </a:solidFill>
              <a:round/>
              <a:headEnd/>
              <a:tailEnd/>
            </a:ln>
          </p:spPr>
          <p:txBody>
            <a:bodyPr/>
            <a:lstStyle/>
            <a:p>
              <a:endParaRPr lang="en-US"/>
            </a:p>
          </p:txBody>
        </p:sp>
        <p:sp>
          <p:nvSpPr>
            <p:cNvPr id="9444" name="Freeform 135"/>
            <p:cNvSpPr>
              <a:spLocks/>
            </p:cNvSpPr>
            <p:nvPr/>
          </p:nvSpPr>
          <p:spPr bwMode="auto">
            <a:xfrm>
              <a:off x="1704" y="1590"/>
              <a:ext cx="9" cy="0"/>
            </a:xfrm>
            <a:custGeom>
              <a:avLst/>
              <a:gdLst>
                <a:gd name="T0" fmla="*/ 0 w 19"/>
                <a:gd name="T1" fmla="*/ 0 w 19"/>
                <a:gd name="T2" fmla="*/ 0 w 19"/>
                <a:gd name="T3" fmla="*/ 0 60000 65536"/>
                <a:gd name="T4" fmla="*/ 0 60000 65536"/>
                <a:gd name="T5" fmla="*/ 0 60000 65536"/>
                <a:gd name="T6" fmla="*/ 0 w 19"/>
                <a:gd name="T7" fmla="*/ 19 w 19"/>
              </a:gdLst>
              <a:ahLst/>
              <a:cxnLst>
                <a:cxn ang="T3">
                  <a:pos x="T0" y="0"/>
                </a:cxn>
                <a:cxn ang="T4">
                  <a:pos x="T1" y="0"/>
                </a:cxn>
                <a:cxn ang="T5">
                  <a:pos x="T2" y="0"/>
                </a:cxn>
              </a:cxnLst>
              <a:rect l="T6" t="0" r="T7" b="0"/>
              <a:pathLst>
                <a:path w="19">
                  <a:moveTo>
                    <a:pt x="0" y="0"/>
                  </a:moveTo>
                  <a:lnTo>
                    <a:pt x="19" y="0"/>
                  </a:lnTo>
                  <a:lnTo>
                    <a:pt x="0" y="0"/>
                  </a:lnTo>
                </a:path>
              </a:pathLst>
            </a:custGeom>
            <a:solidFill>
              <a:srgbClr val="C0C0C0"/>
            </a:solidFill>
            <a:ln w="9525">
              <a:solidFill>
                <a:srgbClr val="C0C0C0"/>
              </a:solidFill>
              <a:round/>
              <a:headEnd/>
              <a:tailEnd/>
            </a:ln>
          </p:spPr>
          <p:txBody>
            <a:bodyPr/>
            <a:lstStyle/>
            <a:p>
              <a:endParaRPr lang="en-US"/>
            </a:p>
          </p:txBody>
        </p:sp>
        <p:sp>
          <p:nvSpPr>
            <p:cNvPr id="9445" name="Freeform 136"/>
            <p:cNvSpPr>
              <a:spLocks/>
            </p:cNvSpPr>
            <p:nvPr/>
          </p:nvSpPr>
          <p:spPr bwMode="auto">
            <a:xfrm>
              <a:off x="1533" y="1474"/>
              <a:ext cx="452" cy="277"/>
            </a:xfrm>
            <a:custGeom>
              <a:avLst/>
              <a:gdLst>
                <a:gd name="T0" fmla="*/ 1 w 904"/>
                <a:gd name="T1" fmla="*/ 0 h 555"/>
                <a:gd name="T2" fmla="*/ 1 w 904"/>
                <a:gd name="T3" fmla="*/ 0 h 555"/>
                <a:gd name="T4" fmla="*/ 1 w 904"/>
                <a:gd name="T5" fmla="*/ 0 h 555"/>
                <a:gd name="T6" fmla="*/ 1 w 904"/>
                <a:gd name="T7" fmla="*/ 0 h 555"/>
                <a:gd name="T8" fmla="*/ 1 w 904"/>
                <a:gd name="T9" fmla="*/ 0 h 555"/>
                <a:gd name="T10" fmla="*/ 1 w 904"/>
                <a:gd name="T11" fmla="*/ 0 h 555"/>
                <a:gd name="T12" fmla="*/ 1 w 904"/>
                <a:gd name="T13" fmla="*/ 0 h 555"/>
                <a:gd name="T14" fmla="*/ 1 w 904"/>
                <a:gd name="T15" fmla="*/ 0 h 555"/>
                <a:gd name="T16" fmla="*/ 1 w 904"/>
                <a:gd name="T17" fmla="*/ 0 h 555"/>
                <a:gd name="T18" fmla="*/ 1 w 904"/>
                <a:gd name="T19" fmla="*/ 0 h 555"/>
                <a:gd name="T20" fmla="*/ 1 w 904"/>
                <a:gd name="T21" fmla="*/ 0 h 555"/>
                <a:gd name="T22" fmla="*/ 1 w 904"/>
                <a:gd name="T23" fmla="*/ 0 h 555"/>
                <a:gd name="T24" fmla="*/ 1 w 904"/>
                <a:gd name="T25" fmla="*/ 0 h 555"/>
                <a:gd name="T26" fmla="*/ 1 w 904"/>
                <a:gd name="T27" fmla="*/ 0 h 555"/>
                <a:gd name="T28" fmla="*/ 1 w 904"/>
                <a:gd name="T29" fmla="*/ 0 h 555"/>
                <a:gd name="T30" fmla="*/ 1 w 904"/>
                <a:gd name="T31" fmla="*/ 0 h 555"/>
                <a:gd name="T32" fmla="*/ 1 w 904"/>
                <a:gd name="T33" fmla="*/ 0 h 555"/>
                <a:gd name="T34" fmla="*/ 1 w 904"/>
                <a:gd name="T35" fmla="*/ 0 h 555"/>
                <a:gd name="T36" fmla="*/ 1 w 904"/>
                <a:gd name="T37" fmla="*/ 0 h 555"/>
                <a:gd name="T38" fmla="*/ 1 w 904"/>
                <a:gd name="T39" fmla="*/ 0 h 555"/>
                <a:gd name="T40" fmla="*/ 1 w 904"/>
                <a:gd name="T41" fmla="*/ 0 h 555"/>
                <a:gd name="T42" fmla="*/ 1 w 904"/>
                <a:gd name="T43" fmla="*/ 0 h 555"/>
                <a:gd name="T44" fmla="*/ 1 w 904"/>
                <a:gd name="T45" fmla="*/ 0 h 555"/>
                <a:gd name="T46" fmla="*/ 1 w 904"/>
                <a:gd name="T47" fmla="*/ 0 h 555"/>
                <a:gd name="T48" fmla="*/ 1 w 904"/>
                <a:gd name="T49" fmla="*/ 0 h 555"/>
                <a:gd name="T50" fmla="*/ 1 w 904"/>
                <a:gd name="T51" fmla="*/ 0 h 555"/>
                <a:gd name="T52" fmla="*/ 1 w 904"/>
                <a:gd name="T53" fmla="*/ 0 h 555"/>
                <a:gd name="T54" fmla="*/ 1 w 904"/>
                <a:gd name="T55" fmla="*/ 0 h 555"/>
                <a:gd name="T56" fmla="*/ 1 w 904"/>
                <a:gd name="T57" fmla="*/ 0 h 555"/>
                <a:gd name="T58" fmla="*/ 1 w 904"/>
                <a:gd name="T59" fmla="*/ 0 h 555"/>
                <a:gd name="T60" fmla="*/ 1 w 904"/>
                <a:gd name="T61" fmla="*/ 0 h 555"/>
                <a:gd name="T62" fmla="*/ 1 w 904"/>
                <a:gd name="T63" fmla="*/ 0 h 555"/>
                <a:gd name="T64" fmla="*/ 1 w 904"/>
                <a:gd name="T65" fmla="*/ 0 h 555"/>
                <a:gd name="T66" fmla="*/ 1 w 904"/>
                <a:gd name="T67" fmla="*/ 0 h 555"/>
                <a:gd name="T68" fmla="*/ 1 w 904"/>
                <a:gd name="T69" fmla="*/ 0 h 555"/>
                <a:gd name="T70" fmla="*/ 1 w 904"/>
                <a:gd name="T71" fmla="*/ 0 h 555"/>
                <a:gd name="T72" fmla="*/ 1 w 904"/>
                <a:gd name="T73" fmla="*/ 0 h 555"/>
                <a:gd name="T74" fmla="*/ 1 w 904"/>
                <a:gd name="T75" fmla="*/ 0 h 555"/>
                <a:gd name="T76" fmla="*/ 1 w 904"/>
                <a:gd name="T77" fmla="*/ 0 h 555"/>
                <a:gd name="T78" fmla="*/ 1 w 904"/>
                <a:gd name="T79" fmla="*/ 0 h 555"/>
                <a:gd name="T80" fmla="*/ 1 w 904"/>
                <a:gd name="T81" fmla="*/ 0 h 555"/>
                <a:gd name="T82" fmla="*/ 1 w 904"/>
                <a:gd name="T83" fmla="*/ 0 h 555"/>
                <a:gd name="T84" fmla="*/ 1 w 904"/>
                <a:gd name="T85" fmla="*/ 0 h 555"/>
                <a:gd name="T86" fmla="*/ 1 w 904"/>
                <a:gd name="T87" fmla="*/ 0 h 555"/>
                <a:gd name="T88" fmla="*/ 1 w 904"/>
                <a:gd name="T89" fmla="*/ 0 h 555"/>
                <a:gd name="T90" fmla="*/ 1 w 904"/>
                <a:gd name="T91" fmla="*/ 0 h 555"/>
                <a:gd name="T92" fmla="*/ 1 w 904"/>
                <a:gd name="T93" fmla="*/ 0 h 555"/>
                <a:gd name="T94" fmla="*/ 1 w 904"/>
                <a:gd name="T95" fmla="*/ 0 h 555"/>
                <a:gd name="T96" fmla="*/ 1 w 904"/>
                <a:gd name="T97" fmla="*/ 0 h 555"/>
                <a:gd name="T98" fmla="*/ 1 w 904"/>
                <a:gd name="T99" fmla="*/ 0 h 555"/>
                <a:gd name="T100" fmla="*/ 1 w 904"/>
                <a:gd name="T101" fmla="*/ 0 h 555"/>
                <a:gd name="T102" fmla="*/ 1 w 904"/>
                <a:gd name="T103" fmla="*/ 0 h 555"/>
                <a:gd name="T104" fmla="*/ 1 w 904"/>
                <a:gd name="T105" fmla="*/ 0 h 555"/>
                <a:gd name="T106" fmla="*/ 1 w 904"/>
                <a:gd name="T107" fmla="*/ 0 h 555"/>
                <a:gd name="T108" fmla="*/ 1 w 904"/>
                <a:gd name="T109" fmla="*/ 0 h 55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4"/>
                <a:gd name="T166" fmla="*/ 0 h 555"/>
                <a:gd name="T167" fmla="*/ 904 w 904"/>
                <a:gd name="T168" fmla="*/ 555 h 55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4" h="555">
                  <a:moveTo>
                    <a:pt x="845" y="392"/>
                  </a:moveTo>
                  <a:lnTo>
                    <a:pt x="845" y="411"/>
                  </a:lnTo>
                  <a:lnTo>
                    <a:pt x="825" y="411"/>
                  </a:lnTo>
                  <a:lnTo>
                    <a:pt x="785" y="411"/>
                  </a:lnTo>
                  <a:lnTo>
                    <a:pt x="764" y="375"/>
                  </a:lnTo>
                  <a:lnTo>
                    <a:pt x="724" y="357"/>
                  </a:lnTo>
                  <a:lnTo>
                    <a:pt x="704" y="357"/>
                  </a:lnTo>
                  <a:lnTo>
                    <a:pt x="704" y="375"/>
                  </a:lnTo>
                  <a:lnTo>
                    <a:pt x="724" y="375"/>
                  </a:lnTo>
                  <a:lnTo>
                    <a:pt x="704" y="375"/>
                  </a:lnTo>
                  <a:lnTo>
                    <a:pt x="704" y="392"/>
                  </a:lnTo>
                  <a:lnTo>
                    <a:pt x="724" y="392"/>
                  </a:lnTo>
                  <a:lnTo>
                    <a:pt x="724" y="411"/>
                  </a:lnTo>
                  <a:lnTo>
                    <a:pt x="745" y="411"/>
                  </a:lnTo>
                  <a:lnTo>
                    <a:pt x="764" y="411"/>
                  </a:lnTo>
                  <a:lnTo>
                    <a:pt x="764" y="428"/>
                  </a:lnTo>
                  <a:lnTo>
                    <a:pt x="785" y="428"/>
                  </a:lnTo>
                  <a:lnTo>
                    <a:pt x="804" y="428"/>
                  </a:lnTo>
                  <a:lnTo>
                    <a:pt x="804" y="446"/>
                  </a:lnTo>
                  <a:lnTo>
                    <a:pt x="804" y="465"/>
                  </a:lnTo>
                  <a:lnTo>
                    <a:pt x="804" y="482"/>
                  </a:lnTo>
                  <a:lnTo>
                    <a:pt x="804" y="499"/>
                  </a:lnTo>
                  <a:lnTo>
                    <a:pt x="804" y="519"/>
                  </a:lnTo>
                  <a:lnTo>
                    <a:pt x="764" y="499"/>
                  </a:lnTo>
                  <a:lnTo>
                    <a:pt x="724" y="482"/>
                  </a:lnTo>
                  <a:lnTo>
                    <a:pt x="685" y="465"/>
                  </a:lnTo>
                  <a:lnTo>
                    <a:pt x="704" y="499"/>
                  </a:lnTo>
                  <a:lnTo>
                    <a:pt x="745" y="519"/>
                  </a:lnTo>
                  <a:lnTo>
                    <a:pt x="745" y="536"/>
                  </a:lnTo>
                  <a:lnTo>
                    <a:pt x="745" y="555"/>
                  </a:lnTo>
                  <a:lnTo>
                    <a:pt x="745" y="536"/>
                  </a:lnTo>
                  <a:lnTo>
                    <a:pt x="704" y="519"/>
                  </a:lnTo>
                  <a:lnTo>
                    <a:pt x="685" y="519"/>
                  </a:lnTo>
                  <a:lnTo>
                    <a:pt x="664" y="519"/>
                  </a:lnTo>
                  <a:lnTo>
                    <a:pt x="605" y="519"/>
                  </a:lnTo>
                  <a:lnTo>
                    <a:pt x="584" y="499"/>
                  </a:lnTo>
                  <a:lnTo>
                    <a:pt x="584" y="465"/>
                  </a:lnTo>
                  <a:lnTo>
                    <a:pt x="545" y="465"/>
                  </a:lnTo>
                  <a:lnTo>
                    <a:pt x="524" y="446"/>
                  </a:lnTo>
                  <a:lnTo>
                    <a:pt x="482" y="428"/>
                  </a:lnTo>
                  <a:lnTo>
                    <a:pt x="482" y="446"/>
                  </a:lnTo>
                  <a:lnTo>
                    <a:pt x="463" y="428"/>
                  </a:lnTo>
                  <a:lnTo>
                    <a:pt x="441" y="428"/>
                  </a:lnTo>
                  <a:lnTo>
                    <a:pt x="422" y="446"/>
                  </a:lnTo>
                  <a:lnTo>
                    <a:pt x="382" y="428"/>
                  </a:lnTo>
                  <a:lnTo>
                    <a:pt x="382" y="411"/>
                  </a:lnTo>
                  <a:lnTo>
                    <a:pt x="401" y="411"/>
                  </a:lnTo>
                  <a:lnTo>
                    <a:pt x="422" y="411"/>
                  </a:lnTo>
                  <a:lnTo>
                    <a:pt x="441" y="411"/>
                  </a:lnTo>
                  <a:lnTo>
                    <a:pt x="463" y="411"/>
                  </a:lnTo>
                  <a:lnTo>
                    <a:pt x="482" y="411"/>
                  </a:lnTo>
                  <a:lnTo>
                    <a:pt x="503" y="411"/>
                  </a:lnTo>
                  <a:lnTo>
                    <a:pt x="524" y="392"/>
                  </a:lnTo>
                  <a:lnTo>
                    <a:pt x="503" y="392"/>
                  </a:lnTo>
                  <a:lnTo>
                    <a:pt x="503" y="375"/>
                  </a:lnTo>
                  <a:lnTo>
                    <a:pt x="482" y="375"/>
                  </a:lnTo>
                  <a:lnTo>
                    <a:pt x="503" y="357"/>
                  </a:lnTo>
                  <a:lnTo>
                    <a:pt x="524" y="357"/>
                  </a:lnTo>
                  <a:lnTo>
                    <a:pt x="545" y="357"/>
                  </a:lnTo>
                  <a:lnTo>
                    <a:pt x="545" y="340"/>
                  </a:lnTo>
                  <a:lnTo>
                    <a:pt x="545" y="323"/>
                  </a:lnTo>
                  <a:lnTo>
                    <a:pt x="545" y="286"/>
                  </a:lnTo>
                  <a:lnTo>
                    <a:pt x="503" y="250"/>
                  </a:lnTo>
                  <a:lnTo>
                    <a:pt x="463" y="233"/>
                  </a:lnTo>
                  <a:lnTo>
                    <a:pt x="463" y="250"/>
                  </a:lnTo>
                  <a:lnTo>
                    <a:pt x="441" y="250"/>
                  </a:lnTo>
                  <a:lnTo>
                    <a:pt x="422" y="250"/>
                  </a:lnTo>
                  <a:lnTo>
                    <a:pt x="422" y="233"/>
                  </a:lnTo>
                  <a:lnTo>
                    <a:pt x="441" y="233"/>
                  </a:lnTo>
                  <a:lnTo>
                    <a:pt x="422" y="213"/>
                  </a:lnTo>
                  <a:lnTo>
                    <a:pt x="401" y="179"/>
                  </a:lnTo>
                  <a:lnTo>
                    <a:pt x="363" y="179"/>
                  </a:lnTo>
                  <a:lnTo>
                    <a:pt x="342" y="179"/>
                  </a:lnTo>
                  <a:lnTo>
                    <a:pt x="342" y="196"/>
                  </a:lnTo>
                  <a:lnTo>
                    <a:pt x="322" y="213"/>
                  </a:lnTo>
                  <a:lnTo>
                    <a:pt x="301" y="213"/>
                  </a:lnTo>
                  <a:lnTo>
                    <a:pt x="301" y="196"/>
                  </a:lnTo>
                  <a:lnTo>
                    <a:pt x="261" y="179"/>
                  </a:lnTo>
                  <a:lnTo>
                    <a:pt x="202" y="196"/>
                  </a:lnTo>
                  <a:lnTo>
                    <a:pt x="142" y="196"/>
                  </a:lnTo>
                  <a:lnTo>
                    <a:pt x="142" y="179"/>
                  </a:lnTo>
                  <a:lnTo>
                    <a:pt x="121" y="179"/>
                  </a:lnTo>
                  <a:lnTo>
                    <a:pt x="102" y="179"/>
                  </a:lnTo>
                  <a:lnTo>
                    <a:pt x="81" y="179"/>
                  </a:lnTo>
                  <a:lnTo>
                    <a:pt x="61" y="179"/>
                  </a:lnTo>
                  <a:lnTo>
                    <a:pt x="42" y="160"/>
                  </a:lnTo>
                  <a:lnTo>
                    <a:pt x="19" y="142"/>
                  </a:lnTo>
                  <a:lnTo>
                    <a:pt x="42" y="142"/>
                  </a:lnTo>
                  <a:lnTo>
                    <a:pt x="61" y="142"/>
                  </a:lnTo>
                  <a:lnTo>
                    <a:pt x="81" y="142"/>
                  </a:lnTo>
                  <a:lnTo>
                    <a:pt x="81" y="125"/>
                  </a:lnTo>
                  <a:lnTo>
                    <a:pt x="61" y="125"/>
                  </a:lnTo>
                  <a:lnTo>
                    <a:pt x="19" y="125"/>
                  </a:lnTo>
                  <a:lnTo>
                    <a:pt x="19" y="106"/>
                  </a:lnTo>
                  <a:lnTo>
                    <a:pt x="0" y="106"/>
                  </a:lnTo>
                  <a:lnTo>
                    <a:pt x="19" y="69"/>
                  </a:lnTo>
                  <a:lnTo>
                    <a:pt x="19" y="52"/>
                  </a:lnTo>
                  <a:lnTo>
                    <a:pt x="19" y="35"/>
                  </a:lnTo>
                  <a:lnTo>
                    <a:pt x="61" y="0"/>
                  </a:lnTo>
                  <a:lnTo>
                    <a:pt x="81" y="0"/>
                  </a:lnTo>
                  <a:lnTo>
                    <a:pt x="121" y="0"/>
                  </a:lnTo>
                  <a:lnTo>
                    <a:pt x="142" y="0"/>
                  </a:lnTo>
                  <a:lnTo>
                    <a:pt x="142" y="16"/>
                  </a:lnTo>
                  <a:lnTo>
                    <a:pt x="121" y="35"/>
                  </a:lnTo>
                  <a:lnTo>
                    <a:pt x="102" y="52"/>
                  </a:lnTo>
                  <a:lnTo>
                    <a:pt x="102" y="69"/>
                  </a:lnTo>
                  <a:lnTo>
                    <a:pt x="121" y="69"/>
                  </a:lnTo>
                  <a:lnTo>
                    <a:pt x="121" y="89"/>
                  </a:lnTo>
                  <a:lnTo>
                    <a:pt x="142" y="89"/>
                  </a:lnTo>
                  <a:lnTo>
                    <a:pt x="142" y="69"/>
                  </a:lnTo>
                  <a:lnTo>
                    <a:pt x="142" y="52"/>
                  </a:lnTo>
                  <a:lnTo>
                    <a:pt x="161" y="16"/>
                  </a:lnTo>
                  <a:lnTo>
                    <a:pt x="221" y="0"/>
                  </a:lnTo>
                  <a:lnTo>
                    <a:pt x="261" y="0"/>
                  </a:lnTo>
                  <a:lnTo>
                    <a:pt x="282" y="0"/>
                  </a:lnTo>
                  <a:lnTo>
                    <a:pt x="282" y="35"/>
                  </a:lnTo>
                  <a:lnTo>
                    <a:pt x="301" y="69"/>
                  </a:lnTo>
                  <a:lnTo>
                    <a:pt x="322" y="69"/>
                  </a:lnTo>
                  <a:lnTo>
                    <a:pt x="342" y="69"/>
                  </a:lnTo>
                  <a:lnTo>
                    <a:pt x="363" y="69"/>
                  </a:lnTo>
                  <a:lnTo>
                    <a:pt x="382" y="69"/>
                  </a:lnTo>
                  <a:lnTo>
                    <a:pt x="401" y="52"/>
                  </a:lnTo>
                  <a:lnTo>
                    <a:pt x="422" y="52"/>
                  </a:lnTo>
                  <a:lnTo>
                    <a:pt x="441" y="69"/>
                  </a:lnTo>
                  <a:lnTo>
                    <a:pt x="482" y="69"/>
                  </a:lnTo>
                  <a:lnTo>
                    <a:pt x="482" y="89"/>
                  </a:lnTo>
                  <a:lnTo>
                    <a:pt x="503" y="106"/>
                  </a:lnTo>
                  <a:lnTo>
                    <a:pt x="545" y="125"/>
                  </a:lnTo>
                  <a:lnTo>
                    <a:pt x="564" y="125"/>
                  </a:lnTo>
                  <a:lnTo>
                    <a:pt x="584" y="125"/>
                  </a:lnTo>
                  <a:lnTo>
                    <a:pt x="605" y="125"/>
                  </a:lnTo>
                  <a:lnTo>
                    <a:pt x="624" y="142"/>
                  </a:lnTo>
                  <a:lnTo>
                    <a:pt x="664" y="160"/>
                  </a:lnTo>
                  <a:lnTo>
                    <a:pt x="685" y="160"/>
                  </a:lnTo>
                  <a:lnTo>
                    <a:pt x="685" y="179"/>
                  </a:lnTo>
                  <a:lnTo>
                    <a:pt x="704" y="179"/>
                  </a:lnTo>
                  <a:lnTo>
                    <a:pt x="724" y="179"/>
                  </a:lnTo>
                  <a:lnTo>
                    <a:pt x="745" y="196"/>
                  </a:lnTo>
                  <a:lnTo>
                    <a:pt x="724" y="196"/>
                  </a:lnTo>
                  <a:lnTo>
                    <a:pt x="704" y="213"/>
                  </a:lnTo>
                  <a:lnTo>
                    <a:pt x="685" y="213"/>
                  </a:lnTo>
                  <a:lnTo>
                    <a:pt x="704" y="213"/>
                  </a:lnTo>
                  <a:lnTo>
                    <a:pt x="724" y="213"/>
                  </a:lnTo>
                  <a:lnTo>
                    <a:pt x="745" y="213"/>
                  </a:lnTo>
                  <a:lnTo>
                    <a:pt x="745" y="233"/>
                  </a:lnTo>
                  <a:lnTo>
                    <a:pt x="724" y="233"/>
                  </a:lnTo>
                  <a:lnTo>
                    <a:pt x="704" y="250"/>
                  </a:lnTo>
                  <a:lnTo>
                    <a:pt x="724" y="250"/>
                  </a:lnTo>
                  <a:lnTo>
                    <a:pt x="745" y="250"/>
                  </a:lnTo>
                  <a:lnTo>
                    <a:pt x="745" y="269"/>
                  </a:lnTo>
                  <a:lnTo>
                    <a:pt x="764" y="286"/>
                  </a:lnTo>
                  <a:lnTo>
                    <a:pt x="785" y="304"/>
                  </a:lnTo>
                  <a:lnTo>
                    <a:pt x="804" y="304"/>
                  </a:lnTo>
                  <a:lnTo>
                    <a:pt x="804" y="323"/>
                  </a:lnTo>
                  <a:lnTo>
                    <a:pt x="825" y="323"/>
                  </a:lnTo>
                  <a:lnTo>
                    <a:pt x="845" y="323"/>
                  </a:lnTo>
                  <a:lnTo>
                    <a:pt x="866" y="340"/>
                  </a:lnTo>
                  <a:lnTo>
                    <a:pt x="885" y="340"/>
                  </a:lnTo>
                  <a:lnTo>
                    <a:pt x="885" y="357"/>
                  </a:lnTo>
                  <a:lnTo>
                    <a:pt x="904" y="357"/>
                  </a:lnTo>
                  <a:lnTo>
                    <a:pt x="885" y="357"/>
                  </a:lnTo>
                  <a:lnTo>
                    <a:pt x="885" y="375"/>
                  </a:lnTo>
                  <a:lnTo>
                    <a:pt x="885" y="392"/>
                  </a:lnTo>
                  <a:lnTo>
                    <a:pt x="866" y="392"/>
                  </a:lnTo>
                  <a:lnTo>
                    <a:pt x="845" y="392"/>
                  </a:lnTo>
                  <a:close/>
                </a:path>
              </a:pathLst>
            </a:custGeom>
            <a:solidFill>
              <a:srgbClr val="C0C0C0"/>
            </a:solidFill>
            <a:ln w="9525">
              <a:solidFill>
                <a:srgbClr val="C0C0C0"/>
              </a:solidFill>
              <a:round/>
              <a:headEnd/>
              <a:tailEnd/>
            </a:ln>
          </p:spPr>
          <p:txBody>
            <a:bodyPr/>
            <a:lstStyle/>
            <a:p>
              <a:endParaRPr lang="en-US"/>
            </a:p>
          </p:txBody>
        </p:sp>
        <p:sp>
          <p:nvSpPr>
            <p:cNvPr id="9446" name="Freeform 137"/>
            <p:cNvSpPr>
              <a:spLocks/>
            </p:cNvSpPr>
            <p:nvPr/>
          </p:nvSpPr>
          <p:spPr bwMode="auto">
            <a:xfrm>
              <a:off x="1713" y="1706"/>
              <a:ext cx="22" cy="9"/>
            </a:xfrm>
            <a:custGeom>
              <a:avLst/>
              <a:gdLst>
                <a:gd name="T0" fmla="*/ 1 w 42"/>
                <a:gd name="T1" fmla="*/ 1 h 17"/>
                <a:gd name="T2" fmla="*/ 1 w 42"/>
                <a:gd name="T3" fmla="*/ 1 h 17"/>
                <a:gd name="T4" fmla="*/ 0 w 42"/>
                <a:gd name="T5" fmla="*/ 1 h 17"/>
                <a:gd name="T6" fmla="*/ 1 w 42"/>
                <a:gd name="T7" fmla="*/ 0 h 17"/>
                <a:gd name="T8" fmla="*/ 1 w 42"/>
                <a:gd name="T9" fmla="*/ 1 h 17"/>
                <a:gd name="T10" fmla="*/ 1 w 42"/>
                <a:gd name="T11" fmla="*/ 1 h 17"/>
                <a:gd name="T12" fmla="*/ 0 60000 65536"/>
                <a:gd name="T13" fmla="*/ 0 60000 65536"/>
                <a:gd name="T14" fmla="*/ 0 60000 65536"/>
                <a:gd name="T15" fmla="*/ 0 60000 65536"/>
                <a:gd name="T16" fmla="*/ 0 60000 65536"/>
                <a:gd name="T17" fmla="*/ 0 60000 65536"/>
                <a:gd name="T18" fmla="*/ 0 w 42"/>
                <a:gd name="T19" fmla="*/ 0 h 17"/>
                <a:gd name="T20" fmla="*/ 42 w 42"/>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42" h="17">
                  <a:moveTo>
                    <a:pt x="42" y="17"/>
                  </a:moveTo>
                  <a:lnTo>
                    <a:pt x="21" y="17"/>
                  </a:lnTo>
                  <a:lnTo>
                    <a:pt x="0" y="17"/>
                  </a:lnTo>
                  <a:lnTo>
                    <a:pt x="21" y="0"/>
                  </a:lnTo>
                  <a:lnTo>
                    <a:pt x="21" y="17"/>
                  </a:lnTo>
                  <a:lnTo>
                    <a:pt x="42" y="17"/>
                  </a:lnTo>
                  <a:close/>
                </a:path>
              </a:pathLst>
            </a:custGeom>
            <a:solidFill>
              <a:srgbClr val="C0C0C0"/>
            </a:solidFill>
            <a:ln w="9525">
              <a:solidFill>
                <a:srgbClr val="C0C0C0"/>
              </a:solidFill>
              <a:round/>
              <a:headEnd/>
              <a:tailEnd/>
            </a:ln>
          </p:spPr>
          <p:txBody>
            <a:bodyPr/>
            <a:lstStyle/>
            <a:p>
              <a:endParaRPr lang="en-US"/>
            </a:p>
          </p:txBody>
        </p:sp>
        <p:sp>
          <p:nvSpPr>
            <p:cNvPr id="9447" name="Freeform 138"/>
            <p:cNvSpPr>
              <a:spLocks/>
            </p:cNvSpPr>
            <p:nvPr/>
          </p:nvSpPr>
          <p:spPr bwMode="auto">
            <a:xfrm>
              <a:off x="1623" y="1661"/>
              <a:ext cx="20" cy="8"/>
            </a:xfrm>
            <a:custGeom>
              <a:avLst/>
              <a:gdLst>
                <a:gd name="T0" fmla="*/ 0 w 41"/>
                <a:gd name="T1" fmla="*/ 0 h 17"/>
                <a:gd name="T2" fmla="*/ 0 w 41"/>
                <a:gd name="T3" fmla="*/ 0 h 17"/>
                <a:gd name="T4" fmla="*/ 0 w 41"/>
                <a:gd name="T5" fmla="*/ 0 h 17"/>
                <a:gd name="T6" fmla="*/ 0 w 41"/>
                <a:gd name="T7" fmla="*/ 0 h 17"/>
                <a:gd name="T8" fmla="*/ 0 w 41"/>
                <a:gd name="T9" fmla="*/ 0 h 17"/>
                <a:gd name="T10" fmla="*/ 0 60000 65536"/>
                <a:gd name="T11" fmla="*/ 0 60000 65536"/>
                <a:gd name="T12" fmla="*/ 0 60000 65536"/>
                <a:gd name="T13" fmla="*/ 0 60000 65536"/>
                <a:gd name="T14" fmla="*/ 0 60000 65536"/>
                <a:gd name="T15" fmla="*/ 0 w 41"/>
                <a:gd name="T16" fmla="*/ 0 h 17"/>
                <a:gd name="T17" fmla="*/ 41 w 41"/>
                <a:gd name="T18" fmla="*/ 17 h 17"/>
              </a:gdLst>
              <a:ahLst/>
              <a:cxnLst>
                <a:cxn ang="T10">
                  <a:pos x="T0" y="T1"/>
                </a:cxn>
                <a:cxn ang="T11">
                  <a:pos x="T2" y="T3"/>
                </a:cxn>
                <a:cxn ang="T12">
                  <a:pos x="T4" y="T5"/>
                </a:cxn>
                <a:cxn ang="T13">
                  <a:pos x="T6" y="T7"/>
                </a:cxn>
                <a:cxn ang="T14">
                  <a:pos x="T8" y="T9"/>
                </a:cxn>
              </a:cxnLst>
              <a:rect l="T15" t="T16" r="T17" b="T18"/>
              <a:pathLst>
                <a:path w="41" h="17">
                  <a:moveTo>
                    <a:pt x="0" y="0"/>
                  </a:moveTo>
                  <a:lnTo>
                    <a:pt x="22" y="0"/>
                  </a:lnTo>
                  <a:lnTo>
                    <a:pt x="41" y="17"/>
                  </a:lnTo>
                  <a:lnTo>
                    <a:pt x="22" y="17"/>
                  </a:lnTo>
                  <a:lnTo>
                    <a:pt x="0" y="0"/>
                  </a:lnTo>
                </a:path>
              </a:pathLst>
            </a:custGeom>
            <a:solidFill>
              <a:srgbClr val="C0C0C0"/>
            </a:solidFill>
            <a:ln w="9525">
              <a:solidFill>
                <a:srgbClr val="C0C0C0"/>
              </a:solidFill>
              <a:round/>
              <a:headEnd/>
              <a:tailEnd/>
            </a:ln>
          </p:spPr>
          <p:txBody>
            <a:bodyPr/>
            <a:lstStyle/>
            <a:p>
              <a:endParaRPr lang="en-US"/>
            </a:p>
          </p:txBody>
        </p:sp>
        <p:sp>
          <p:nvSpPr>
            <p:cNvPr id="9448" name="Freeform 139"/>
            <p:cNvSpPr>
              <a:spLocks/>
            </p:cNvSpPr>
            <p:nvPr/>
          </p:nvSpPr>
          <p:spPr bwMode="auto">
            <a:xfrm>
              <a:off x="2016" y="1948"/>
              <a:ext cx="90" cy="88"/>
            </a:xfrm>
            <a:custGeom>
              <a:avLst/>
              <a:gdLst>
                <a:gd name="T0" fmla="*/ 1 w 180"/>
                <a:gd name="T1" fmla="*/ 0 h 177"/>
                <a:gd name="T2" fmla="*/ 0 w 180"/>
                <a:gd name="T3" fmla="*/ 0 h 177"/>
                <a:gd name="T4" fmla="*/ 0 w 180"/>
                <a:gd name="T5" fmla="*/ 0 h 177"/>
                <a:gd name="T6" fmla="*/ 1 w 180"/>
                <a:gd name="T7" fmla="*/ 0 h 177"/>
                <a:gd name="T8" fmla="*/ 1 w 180"/>
                <a:gd name="T9" fmla="*/ 0 h 177"/>
                <a:gd name="T10" fmla="*/ 1 w 180"/>
                <a:gd name="T11" fmla="*/ 0 h 177"/>
                <a:gd name="T12" fmla="*/ 1 w 180"/>
                <a:gd name="T13" fmla="*/ 0 h 177"/>
                <a:gd name="T14" fmla="*/ 1 w 180"/>
                <a:gd name="T15" fmla="*/ 0 h 177"/>
                <a:gd name="T16" fmla="*/ 1 w 180"/>
                <a:gd name="T17" fmla="*/ 0 h 177"/>
                <a:gd name="T18" fmla="*/ 1 w 180"/>
                <a:gd name="T19" fmla="*/ 0 h 177"/>
                <a:gd name="T20" fmla="*/ 1 w 180"/>
                <a:gd name="T21" fmla="*/ 0 h 177"/>
                <a:gd name="T22" fmla="*/ 1 w 180"/>
                <a:gd name="T23" fmla="*/ 0 h 177"/>
                <a:gd name="T24" fmla="*/ 1 w 180"/>
                <a:gd name="T25" fmla="*/ 0 h 177"/>
                <a:gd name="T26" fmla="*/ 1 w 180"/>
                <a:gd name="T27" fmla="*/ 0 h 177"/>
                <a:gd name="T28" fmla="*/ 1 w 180"/>
                <a:gd name="T29" fmla="*/ 0 h 177"/>
                <a:gd name="T30" fmla="*/ 1 w 180"/>
                <a:gd name="T31" fmla="*/ 0 h 177"/>
                <a:gd name="T32" fmla="*/ 1 w 180"/>
                <a:gd name="T33" fmla="*/ 0 h 177"/>
                <a:gd name="T34" fmla="*/ 1 w 180"/>
                <a:gd name="T35" fmla="*/ 0 h 177"/>
                <a:gd name="T36" fmla="*/ 1 w 180"/>
                <a:gd name="T37" fmla="*/ 0 h 177"/>
                <a:gd name="T38" fmla="*/ 1 w 180"/>
                <a:gd name="T39" fmla="*/ 0 h 177"/>
                <a:gd name="T40" fmla="*/ 1 w 180"/>
                <a:gd name="T41" fmla="*/ 0 h 177"/>
                <a:gd name="T42" fmla="*/ 1 w 180"/>
                <a:gd name="T43" fmla="*/ 0 h 177"/>
                <a:gd name="T44" fmla="*/ 1 w 180"/>
                <a:gd name="T45" fmla="*/ 0 h 177"/>
                <a:gd name="T46" fmla="*/ 1 w 180"/>
                <a:gd name="T47" fmla="*/ 0 h 177"/>
                <a:gd name="T48" fmla="*/ 1 w 180"/>
                <a:gd name="T49" fmla="*/ 0 h 177"/>
                <a:gd name="T50" fmla="*/ 1 w 180"/>
                <a:gd name="T51" fmla="*/ 0 h 177"/>
                <a:gd name="T52" fmla="*/ 1 w 180"/>
                <a:gd name="T53" fmla="*/ 0 h 177"/>
                <a:gd name="T54" fmla="*/ 1 w 180"/>
                <a:gd name="T55" fmla="*/ 0 h 177"/>
                <a:gd name="T56" fmla="*/ 1 w 180"/>
                <a:gd name="T57" fmla="*/ 0 h 177"/>
                <a:gd name="T58" fmla="*/ 1 w 180"/>
                <a:gd name="T59" fmla="*/ 0 h 177"/>
                <a:gd name="T60" fmla="*/ 1 w 180"/>
                <a:gd name="T61" fmla="*/ 0 h 177"/>
                <a:gd name="T62" fmla="*/ 1 w 180"/>
                <a:gd name="T63" fmla="*/ 0 h 177"/>
                <a:gd name="T64" fmla="*/ 1 w 180"/>
                <a:gd name="T65" fmla="*/ 0 h 177"/>
                <a:gd name="T66" fmla="*/ 1 w 180"/>
                <a:gd name="T67" fmla="*/ 0 h 177"/>
                <a:gd name="T68" fmla="*/ 1 w 180"/>
                <a:gd name="T69" fmla="*/ 0 h 177"/>
                <a:gd name="T70" fmla="*/ 1 w 180"/>
                <a:gd name="T71" fmla="*/ 0 h 177"/>
                <a:gd name="T72" fmla="*/ 1 w 180"/>
                <a:gd name="T73" fmla="*/ 0 h 177"/>
                <a:gd name="T74" fmla="*/ 1 w 180"/>
                <a:gd name="T75" fmla="*/ 0 h 177"/>
                <a:gd name="T76" fmla="*/ 1 w 180"/>
                <a:gd name="T77" fmla="*/ 0 h 177"/>
                <a:gd name="T78" fmla="*/ 1 w 180"/>
                <a:gd name="T79" fmla="*/ 0 h 17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0"/>
                <a:gd name="T121" fmla="*/ 0 h 177"/>
                <a:gd name="T122" fmla="*/ 180 w 180"/>
                <a:gd name="T123" fmla="*/ 177 h 17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0" h="177">
                  <a:moveTo>
                    <a:pt x="19" y="160"/>
                  </a:moveTo>
                  <a:lnTo>
                    <a:pt x="0" y="160"/>
                  </a:lnTo>
                  <a:lnTo>
                    <a:pt x="0" y="143"/>
                  </a:lnTo>
                  <a:lnTo>
                    <a:pt x="19" y="143"/>
                  </a:lnTo>
                  <a:lnTo>
                    <a:pt x="19" y="125"/>
                  </a:lnTo>
                  <a:lnTo>
                    <a:pt x="42" y="125"/>
                  </a:lnTo>
                  <a:lnTo>
                    <a:pt x="19" y="125"/>
                  </a:lnTo>
                  <a:lnTo>
                    <a:pt x="19" y="108"/>
                  </a:lnTo>
                  <a:lnTo>
                    <a:pt x="42" y="108"/>
                  </a:lnTo>
                  <a:lnTo>
                    <a:pt x="61" y="54"/>
                  </a:lnTo>
                  <a:lnTo>
                    <a:pt x="80" y="37"/>
                  </a:lnTo>
                  <a:lnTo>
                    <a:pt x="80" y="18"/>
                  </a:lnTo>
                  <a:lnTo>
                    <a:pt x="101" y="18"/>
                  </a:lnTo>
                  <a:lnTo>
                    <a:pt x="101" y="0"/>
                  </a:lnTo>
                  <a:lnTo>
                    <a:pt x="101" y="18"/>
                  </a:lnTo>
                  <a:lnTo>
                    <a:pt x="101" y="37"/>
                  </a:lnTo>
                  <a:lnTo>
                    <a:pt x="101" y="54"/>
                  </a:lnTo>
                  <a:lnTo>
                    <a:pt x="101" y="71"/>
                  </a:lnTo>
                  <a:lnTo>
                    <a:pt x="101" y="91"/>
                  </a:lnTo>
                  <a:lnTo>
                    <a:pt x="120" y="91"/>
                  </a:lnTo>
                  <a:lnTo>
                    <a:pt x="142" y="91"/>
                  </a:lnTo>
                  <a:lnTo>
                    <a:pt x="161" y="91"/>
                  </a:lnTo>
                  <a:lnTo>
                    <a:pt x="161" y="108"/>
                  </a:lnTo>
                  <a:lnTo>
                    <a:pt x="161" y="125"/>
                  </a:lnTo>
                  <a:lnTo>
                    <a:pt x="161" y="143"/>
                  </a:lnTo>
                  <a:lnTo>
                    <a:pt x="180" y="143"/>
                  </a:lnTo>
                  <a:lnTo>
                    <a:pt x="180" y="160"/>
                  </a:lnTo>
                  <a:lnTo>
                    <a:pt x="180" y="177"/>
                  </a:lnTo>
                  <a:lnTo>
                    <a:pt x="161" y="177"/>
                  </a:lnTo>
                  <a:lnTo>
                    <a:pt x="161" y="160"/>
                  </a:lnTo>
                  <a:lnTo>
                    <a:pt x="142" y="143"/>
                  </a:lnTo>
                  <a:lnTo>
                    <a:pt x="142" y="160"/>
                  </a:lnTo>
                  <a:lnTo>
                    <a:pt x="120" y="160"/>
                  </a:lnTo>
                  <a:lnTo>
                    <a:pt x="101" y="160"/>
                  </a:lnTo>
                  <a:lnTo>
                    <a:pt x="120" y="160"/>
                  </a:lnTo>
                  <a:lnTo>
                    <a:pt x="101" y="160"/>
                  </a:lnTo>
                  <a:lnTo>
                    <a:pt x="80" y="160"/>
                  </a:lnTo>
                  <a:lnTo>
                    <a:pt x="61" y="160"/>
                  </a:lnTo>
                  <a:lnTo>
                    <a:pt x="42" y="160"/>
                  </a:lnTo>
                  <a:lnTo>
                    <a:pt x="19" y="160"/>
                  </a:lnTo>
                  <a:close/>
                </a:path>
              </a:pathLst>
            </a:custGeom>
            <a:solidFill>
              <a:srgbClr val="C0C0C0"/>
            </a:solidFill>
            <a:ln w="9525">
              <a:solidFill>
                <a:srgbClr val="C0C0C0"/>
              </a:solidFill>
              <a:round/>
              <a:headEnd/>
              <a:tailEnd/>
            </a:ln>
          </p:spPr>
          <p:txBody>
            <a:bodyPr/>
            <a:lstStyle/>
            <a:p>
              <a:endParaRPr lang="en-US"/>
            </a:p>
          </p:txBody>
        </p:sp>
        <p:sp>
          <p:nvSpPr>
            <p:cNvPr id="9449" name="Freeform 140"/>
            <p:cNvSpPr>
              <a:spLocks/>
            </p:cNvSpPr>
            <p:nvPr/>
          </p:nvSpPr>
          <p:spPr bwMode="auto">
            <a:xfrm>
              <a:off x="1664" y="1921"/>
              <a:ext cx="20" cy="17"/>
            </a:xfrm>
            <a:custGeom>
              <a:avLst/>
              <a:gdLst>
                <a:gd name="T0" fmla="*/ 0 w 40"/>
                <a:gd name="T1" fmla="*/ 0 h 34"/>
                <a:gd name="T2" fmla="*/ 1 w 40"/>
                <a:gd name="T3" fmla="*/ 0 h 34"/>
                <a:gd name="T4" fmla="*/ 1 w 40"/>
                <a:gd name="T5" fmla="*/ 1 h 34"/>
                <a:gd name="T6" fmla="*/ 1 w 40"/>
                <a:gd name="T7" fmla="*/ 1 h 34"/>
                <a:gd name="T8" fmla="*/ 1 w 40"/>
                <a:gd name="T9" fmla="*/ 1 h 34"/>
                <a:gd name="T10" fmla="*/ 1 w 40"/>
                <a:gd name="T11" fmla="*/ 1 h 34"/>
                <a:gd name="T12" fmla="*/ 1 w 40"/>
                <a:gd name="T13" fmla="*/ 1 h 34"/>
                <a:gd name="T14" fmla="*/ 0 w 40"/>
                <a:gd name="T15" fmla="*/ 1 h 34"/>
                <a:gd name="T16" fmla="*/ 0 w 40"/>
                <a:gd name="T17" fmla="*/ 0 h 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34"/>
                <a:gd name="T29" fmla="*/ 40 w 40"/>
                <a:gd name="T30" fmla="*/ 34 h 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34">
                  <a:moveTo>
                    <a:pt x="0" y="0"/>
                  </a:moveTo>
                  <a:lnTo>
                    <a:pt x="19" y="0"/>
                  </a:lnTo>
                  <a:lnTo>
                    <a:pt x="19" y="17"/>
                  </a:lnTo>
                  <a:lnTo>
                    <a:pt x="40" y="17"/>
                  </a:lnTo>
                  <a:lnTo>
                    <a:pt x="40" y="34"/>
                  </a:lnTo>
                  <a:lnTo>
                    <a:pt x="19" y="34"/>
                  </a:lnTo>
                  <a:lnTo>
                    <a:pt x="19" y="17"/>
                  </a:lnTo>
                  <a:lnTo>
                    <a:pt x="0" y="17"/>
                  </a:lnTo>
                  <a:lnTo>
                    <a:pt x="0" y="0"/>
                  </a:lnTo>
                  <a:close/>
                </a:path>
              </a:pathLst>
            </a:custGeom>
            <a:solidFill>
              <a:srgbClr val="C0C0C0"/>
            </a:solidFill>
            <a:ln w="9525">
              <a:solidFill>
                <a:srgbClr val="C0C0C0"/>
              </a:solidFill>
              <a:round/>
              <a:headEnd/>
              <a:tailEnd/>
            </a:ln>
          </p:spPr>
          <p:txBody>
            <a:bodyPr/>
            <a:lstStyle/>
            <a:p>
              <a:endParaRPr lang="en-US"/>
            </a:p>
          </p:txBody>
        </p:sp>
        <p:sp>
          <p:nvSpPr>
            <p:cNvPr id="9450" name="Freeform 141"/>
            <p:cNvSpPr>
              <a:spLocks/>
            </p:cNvSpPr>
            <p:nvPr/>
          </p:nvSpPr>
          <p:spPr bwMode="auto">
            <a:xfrm>
              <a:off x="1935" y="1983"/>
              <a:ext cx="40" cy="18"/>
            </a:xfrm>
            <a:custGeom>
              <a:avLst/>
              <a:gdLst>
                <a:gd name="T0" fmla="*/ 0 w 81"/>
                <a:gd name="T1" fmla="*/ 0 h 37"/>
                <a:gd name="T2" fmla="*/ 0 w 81"/>
                <a:gd name="T3" fmla="*/ 0 h 37"/>
                <a:gd name="T4" fmla="*/ 0 w 81"/>
                <a:gd name="T5" fmla="*/ 0 h 37"/>
                <a:gd name="T6" fmla="*/ 0 w 81"/>
                <a:gd name="T7" fmla="*/ 0 h 37"/>
                <a:gd name="T8" fmla="*/ 0 w 81"/>
                <a:gd name="T9" fmla="*/ 0 h 37"/>
                <a:gd name="T10" fmla="*/ 0 w 81"/>
                <a:gd name="T11" fmla="*/ 0 h 37"/>
                <a:gd name="T12" fmla="*/ 0 w 81"/>
                <a:gd name="T13" fmla="*/ 0 h 37"/>
                <a:gd name="T14" fmla="*/ 0 60000 65536"/>
                <a:gd name="T15" fmla="*/ 0 60000 65536"/>
                <a:gd name="T16" fmla="*/ 0 60000 65536"/>
                <a:gd name="T17" fmla="*/ 0 60000 65536"/>
                <a:gd name="T18" fmla="*/ 0 60000 65536"/>
                <a:gd name="T19" fmla="*/ 0 60000 65536"/>
                <a:gd name="T20" fmla="*/ 0 60000 65536"/>
                <a:gd name="T21" fmla="*/ 0 w 81"/>
                <a:gd name="T22" fmla="*/ 0 h 37"/>
                <a:gd name="T23" fmla="*/ 81 w 81"/>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1" h="37">
                  <a:moveTo>
                    <a:pt x="81" y="37"/>
                  </a:moveTo>
                  <a:lnTo>
                    <a:pt x="62" y="20"/>
                  </a:lnTo>
                  <a:lnTo>
                    <a:pt x="41" y="0"/>
                  </a:lnTo>
                  <a:lnTo>
                    <a:pt x="0" y="0"/>
                  </a:lnTo>
                  <a:lnTo>
                    <a:pt x="21" y="20"/>
                  </a:lnTo>
                  <a:lnTo>
                    <a:pt x="62" y="37"/>
                  </a:lnTo>
                  <a:lnTo>
                    <a:pt x="81" y="37"/>
                  </a:lnTo>
                  <a:close/>
                </a:path>
              </a:pathLst>
            </a:custGeom>
            <a:solidFill>
              <a:srgbClr val="C0C0C0"/>
            </a:solidFill>
            <a:ln w="9525">
              <a:solidFill>
                <a:srgbClr val="C0C0C0"/>
              </a:solidFill>
              <a:round/>
              <a:headEnd/>
              <a:tailEnd/>
            </a:ln>
          </p:spPr>
          <p:txBody>
            <a:bodyPr/>
            <a:lstStyle/>
            <a:p>
              <a:endParaRPr lang="en-US"/>
            </a:p>
          </p:txBody>
        </p:sp>
        <p:sp>
          <p:nvSpPr>
            <p:cNvPr id="9451" name="Freeform 142"/>
            <p:cNvSpPr>
              <a:spLocks/>
            </p:cNvSpPr>
            <p:nvPr/>
          </p:nvSpPr>
          <p:spPr bwMode="auto">
            <a:xfrm>
              <a:off x="1935" y="2036"/>
              <a:ext cx="40" cy="18"/>
            </a:xfrm>
            <a:custGeom>
              <a:avLst/>
              <a:gdLst>
                <a:gd name="T0" fmla="*/ 0 w 81"/>
                <a:gd name="T1" fmla="*/ 0 h 37"/>
                <a:gd name="T2" fmla="*/ 0 w 81"/>
                <a:gd name="T3" fmla="*/ 0 h 37"/>
                <a:gd name="T4" fmla="*/ 0 w 81"/>
                <a:gd name="T5" fmla="*/ 0 h 37"/>
                <a:gd name="T6" fmla="*/ 0 w 81"/>
                <a:gd name="T7" fmla="*/ 0 h 37"/>
                <a:gd name="T8" fmla="*/ 0 w 81"/>
                <a:gd name="T9" fmla="*/ 0 h 37"/>
                <a:gd name="T10" fmla="*/ 0 w 81"/>
                <a:gd name="T11" fmla="*/ 0 h 37"/>
                <a:gd name="T12" fmla="*/ 0 w 81"/>
                <a:gd name="T13" fmla="*/ 0 h 37"/>
                <a:gd name="T14" fmla="*/ 0 w 81"/>
                <a:gd name="T15" fmla="*/ 0 h 37"/>
                <a:gd name="T16" fmla="*/ 0 w 81"/>
                <a:gd name="T17" fmla="*/ 0 h 37"/>
                <a:gd name="T18" fmla="*/ 0 w 81"/>
                <a:gd name="T19" fmla="*/ 0 h 37"/>
                <a:gd name="T20" fmla="*/ 0 w 81"/>
                <a:gd name="T21" fmla="*/ 0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37"/>
                <a:gd name="T35" fmla="*/ 81 w 81"/>
                <a:gd name="T36" fmla="*/ 37 h 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37">
                  <a:moveTo>
                    <a:pt x="21" y="0"/>
                  </a:moveTo>
                  <a:lnTo>
                    <a:pt x="21" y="19"/>
                  </a:lnTo>
                  <a:lnTo>
                    <a:pt x="41" y="19"/>
                  </a:lnTo>
                  <a:lnTo>
                    <a:pt x="62" y="19"/>
                  </a:lnTo>
                  <a:lnTo>
                    <a:pt x="81" y="19"/>
                  </a:lnTo>
                  <a:lnTo>
                    <a:pt x="81" y="37"/>
                  </a:lnTo>
                  <a:lnTo>
                    <a:pt x="62" y="37"/>
                  </a:lnTo>
                  <a:lnTo>
                    <a:pt x="41" y="37"/>
                  </a:lnTo>
                  <a:lnTo>
                    <a:pt x="21" y="19"/>
                  </a:lnTo>
                  <a:lnTo>
                    <a:pt x="0" y="0"/>
                  </a:lnTo>
                  <a:lnTo>
                    <a:pt x="21" y="0"/>
                  </a:lnTo>
                  <a:close/>
                </a:path>
              </a:pathLst>
            </a:custGeom>
            <a:solidFill>
              <a:srgbClr val="C0C0C0"/>
            </a:solidFill>
            <a:ln w="9525">
              <a:solidFill>
                <a:srgbClr val="C0C0C0"/>
              </a:solidFill>
              <a:round/>
              <a:headEnd/>
              <a:tailEnd/>
            </a:ln>
          </p:spPr>
          <p:txBody>
            <a:bodyPr/>
            <a:lstStyle/>
            <a:p>
              <a:endParaRPr lang="en-US"/>
            </a:p>
          </p:txBody>
        </p:sp>
        <p:sp>
          <p:nvSpPr>
            <p:cNvPr id="9452" name="Freeform 143"/>
            <p:cNvSpPr>
              <a:spLocks/>
            </p:cNvSpPr>
            <p:nvPr/>
          </p:nvSpPr>
          <p:spPr bwMode="auto">
            <a:xfrm>
              <a:off x="1985" y="2036"/>
              <a:ext cx="20" cy="18"/>
            </a:xfrm>
            <a:custGeom>
              <a:avLst/>
              <a:gdLst>
                <a:gd name="T0" fmla="*/ 1 w 40"/>
                <a:gd name="T1" fmla="*/ 0 h 37"/>
                <a:gd name="T2" fmla="*/ 1 w 40"/>
                <a:gd name="T3" fmla="*/ 0 h 37"/>
                <a:gd name="T4" fmla="*/ 0 w 40"/>
                <a:gd name="T5" fmla="*/ 0 h 37"/>
                <a:gd name="T6" fmla="*/ 0 w 40"/>
                <a:gd name="T7" fmla="*/ 0 h 37"/>
                <a:gd name="T8" fmla="*/ 1 w 40"/>
                <a:gd name="T9" fmla="*/ 0 h 37"/>
                <a:gd name="T10" fmla="*/ 1 w 40"/>
                <a:gd name="T11" fmla="*/ 0 h 37"/>
                <a:gd name="T12" fmla="*/ 1 w 40"/>
                <a:gd name="T13" fmla="*/ 0 h 37"/>
                <a:gd name="T14" fmla="*/ 1 w 40"/>
                <a:gd name="T15" fmla="*/ 0 h 37"/>
                <a:gd name="T16" fmla="*/ 0 60000 65536"/>
                <a:gd name="T17" fmla="*/ 0 60000 65536"/>
                <a:gd name="T18" fmla="*/ 0 60000 65536"/>
                <a:gd name="T19" fmla="*/ 0 60000 65536"/>
                <a:gd name="T20" fmla="*/ 0 60000 65536"/>
                <a:gd name="T21" fmla="*/ 0 60000 65536"/>
                <a:gd name="T22" fmla="*/ 0 60000 65536"/>
                <a:gd name="T23" fmla="*/ 0 60000 65536"/>
                <a:gd name="T24" fmla="*/ 0 w 40"/>
                <a:gd name="T25" fmla="*/ 0 h 37"/>
                <a:gd name="T26" fmla="*/ 40 w 40"/>
                <a:gd name="T27" fmla="*/ 37 h 3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 h="37">
                  <a:moveTo>
                    <a:pt x="40" y="37"/>
                  </a:moveTo>
                  <a:lnTo>
                    <a:pt x="21" y="37"/>
                  </a:lnTo>
                  <a:lnTo>
                    <a:pt x="0" y="37"/>
                  </a:lnTo>
                  <a:lnTo>
                    <a:pt x="0" y="19"/>
                  </a:lnTo>
                  <a:lnTo>
                    <a:pt x="21" y="0"/>
                  </a:lnTo>
                  <a:lnTo>
                    <a:pt x="40" y="0"/>
                  </a:lnTo>
                  <a:lnTo>
                    <a:pt x="40" y="19"/>
                  </a:lnTo>
                  <a:lnTo>
                    <a:pt x="40" y="37"/>
                  </a:lnTo>
                  <a:close/>
                </a:path>
              </a:pathLst>
            </a:custGeom>
            <a:solidFill>
              <a:srgbClr val="C0C0C0"/>
            </a:solidFill>
            <a:ln w="9525">
              <a:solidFill>
                <a:srgbClr val="C0C0C0"/>
              </a:solidFill>
              <a:round/>
              <a:headEnd/>
              <a:tailEnd/>
            </a:ln>
          </p:spPr>
          <p:txBody>
            <a:bodyPr/>
            <a:lstStyle/>
            <a:p>
              <a:endParaRPr lang="en-US"/>
            </a:p>
          </p:txBody>
        </p:sp>
        <p:sp>
          <p:nvSpPr>
            <p:cNvPr id="9453" name="Freeform 144"/>
            <p:cNvSpPr>
              <a:spLocks/>
            </p:cNvSpPr>
            <p:nvPr/>
          </p:nvSpPr>
          <p:spPr bwMode="auto">
            <a:xfrm>
              <a:off x="1502" y="1178"/>
              <a:ext cx="483" cy="224"/>
            </a:xfrm>
            <a:custGeom>
              <a:avLst/>
              <a:gdLst>
                <a:gd name="T0" fmla="*/ 1 w 965"/>
                <a:gd name="T1" fmla="*/ 1 h 447"/>
                <a:gd name="T2" fmla="*/ 1 w 965"/>
                <a:gd name="T3" fmla="*/ 1 h 447"/>
                <a:gd name="T4" fmla="*/ 1 w 965"/>
                <a:gd name="T5" fmla="*/ 1 h 447"/>
                <a:gd name="T6" fmla="*/ 1 w 965"/>
                <a:gd name="T7" fmla="*/ 1 h 447"/>
                <a:gd name="T8" fmla="*/ 1 w 965"/>
                <a:gd name="T9" fmla="*/ 1 h 447"/>
                <a:gd name="T10" fmla="*/ 1 w 965"/>
                <a:gd name="T11" fmla="*/ 1 h 447"/>
                <a:gd name="T12" fmla="*/ 1 w 965"/>
                <a:gd name="T13" fmla="*/ 1 h 447"/>
                <a:gd name="T14" fmla="*/ 1 w 965"/>
                <a:gd name="T15" fmla="*/ 1 h 447"/>
                <a:gd name="T16" fmla="*/ 1 w 965"/>
                <a:gd name="T17" fmla="*/ 1 h 447"/>
                <a:gd name="T18" fmla="*/ 1 w 965"/>
                <a:gd name="T19" fmla="*/ 1 h 447"/>
                <a:gd name="T20" fmla="*/ 1 w 965"/>
                <a:gd name="T21" fmla="*/ 1 h 447"/>
                <a:gd name="T22" fmla="*/ 1 w 965"/>
                <a:gd name="T23" fmla="*/ 1 h 447"/>
                <a:gd name="T24" fmla="*/ 1 w 965"/>
                <a:gd name="T25" fmla="*/ 1 h 447"/>
                <a:gd name="T26" fmla="*/ 1 w 965"/>
                <a:gd name="T27" fmla="*/ 1 h 447"/>
                <a:gd name="T28" fmla="*/ 1 w 965"/>
                <a:gd name="T29" fmla="*/ 1 h 447"/>
                <a:gd name="T30" fmla="*/ 1 w 965"/>
                <a:gd name="T31" fmla="*/ 1 h 447"/>
                <a:gd name="T32" fmla="*/ 1 w 965"/>
                <a:gd name="T33" fmla="*/ 1 h 447"/>
                <a:gd name="T34" fmla="*/ 1 w 965"/>
                <a:gd name="T35" fmla="*/ 1 h 447"/>
                <a:gd name="T36" fmla="*/ 1 w 965"/>
                <a:gd name="T37" fmla="*/ 1 h 447"/>
                <a:gd name="T38" fmla="*/ 1 w 965"/>
                <a:gd name="T39" fmla="*/ 1 h 447"/>
                <a:gd name="T40" fmla="*/ 1 w 965"/>
                <a:gd name="T41" fmla="*/ 1 h 447"/>
                <a:gd name="T42" fmla="*/ 1 w 965"/>
                <a:gd name="T43" fmla="*/ 1 h 447"/>
                <a:gd name="T44" fmla="*/ 1 w 965"/>
                <a:gd name="T45" fmla="*/ 1 h 447"/>
                <a:gd name="T46" fmla="*/ 1 w 965"/>
                <a:gd name="T47" fmla="*/ 1 h 447"/>
                <a:gd name="T48" fmla="*/ 1 w 965"/>
                <a:gd name="T49" fmla="*/ 1 h 447"/>
                <a:gd name="T50" fmla="*/ 1 w 965"/>
                <a:gd name="T51" fmla="*/ 1 h 447"/>
                <a:gd name="T52" fmla="*/ 1 w 965"/>
                <a:gd name="T53" fmla="*/ 1 h 447"/>
                <a:gd name="T54" fmla="*/ 1 w 965"/>
                <a:gd name="T55" fmla="*/ 1 h 447"/>
                <a:gd name="T56" fmla="*/ 1 w 965"/>
                <a:gd name="T57" fmla="*/ 1 h 447"/>
                <a:gd name="T58" fmla="*/ 1 w 965"/>
                <a:gd name="T59" fmla="*/ 1 h 447"/>
                <a:gd name="T60" fmla="*/ 1 w 965"/>
                <a:gd name="T61" fmla="*/ 1 h 447"/>
                <a:gd name="T62" fmla="*/ 1 w 965"/>
                <a:gd name="T63" fmla="*/ 1 h 447"/>
                <a:gd name="T64" fmla="*/ 1 w 965"/>
                <a:gd name="T65" fmla="*/ 1 h 447"/>
                <a:gd name="T66" fmla="*/ 1 w 965"/>
                <a:gd name="T67" fmla="*/ 1 h 447"/>
                <a:gd name="T68" fmla="*/ 1 w 965"/>
                <a:gd name="T69" fmla="*/ 1 h 447"/>
                <a:gd name="T70" fmla="*/ 1 w 965"/>
                <a:gd name="T71" fmla="*/ 1 h 447"/>
                <a:gd name="T72" fmla="*/ 1 w 965"/>
                <a:gd name="T73" fmla="*/ 1 h 447"/>
                <a:gd name="T74" fmla="*/ 1 w 965"/>
                <a:gd name="T75" fmla="*/ 1 h 447"/>
                <a:gd name="T76" fmla="*/ 1 w 965"/>
                <a:gd name="T77" fmla="*/ 1 h 447"/>
                <a:gd name="T78" fmla="*/ 1 w 965"/>
                <a:gd name="T79" fmla="*/ 1 h 447"/>
                <a:gd name="T80" fmla="*/ 1 w 965"/>
                <a:gd name="T81" fmla="*/ 1 h 447"/>
                <a:gd name="T82" fmla="*/ 1 w 965"/>
                <a:gd name="T83" fmla="*/ 1 h 447"/>
                <a:gd name="T84" fmla="*/ 1 w 965"/>
                <a:gd name="T85" fmla="*/ 1 h 447"/>
                <a:gd name="T86" fmla="*/ 1 w 965"/>
                <a:gd name="T87" fmla="*/ 1 h 447"/>
                <a:gd name="T88" fmla="*/ 1 w 965"/>
                <a:gd name="T89" fmla="*/ 1 h 447"/>
                <a:gd name="T90" fmla="*/ 1 w 965"/>
                <a:gd name="T91" fmla="*/ 1 h 447"/>
                <a:gd name="T92" fmla="*/ 1 w 965"/>
                <a:gd name="T93" fmla="*/ 1 h 447"/>
                <a:gd name="T94" fmla="*/ 1 w 965"/>
                <a:gd name="T95" fmla="*/ 1 h 447"/>
                <a:gd name="T96" fmla="*/ 1 w 965"/>
                <a:gd name="T97" fmla="*/ 1 h 447"/>
                <a:gd name="T98" fmla="*/ 1 w 965"/>
                <a:gd name="T99" fmla="*/ 0 h 447"/>
                <a:gd name="T100" fmla="*/ 1 w 965"/>
                <a:gd name="T101" fmla="*/ 1 h 447"/>
                <a:gd name="T102" fmla="*/ 1 w 965"/>
                <a:gd name="T103" fmla="*/ 0 h 447"/>
                <a:gd name="T104" fmla="*/ 1 w 965"/>
                <a:gd name="T105" fmla="*/ 0 h 44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65"/>
                <a:gd name="T160" fmla="*/ 0 h 447"/>
                <a:gd name="T161" fmla="*/ 965 w 965"/>
                <a:gd name="T162" fmla="*/ 447 h 44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65" h="447">
                  <a:moveTo>
                    <a:pt x="806" y="17"/>
                  </a:moveTo>
                  <a:lnTo>
                    <a:pt x="785" y="35"/>
                  </a:lnTo>
                  <a:lnTo>
                    <a:pt x="765" y="35"/>
                  </a:lnTo>
                  <a:lnTo>
                    <a:pt x="806" y="35"/>
                  </a:lnTo>
                  <a:lnTo>
                    <a:pt x="825" y="17"/>
                  </a:lnTo>
                  <a:lnTo>
                    <a:pt x="865" y="17"/>
                  </a:lnTo>
                  <a:lnTo>
                    <a:pt x="886" y="35"/>
                  </a:lnTo>
                  <a:lnTo>
                    <a:pt x="927" y="54"/>
                  </a:lnTo>
                  <a:lnTo>
                    <a:pt x="946" y="54"/>
                  </a:lnTo>
                  <a:lnTo>
                    <a:pt x="965" y="54"/>
                  </a:lnTo>
                  <a:lnTo>
                    <a:pt x="965" y="71"/>
                  </a:lnTo>
                  <a:lnTo>
                    <a:pt x="946" y="71"/>
                  </a:lnTo>
                  <a:lnTo>
                    <a:pt x="886" y="90"/>
                  </a:lnTo>
                  <a:lnTo>
                    <a:pt x="846" y="108"/>
                  </a:lnTo>
                  <a:lnTo>
                    <a:pt x="785" y="125"/>
                  </a:lnTo>
                  <a:lnTo>
                    <a:pt x="806" y="125"/>
                  </a:lnTo>
                  <a:lnTo>
                    <a:pt x="846" y="125"/>
                  </a:lnTo>
                  <a:lnTo>
                    <a:pt x="865" y="125"/>
                  </a:lnTo>
                  <a:lnTo>
                    <a:pt x="825" y="144"/>
                  </a:lnTo>
                  <a:lnTo>
                    <a:pt x="785" y="161"/>
                  </a:lnTo>
                  <a:lnTo>
                    <a:pt x="746" y="179"/>
                  </a:lnTo>
                  <a:lnTo>
                    <a:pt x="706" y="179"/>
                  </a:lnTo>
                  <a:lnTo>
                    <a:pt x="666" y="215"/>
                  </a:lnTo>
                  <a:lnTo>
                    <a:pt x="645" y="234"/>
                  </a:lnTo>
                  <a:lnTo>
                    <a:pt x="625" y="234"/>
                  </a:lnTo>
                  <a:lnTo>
                    <a:pt x="606" y="234"/>
                  </a:lnTo>
                  <a:lnTo>
                    <a:pt x="585" y="234"/>
                  </a:lnTo>
                  <a:lnTo>
                    <a:pt x="543" y="252"/>
                  </a:lnTo>
                  <a:lnTo>
                    <a:pt x="524" y="267"/>
                  </a:lnTo>
                  <a:lnTo>
                    <a:pt x="543" y="267"/>
                  </a:lnTo>
                  <a:lnTo>
                    <a:pt x="543" y="286"/>
                  </a:lnTo>
                  <a:lnTo>
                    <a:pt x="524" y="286"/>
                  </a:lnTo>
                  <a:lnTo>
                    <a:pt x="543" y="303"/>
                  </a:lnTo>
                  <a:lnTo>
                    <a:pt x="524" y="321"/>
                  </a:lnTo>
                  <a:lnTo>
                    <a:pt x="502" y="340"/>
                  </a:lnTo>
                  <a:lnTo>
                    <a:pt x="483" y="357"/>
                  </a:lnTo>
                  <a:lnTo>
                    <a:pt x="462" y="357"/>
                  </a:lnTo>
                  <a:lnTo>
                    <a:pt x="443" y="357"/>
                  </a:lnTo>
                  <a:lnTo>
                    <a:pt x="443" y="374"/>
                  </a:lnTo>
                  <a:lnTo>
                    <a:pt x="403" y="394"/>
                  </a:lnTo>
                  <a:lnTo>
                    <a:pt x="403" y="411"/>
                  </a:lnTo>
                  <a:lnTo>
                    <a:pt x="424" y="411"/>
                  </a:lnTo>
                  <a:lnTo>
                    <a:pt x="443" y="411"/>
                  </a:lnTo>
                  <a:lnTo>
                    <a:pt x="424" y="430"/>
                  </a:lnTo>
                  <a:lnTo>
                    <a:pt x="403" y="447"/>
                  </a:lnTo>
                  <a:lnTo>
                    <a:pt x="362" y="447"/>
                  </a:lnTo>
                  <a:lnTo>
                    <a:pt x="343" y="447"/>
                  </a:lnTo>
                  <a:lnTo>
                    <a:pt x="322" y="430"/>
                  </a:lnTo>
                  <a:lnTo>
                    <a:pt x="282" y="430"/>
                  </a:lnTo>
                  <a:lnTo>
                    <a:pt x="243" y="430"/>
                  </a:lnTo>
                  <a:lnTo>
                    <a:pt x="222" y="430"/>
                  </a:lnTo>
                  <a:lnTo>
                    <a:pt x="222" y="447"/>
                  </a:lnTo>
                  <a:lnTo>
                    <a:pt x="203" y="447"/>
                  </a:lnTo>
                  <a:lnTo>
                    <a:pt x="182" y="447"/>
                  </a:lnTo>
                  <a:lnTo>
                    <a:pt x="142" y="430"/>
                  </a:lnTo>
                  <a:lnTo>
                    <a:pt x="103" y="430"/>
                  </a:lnTo>
                  <a:lnTo>
                    <a:pt x="80" y="430"/>
                  </a:lnTo>
                  <a:lnTo>
                    <a:pt x="103" y="411"/>
                  </a:lnTo>
                  <a:lnTo>
                    <a:pt x="142" y="394"/>
                  </a:lnTo>
                  <a:lnTo>
                    <a:pt x="163" y="394"/>
                  </a:lnTo>
                  <a:lnTo>
                    <a:pt x="142" y="374"/>
                  </a:lnTo>
                  <a:lnTo>
                    <a:pt x="122" y="357"/>
                  </a:lnTo>
                  <a:lnTo>
                    <a:pt x="142" y="357"/>
                  </a:lnTo>
                  <a:lnTo>
                    <a:pt x="182" y="357"/>
                  </a:lnTo>
                  <a:lnTo>
                    <a:pt x="203" y="357"/>
                  </a:lnTo>
                  <a:lnTo>
                    <a:pt x="222" y="374"/>
                  </a:lnTo>
                  <a:lnTo>
                    <a:pt x="243" y="374"/>
                  </a:lnTo>
                  <a:lnTo>
                    <a:pt x="222" y="357"/>
                  </a:lnTo>
                  <a:lnTo>
                    <a:pt x="203" y="357"/>
                  </a:lnTo>
                  <a:lnTo>
                    <a:pt x="203" y="340"/>
                  </a:lnTo>
                  <a:lnTo>
                    <a:pt x="182" y="340"/>
                  </a:lnTo>
                  <a:lnTo>
                    <a:pt x="163" y="340"/>
                  </a:lnTo>
                  <a:lnTo>
                    <a:pt x="142" y="340"/>
                  </a:lnTo>
                  <a:lnTo>
                    <a:pt x="142" y="321"/>
                  </a:lnTo>
                  <a:lnTo>
                    <a:pt x="142" y="303"/>
                  </a:lnTo>
                  <a:lnTo>
                    <a:pt x="163" y="303"/>
                  </a:lnTo>
                  <a:lnTo>
                    <a:pt x="182" y="303"/>
                  </a:lnTo>
                  <a:lnTo>
                    <a:pt x="203" y="303"/>
                  </a:lnTo>
                  <a:lnTo>
                    <a:pt x="222" y="286"/>
                  </a:lnTo>
                  <a:lnTo>
                    <a:pt x="243" y="267"/>
                  </a:lnTo>
                  <a:lnTo>
                    <a:pt x="222" y="234"/>
                  </a:lnTo>
                  <a:lnTo>
                    <a:pt x="182" y="234"/>
                  </a:lnTo>
                  <a:lnTo>
                    <a:pt x="163" y="215"/>
                  </a:lnTo>
                  <a:lnTo>
                    <a:pt x="182" y="215"/>
                  </a:lnTo>
                  <a:lnTo>
                    <a:pt x="203" y="215"/>
                  </a:lnTo>
                  <a:lnTo>
                    <a:pt x="182" y="215"/>
                  </a:lnTo>
                  <a:lnTo>
                    <a:pt x="182" y="198"/>
                  </a:lnTo>
                  <a:lnTo>
                    <a:pt x="203" y="198"/>
                  </a:lnTo>
                  <a:lnTo>
                    <a:pt x="222" y="198"/>
                  </a:lnTo>
                  <a:lnTo>
                    <a:pt x="243" y="198"/>
                  </a:lnTo>
                  <a:lnTo>
                    <a:pt x="282" y="215"/>
                  </a:lnTo>
                  <a:lnTo>
                    <a:pt x="282" y="234"/>
                  </a:lnTo>
                  <a:lnTo>
                    <a:pt x="322" y="234"/>
                  </a:lnTo>
                  <a:lnTo>
                    <a:pt x="303" y="234"/>
                  </a:lnTo>
                  <a:lnTo>
                    <a:pt x="282" y="215"/>
                  </a:lnTo>
                  <a:lnTo>
                    <a:pt x="282" y="198"/>
                  </a:lnTo>
                  <a:lnTo>
                    <a:pt x="303" y="198"/>
                  </a:lnTo>
                  <a:lnTo>
                    <a:pt x="322" y="198"/>
                  </a:lnTo>
                  <a:lnTo>
                    <a:pt x="343" y="198"/>
                  </a:lnTo>
                  <a:lnTo>
                    <a:pt x="362" y="179"/>
                  </a:lnTo>
                  <a:lnTo>
                    <a:pt x="383" y="179"/>
                  </a:lnTo>
                  <a:lnTo>
                    <a:pt x="403" y="179"/>
                  </a:lnTo>
                  <a:lnTo>
                    <a:pt x="383" y="179"/>
                  </a:lnTo>
                  <a:lnTo>
                    <a:pt x="343" y="179"/>
                  </a:lnTo>
                  <a:lnTo>
                    <a:pt x="322" y="179"/>
                  </a:lnTo>
                  <a:lnTo>
                    <a:pt x="282" y="179"/>
                  </a:lnTo>
                  <a:lnTo>
                    <a:pt x="263" y="179"/>
                  </a:lnTo>
                  <a:lnTo>
                    <a:pt x="243" y="179"/>
                  </a:lnTo>
                  <a:lnTo>
                    <a:pt x="222" y="179"/>
                  </a:lnTo>
                  <a:lnTo>
                    <a:pt x="203" y="179"/>
                  </a:lnTo>
                  <a:lnTo>
                    <a:pt x="182" y="179"/>
                  </a:lnTo>
                  <a:lnTo>
                    <a:pt x="163" y="179"/>
                  </a:lnTo>
                  <a:lnTo>
                    <a:pt x="142" y="179"/>
                  </a:lnTo>
                  <a:lnTo>
                    <a:pt x="103" y="179"/>
                  </a:lnTo>
                  <a:lnTo>
                    <a:pt x="80" y="161"/>
                  </a:lnTo>
                  <a:lnTo>
                    <a:pt x="103" y="161"/>
                  </a:lnTo>
                  <a:lnTo>
                    <a:pt x="122" y="144"/>
                  </a:lnTo>
                  <a:lnTo>
                    <a:pt x="103" y="144"/>
                  </a:lnTo>
                  <a:lnTo>
                    <a:pt x="80" y="144"/>
                  </a:lnTo>
                  <a:lnTo>
                    <a:pt x="80" y="125"/>
                  </a:lnTo>
                  <a:lnTo>
                    <a:pt x="103" y="125"/>
                  </a:lnTo>
                  <a:lnTo>
                    <a:pt x="142" y="125"/>
                  </a:lnTo>
                  <a:lnTo>
                    <a:pt x="122" y="125"/>
                  </a:lnTo>
                  <a:lnTo>
                    <a:pt x="103" y="125"/>
                  </a:lnTo>
                  <a:lnTo>
                    <a:pt x="80" y="125"/>
                  </a:lnTo>
                  <a:lnTo>
                    <a:pt x="61" y="125"/>
                  </a:lnTo>
                  <a:lnTo>
                    <a:pt x="80" y="125"/>
                  </a:lnTo>
                  <a:lnTo>
                    <a:pt x="61" y="125"/>
                  </a:lnTo>
                  <a:lnTo>
                    <a:pt x="40" y="125"/>
                  </a:lnTo>
                  <a:lnTo>
                    <a:pt x="21" y="125"/>
                  </a:lnTo>
                  <a:lnTo>
                    <a:pt x="0" y="125"/>
                  </a:lnTo>
                  <a:lnTo>
                    <a:pt x="21" y="108"/>
                  </a:lnTo>
                  <a:lnTo>
                    <a:pt x="80" y="90"/>
                  </a:lnTo>
                  <a:lnTo>
                    <a:pt x="122" y="71"/>
                  </a:lnTo>
                  <a:lnTo>
                    <a:pt x="142" y="71"/>
                  </a:lnTo>
                  <a:lnTo>
                    <a:pt x="182" y="54"/>
                  </a:lnTo>
                  <a:lnTo>
                    <a:pt x="203" y="54"/>
                  </a:lnTo>
                  <a:lnTo>
                    <a:pt x="222" y="54"/>
                  </a:lnTo>
                  <a:lnTo>
                    <a:pt x="243" y="54"/>
                  </a:lnTo>
                  <a:lnTo>
                    <a:pt x="282" y="71"/>
                  </a:lnTo>
                  <a:lnTo>
                    <a:pt x="282" y="54"/>
                  </a:lnTo>
                  <a:lnTo>
                    <a:pt x="303" y="35"/>
                  </a:lnTo>
                  <a:lnTo>
                    <a:pt x="322" y="35"/>
                  </a:lnTo>
                  <a:lnTo>
                    <a:pt x="343" y="35"/>
                  </a:lnTo>
                  <a:lnTo>
                    <a:pt x="343" y="17"/>
                  </a:lnTo>
                  <a:lnTo>
                    <a:pt x="362" y="17"/>
                  </a:lnTo>
                  <a:lnTo>
                    <a:pt x="403" y="17"/>
                  </a:lnTo>
                  <a:lnTo>
                    <a:pt x="443" y="17"/>
                  </a:lnTo>
                  <a:lnTo>
                    <a:pt x="483" y="17"/>
                  </a:lnTo>
                  <a:lnTo>
                    <a:pt x="502" y="0"/>
                  </a:lnTo>
                  <a:lnTo>
                    <a:pt x="524" y="0"/>
                  </a:lnTo>
                  <a:lnTo>
                    <a:pt x="543" y="17"/>
                  </a:lnTo>
                  <a:lnTo>
                    <a:pt x="564" y="17"/>
                  </a:lnTo>
                  <a:lnTo>
                    <a:pt x="564" y="0"/>
                  </a:lnTo>
                  <a:lnTo>
                    <a:pt x="585" y="0"/>
                  </a:lnTo>
                  <a:lnTo>
                    <a:pt x="606" y="0"/>
                  </a:lnTo>
                  <a:lnTo>
                    <a:pt x="625" y="0"/>
                  </a:lnTo>
                  <a:lnTo>
                    <a:pt x="645" y="0"/>
                  </a:lnTo>
                  <a:lnTo>
                    <a:pt x="685" y="0"/>
                  </a:lnTo>
                  <a:lnTo>
                    <a:pt x="746" y="17"/>
                  </a:lnTo>
                  <a:lnTo>
                    <a:pt x="806" y="17"/>
                  </a:lnTo>
                  <a:close/>
                </a:path>
              </a:pathLst>
            </a:custGeom>
            <a:solidFill>
              <a:srgbClr val="C0C0C0"/>
            </a:solidFill>
            <a:ln w="9525">
              <a:solidFill>
                <a:srgbClr val="C0C0C0"/>
              </a:solidFill>
              <a:round/>
              <a:headEnd/>
              <a:tailEnd/>
            </a:ln>
          </p:spPr>
          <p:txBody>
            <a:bodyPr/>
            <a:lstStyle/>
            <a:p>
              <a:endParaRPr lang="en-US"/>
            </a:p>
          </p:txBody>
        </p:sp>
        <p:sp>
          <p:nvSpPr>
            <p:cNvPr id="9454" name="Freeform 145"/>
            <p:cNvSpPr>
              <a:spLocks/>
            </p:cNvSpPr>
            <p:nvPr/>
          </p:nvSpPr>
          <p:spPr bwMode="auto">
            <a:xfrm>
              <a:off x="1102" y="1383"/>
              <a:ext cx="189" cy="72"/>
            </a:xfrm>
            <a:custGeom>
              <a:avLst/>
              <a:gdLst>
                <a:gd name="T0" fmla="*/ 1 w 378"/>
                <a:gd name="T1" fmla="*/ 1 h 144"/>
                <a:gd name="T2" fmla="*/ 1 w 378"/>
                <a:gd name="T3" fmla="*/ 1 h 144"/>
                <a:gd name="T4" fmla="*/ 1 w 378"/>
                <a:gd name="T5" fmla="*/ 1 h 144"/>
                <a:gd name="T6" fmla="*/ 1 w 378"/>
                <a:gd name="T7" fmla="*/ 1 h 144"/>
                <a:gd name="T8" fmla="*/ 1 w 378"/>
                <a:gd name="T9" fmla="*/ 1 h 144"/>
                <a:gd name="T10" fmla="*/ 1 w 378"/>
                <a:gd name="T11" fmla="*/ 1 h 144"/>
                <a:gd name="T12" fmla="*/ 1 w 378"/>
                <a:gd name="T13" fmla="*/ 1 h 144"/>
                <a:gd name="T14" fmla="*/ 0 w 378"/>
                <a:gd name="T15" fmla="*/ 1 h 144"/>
                <a:gd name="T16" fmla="*/ 1 w 378"/>
                <a:gd name="T17" fmla="*/ 1 h 144"/>
                <a:gd name="T18" fmla="*/ 1 w 378"/>
                <a:gd name="T19" fmla="*/ 1 h 144"/>
                <a:gd name="T20" fmla="*/ 1 w 378"/>
                <a:gd name="T21" fmla="*/ 1 h 144"/>
                <a:gd name="T22" fmla="*/ 1 w 378"/>
                <a:gd name="T23" fmla="*/ 1 h 144"/>
                <a:gd name="T24" fmla="*/ 1 w 378"/>
                <a:gd name="T25" fmla="*/ 1 h 144"/>
                <a:gd name="T26" fmla="*/ 1 w 378"/>
                <a:gd name="T27" fmla="*/ 1 h 144"/>
                <a:gd name="T28" fmla="*/ 1 w 378"/>
                <a:gd name="T29" fmla="*/ 1 h 144"/>
                <a:gd name="T30" fmla="*/ 1 w 378"/>
                <a:gd name="T31" fmla="*/ 1 h 144"/>
                <a:gd name="T32" fmla="*/ 1 w 378"/>
                <a:gd name="T33" fmla="*/ 1 h 144"/>
                <a:gd name="T34" fmla="*/ 1 w 378"/>
                <a:gd name="T35" fmla="*/ 1 h 144"/>
                <a:gd name="T36" fmla="*/ 1 w 378"/>
                <a:gd name="T37" fmla="*/ 1 h 144"/>
                <a:gd name="T38" fmla="*/ 1 w 378"/>
                <a:gd name="T39" fmla="*/ 1 h 144"/>
                <a:gd name="T40" fmla="*/ 1 w 378"/>
                <a:gd name="T41" fmla="*/ 1 h 144"/>
                <a:gd name="T42" fmla="*/ 1 w 378"/>
                <a:gd name="T43" fmla="*/ 1 h 144"/>
                <a:gd name="T44" fmla="*/ 1 w 378"/>
                <a:gd name="T45" fmla="*/ 1 h 144"/>
                <a:gd name="T46" fmla="*/ 1 w 378"/>
                <a:gd name="T47" fmla="*/ 1 h 144"/>
                <a:gd name="T48" fmla="*/ 1 w 378"/>
                <a:gd name="T49" fmla="*/ 1 h 144"/>
                <a:gd name="T50" fmla="*/ 1 w 378"/>
                <a:gd name="T51" fmla="*/ 1 h 144"/>
                <a:gd name="T52" fmla="*/ 1 w 378"/>
                <a:gd name="T53" fmla="*/ 0 h 144"/>
                <a:gd name="T54" fmla="*/ 1 w 378"/>
                <a:gd name="T55" fmla="*/ 1 h 144"/>
                <a:gd name="T56" fmla="*/ 1 w 378"/>
                <a:gd name="T57" fmla="*/ 1 h 144"/>
                <a:gd name="T58" fmla="*/ 1 w 378"/>
                <a:gd name="T59" fmla="*/ 1 h 144"/>
                <a:gd name="T60" fmla="*/ 1 w 378"/>
                <a:gd name="T61" fmla="*/ 1 h 144"/>
                <a:gd name="T62" fmla="*/ 1 w 378"/>
                <a:gd name="T63" fmla="*/ 1 h 144"/>
                <a:gd name="T64" fmla="*/ 1 w 378"/>
                <a:gd name="T65" fmla="*/ 1 h 144"/>
                <a:gd name="T66" fmla="*/ 1 w 378"/>
                <a:gd name="T67" fmla="*/ 1 h 144"/>
                <a:gd name="T68" fmla="*/ 1 w 378"/>
                <a:gd name="T69" fmla="*/ 1 h 144"/>
                <a:gd name="T70" fmla="*/ 1 w 378"/>
                <a:gd name="T71" fmla="*/ 1 h 14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78"/>
                <a:gd name="T109" fmla="*/ 0 h 144"/>
                <a:gd name="T110" fmla="*/ 378 w 378"/>
                <a:gd name="T111" fmla="*/ 144 h 14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78" h="144">
                  <a:moveTo>
                    <a:pt x="138" y="144"/>
                  </a:moveTo>
                  <a:lnTo>
                    <a:pt x="119" y="127"/>
                  </a:lnTo>
                  <a:lnTo>
                    <a:pt x="100" y="127"/>
                  </a:lnTo>
                  <a:lnTo>
                    <a:pt x="119" y="127"/>
                  </a:lnTo>
                  <a:lnTo>
                    <a:pt x="138" y="127"/>
                  </a:lnTo>
                  <a:lnTo>
                    <a:pt x="138" y="107"/>
                  </a:lnTo>
                  <a:lnTo>
                    <a:pt x="119" y="107"/>
                  </a:lnTo>
                  <a:lnTo>
                    <a:pt x="119" y="90"/>
                  </a:lnTo>
                  <a:lnTo>
                    <a:pt x="100" y="90"/>
                  </a:lnTo>
                  <a:lnTo>
                    <a:pt x="100" y="107"/>
                  </a:lnTo>
                  <a:lnTo>
                    <a:pt x="79" y="107"/>
                  </a:lnTo>
                  <a:lnTo>
                    <a:pt x="60" y="107"/>
                  </a:lnTo>
                  <a:lnTo>
                    <a:pt x="38" y="107"/>
                  </a:lnTo>
                  <a:lnTo>
                    <a:pt x="19" y="107"/>
                  </a:lnTo>
                  <a:lnTo>
                    <a:pt x="0" y="107"/>
                  </a:lnTo>
                  <a:lnTo>
                    <a:pt x="0" y="90"/>
                  </a:lnTo>
                  <a:lnTo>
                    <a:pt x="0" y="73"/>
                  </a:lnTo>
                  <a:lnTo>
                    <a:pt x="19" y="73"/>
                  </a:lnTo>
                  <a:lnTo>
                    <a:pt x="38" y="73"/>
                  </a:lnTo>
                  <a:lnTo>
                    <a:pt x="60" y="73"/>
                  </a:lnTo>
                  <a:lnTo>
                    <a:pt x="79" y="73"/>
                  </a:lnTo>
                  <a:lnTo>
                    <a:pt x="60" y="73"/>
                  </a:lnTo>
                  <a:lnTo>
                    <a:pt x="38" y="73"/>
                  </a:lnTo>
                  <a:lnTo>
                    <a:pt x="19" y="73"/>
                  </a:lnTo>
                  <a:lnTo>
                    <a:pt x="19" y="54"/>
                  </a:lnTo>
                  <a:lnTo>
                    <a:pt x="38" y="54"/>
                  </a:lnTo>
                  <a:lnTo>
                    <a:pt x="60" y="54"/>
                  </a:lnTo>
                  <a:lnTo>
                    <a:pt x="79" y="54"/>
                  </a:lnTo>
                  <a:lnTo>
                    <a:pt x="100" y="54"/>
                  </a:lnTo>
                  <a:lnTo>
                    <a:pt x="79" y="54"/>
                  </a:lnTo>
                  <a:lnTo>
                    <a:pt x="60" y="54"/>
                  </a:lnTo>
                  <a:lnTo>
                    <a:pt x="38" y="54"/>
                  </a:lnTo>
                  <a:lnTo>
                    <a:pt x="38" y="36"/>
                  </a:lnTo>
                  <a:lnTo>
                    <a:pt x="60" y="36"/>
                  </a:lnTo>
                  <a:lnTo>
                    <a:pt x="79" y="36"/>
                  </a:lnTo>
                  <a:lnTo>
                    <a:pt x="60" y="19"/>
                  </a:lnTo>
                  <a:lnTo>
                    <a:pt x="79" y="19"/>
                  </a:lnTo>
                  <a:lnTo>
                    <a:pt x="100" y="19"/>
                  </a:lnTo>
                  <a:lnTo>
                    <a:pt x="119" y="36"/>
                  </a:lnTo>
                  <a:lnTo>
                    <a:pt x="138" y="36"/>
                  </a:lnTo>
                  <a:lnTo>
                    <a:pt x="159" y="54"/>
                  </a:lnTo>
                  <a:lnTo>
                    <a:pt x="200" y="73"/>
                  </a:lnTo>
                  <a:lnTo>
                    <a:pt x="240" y="73"/>
                  </a:lnTo>
                  <a:lnTo>
                    <a:pt x="259" y="73"/>
                  </a:lnTo>
                  <a:lnTo>
                    <a:pt x="278" y="73"/>
                  </a:lnTo>
                  <a:lnTo>
                    <a:pt x="259" y="73"/>
                  </a:lnTo>
                  <a:lnTo>
                    <a:pt x="240" y="73"/>
                  </a:lnTo>
                  <a:lnTo>
                    <a:pt x="259" y="54"/>
                  </a:lnTo>
                  <a:lnTo>
                    <a:pt x="259" y="36"/>
                  </a:lnTo>
                  <a:lnTo>
                    <a:pt x="240" y="36"/>
                  </a:lnTo>
                  <a:lnTo>
                    <a:pt x="219" y="36"/>
                  </a:lnTo>
                  <a:lnTo>
                    <a:pt x="219" y="19"/>
                  </a:lnTo>
                  <a:lnTo>
                    <a:pt x="240" y="0"/>
                  </a:lnTo>
                  <a:lnTo>
                    <a:pt x="259" y="0"/>
                  </a:lnTo>
                  <a:lnTo>
                    <a:pt x="278" y="0"/>
                  </a:lnTo>
                  <a:lnTo>
                    <a:pt x="278" y="19"/>
                  </a:lnTo>
                  <a:lnTo>
                    <a:pt x="278" y="36"/>
                  </a:lnTo>
                  <a:lnTo>
                    <a:pt x="300" y="54"/>
                  </a:lnTo>
                  <a:lnTo>
                    <a:pt x="340" y="54"/>
                  </a:lnTo>
                  <a:lnTo>
                    <a:pt x="359" y="36"/>
                  </a:lnTo>
                  <a:lnTo>
                    <a:pt x="359" y="54"/>
                  </a:lnTo>
                  <a:lnTo>
                    <a:pt x="378" y="54"/>
                  </a:lnTo>
                  <a:lnTo>
                    <a:pt x="378" y="73"/>
                  </a:lnTo>
                  <a:lnTo>
                    <a:pt x="359" y="107"/>
                  </a:lnTo>
                  <a:lnTo>
                    <a:pt x="340" y="107"/>
                  </a:lnTo>
                  <a:lnTo>
                    <a:pt x="278" y="107"/>
                  </a:lnTo>
                  <a:lnTo>
                    <a:pt x="259" y="127"/>
                  </a:lnTo>
                  <a:lnTo>
                    <a:pt x="219" y="127"/>
                  </a:lnTo>
                  <a:lnTo>
                    <a:pt x="200" y="127"/>
                  </a:lnTo>
                  <a:lnTo>
                    <a:pt x="179" y="127"/>
                  </a:lnTo>
                  <a:lnTo>
                    <a:pt x="159" y="127"/>
                  </a:lnTo>
                  <a:lnTo>
                    <a:pt x="138" y="144"/>
                  </a:lnTo>
                  <a:close/>
                </a:path>
              </a:pathLst>
            </a:custGeom>
            <a:solidFill>
              <a:srgbClr val="C0C0C0"/>
            </a:solidFill>
            <a:ln w="9525">
              <a:solidFill>
                <a:srgbClr val="C0C0C0"/>
              </a:solidFill>
              <a:round/>
              <a:headEnd/>
              <a:tailEnd/>
            </a:ln>
          </p:spPr>
          <p:txBody>
            <a:bodyPr/>
            <a:lstStyle/>
            <a:p>
              <a:endParaRPr lang="en-US"/>
            </a:p>
          </p:txBody>
        </p:sp>
        <p:sp>
          <p:nvSpPr>
            <p:cNvPr id="9455" name="Freeform 146"/>
            <p:cNvSpPr>
              <a:spLocks/>
            </p:cNvSpPr>
            <p:nvPr/>
          </p:nvSpPr>
          <p:spPr bwMode="auto">
            <a:xfrm>
              <a:off x="1141" y="1383"/>
              <a:ext cx="21" cy="0"/>
            </a:xfrm>
            <a:custGeom>
              <a:avLst/>
              <a:gdLst>
                <a:gd name="T0" fmla="*/ 1 w 40"/>
                <a:gd name="T1" fmla="*/ 0 w 40"/>
                <a:gd name="T2" fmla="*/ 1 w 40"/>
                <a:gd name="T3" fmla="*/ 1 w 40"/>
                <a:gd name="T4" fmla="*/ 1 w 40"/>
                <a:gd name="T5" fmla="*/ 0 60000 65536"/>
                <a:gd name="T6" fmla="*/ 0 60000 65536"/>
                <a:gd name="T7" fmla="*/ 0 60000 65536"/>
                <a:gd name="T8" fmla="*/ 0 60000 65536"/>
                <a:gd name="T9" fmla="*/ 0 60000 65536"/>
                <a:gd name="T10" fmla="*/ 0 w 40"/>
                <a:gd name="T11" fmla="*/ 40 w 40"/>
              </a:gdLst>
              <a:ahLst/>
              <a:cxnLst>
                <a:cxn ang="T5">
                  <a:pos x="T0" y="0"/>
                </a:cxn>
                <a:cxn ang="T6">
                  <a:pos x="T1" y="0"/>
                </a:cxn>
                <a:cxn ang="T7">
                  <a:pos x="T2" y="0"/>
                </a:cxn>
                <a:cxn ang="T8">
                  <a:pos x="T3" y="0"/>
                </a:cxn>
                <a:cxn ang="T9">
                  <a:pos x="T4" y="0"/>
                </a:cxn>
              </a:cxnLst>
              <a:rect l="T10" t="0" r="T11" b="0"/>
              <a:pathLst>
                <a:path w="40">
                  <a:moveTo>
                    <a:pt x="21" y="0"/>
                  </a:moveTo>
                  <a:lnTo>
                    <a:pt x="0" y="0"/>
                  </a:lnTo>
                  <a:lnTo>
                    <a:pt x="21" y="0"/>
                  </a:lnTo>
                  <a:lnTo>
                    <a:pt x="40" y="0"/>
                  </a:lnTo>
                  <a:lnTo>
                    <a:pt x="21" y="0"/>
                  </a:lnTo>
                  <a:close/>
                </a:path>
              </a:pathLst>
            </a:custGeom>
            <a:solidFill>
              <a:srgbClr val="C0C0C0"/>
            </a:solidFill>
            <a:ln w="9525">
              <a:solidFill>
                <a:srgbClr val="C0C0C0"/>
              </a:solidFill>
              <a:round/>
              <a:headEnd/>
              <a:tailEnd/>
            </a:ln>
          </p:spPr>
          <p:txBody>
            <a:bodyPr/>
            <a:lstStyle/>
            <a:p>
              <a:endParaRPr lang="en-US"/>
            </a:p>
          </p:txBody>
        </p:sp>
        <p:sp>
          <p:nvSpPr>
            <p:cNvPr id="9456" name="Freeform 147"/>
            <p:cNvSpPr>
              <a:spLocks/>
            </p:cNvSpPr>
            <p:nvPr/>
          </p:nvSpPr>
          <p:spPr bwMode="auto">
            <a:xfrm>
              <a:off x="1171" y="1330"/>
              <a:ext cx="61" cy="18"/>
            </a:xfrm>
            <a:custGeom>
              <a:avLst/>
              <a:gdLst>
                <a:gd name="T0" fmla="*/ 1 w 121"/>
                <a:gd name="T1" fmla="*/ 0 h 37"/>
                <a:gd name="T2" fmla="*/ 1 w 121"/>
                <a:gd name="T3" fmla="*/ 0 h 37"/>
                <a:gd name="T4" fmla="*/ 0 w 121"/>
                <a:gd name="T5" fmla="*/ 0 h 37"/>
                <a:gd name="T6" fmla="*/ 0 w 121"/>
                <a:gd name="T7" fmla="*/ 0 h 37"/>
                <a:gd name="T8" fmla="*/ 0 w 121"/>
                <a:gd name="T9" fmla="*/ 0 h 37"/>
                <a:gd name="T10" fmla="*/ 1 w 121"/>
                <a:gd name="T11" fmla="*/ 0 h 37"/>
                <a:gd name="T12" fmla="*/ 1 w 121"/>
                <a:gd name="T13" fmla="*/ 0 h 37"/>
                <a:gd name="T14" fmla="*/ 1 w 121"/>
                <a:gd name="T15" fmla="*/ 0 h 37"/>
                <a:gd name="T16" fmla="*/ 1 w 121"/>
                <a:gd name="T17" fmla="*/ 0 h 37"/>
                <a:gd name="T18" fmla="*/ 1 w 121"/>
                <a:gd name="T19" fmla="*/ 0 h 37"/>
                <a:gd name="T20" fmla="*/ 1 w 121"/>
                <a:gd name="T21" fmla="*/ 0 h 37"/>
                <a:gd name="T22" fmla="*/ 1 w 121"/>
                <a:gd name="T23" fmla="*/ 0 h 37"/>
                <a:gd name="T24" fmla="*/ 1 w 121"/>
                <a:gd name="T25" fmla="*/ 0 h 37"/>
                <a:gd name="T26" fmla="*/ 1 w 12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1"/>
                <a:gd name="T43" fmla="*/ 0 h 37"/>
                <a:gd name="T44" fmla="*/ 121 w 12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1" h="37">
                  <a:moveTo>
                    <a:pt x="41" y="37"/>
                  </a:moveTo>
                  <a:lnTo>
                    <a:pt x="21" y="18"/>
                  </a:lnTo>
                  <a:lnTo>
                    <a:pt x="0" y="18"/>
                  </a:lnTo>
                  <a:lnTo>
                    <a:pt x="0" y="37"/>
                  </a:lnTo>
                  <a:lnTo>
                    <a:pt x="0" y="0"/>
                  </a:lnTo>
                  <a:lnTo>
                    <a:pt x="41" y="0"/>
                  </a:lnTo>
                  <a:lnTo>
                    <a:pt x="62" y="0"/>
                  </a:lnTo>
                  <a:lnTo>
                    <a:pt x="81" y="0"/>
                  </a:lnTo>
                  <a:lnTo>
                    <a:pt x="102" y="0"/>
                  </a:lnTo>
                  <a:lnTo>
                    <a:pt x="121" y="18"/>
                  </a:lnTo>
                  <a:lnTo>
                    <a:pt x="102" y="18"/>
                  </a:lnTo>
                  <a:lnTo>
                    <a:pt x="81" y="37"/>
                  </a:lnTo>
                  <a:lnTo>
                    <a:pt x="62" y="37"/>
                  </a:lnTo>
                  <a:lnTo>
                    <a:pt x="41" y="37"/>
                  </a:lnTo>
                  <a:close/>
                </a:path>
              </a:pathLst>
            </a:custGeom>
            <a:solidFill>
              <a:srgbClr val="C0C0C0"/>
            </a:solidFill>
            <a:ln w="9525">
              <a:solidFill>
                <a:srgbClr val="C0C0C0"/>
              </a:solidFill>
              <a:round/>
              <a:headEnd/>
              <a:tailEnd/>
            </a:ln>
          </p:spPr>
          <p:txBody>
            <a:bodyPr/>
            <a:lstStyle/>
            <a:p>
              <a:endParaRPr lang="en-US"/>
            </a:p>
          </p:txBody>
        </p:sp>
        <p:sp>
          <p:nvSpPr>
            <p:cNvPr id="9457" name="Freeform 148"/>
            <p:cNvSpPr>
              <a:spLocks/>
            </p:cNvSpPr>
            <p:nvPr/>
          </p:nvSpPr>
          <p:spPr bwMode="auto">
            <a:xfrm>
              <a:off x="1171" y="1348"/>
              <a:ext cx="51" cy="27"/>
            </a:xfrm>
            <a:custGeom>
              <a:avLst/>
              <a:gdLst>
                <a:gd name="T0" fmla="*/ 1 w 102"/>
                <a:gd name="T1" fmla="*/ 1 h 54"/>
                <a:gd name="T2" fmla="*/ 1 w 102"/>
                <a:gd name="T3" fmla="*/ 1 h 54"/>
                <a:gd name="T4" fmla="*/ 1 w 102"/>
                <a:gd name="T5" fmla="*/ 1 h 54"/>
                <a:gd name="T6" fmla="*/ 0 w 102"/>
                <a:gd name="T7" fmla="*/ 1 h 54"/>
                <a:gd name="T8" fmla="*/ 0 w 102"/>
                <a:gd name="T9" fmla="*/ 1 h 54"/>
                <a:gd name="T10" fmla="*/ 0 w 102"/>
                <a:gd name="T11" fmla="*/ 0 h 54"/>
                <a:gd name="T12" fmla="*/ 1 w 102"/>
                <a:gd name="T13" fmla="*/ 0 h 54"/>
                <a:gd name="T14" fmla="*/ 1 w 102"/>
                <a:gd name="T15" fmla="*/ 0 h 54"/>
                <a:gd name="T16" fmla="*/ 1 w 102"/>
                <a:gd name="T17" fmla="*/ 0 h 54"/>
                <a:gd name="T18" fmla="*/ 1 w 102"/>
                <a:gd name="T19" fmla="*/ 1 h 54"/>
                <a:gd name="T20" fmla="*/ 1 w 102"/>
                <a:gd name="T21" fmla="*/ 1 h 54"/>
                <a:gd name="T22" fmla="*/ 1 w 102"/>
                <a:gd name="T23" fmla="*/ 1 h 54"/>
                <a:gd name="T24" fmla="*/ 1 w 102"/>
                <a:gd name="T25" fmla="*/ 1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2"/>
                <a:gd name="T40" fmla="*/ 0 h 54"/>
                <a:gd name="T41" fmla="*/ 102 w 102"/>
                <a:gd name="T42" fmla="*/ 54 h 5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2" h="54">
                  <a:moveTo>
                    <a:pt x="81" y="17"/>
                  </a:moveTo>
                  <a:lnTo>
                    <a:pt x="62" y="34"/>
                  </a:lnTo>
                  <a:lnTo>
                    <a:pt x="21" y="54"/>
                  </a:lnTo>
                  <a:lnTo>
                    <a:pt x="0" y="34"/>
                  </a:lnTo>
                  <a:lnTo>
                    <a:pt x="0" y="17"/>
                  </a:lnTo>
                  <a:lnTo>
                    <a:pt x="0" y="0"/>
                  </a:lnTo>
                  <a:lnTo>
                    <a:pt x="62" y="0"/>
                  </a:lnTo>
                  <a:lnTo>
                    <a:pt x="81" y="0"/>
                  </a:lnTo>
                  <a:lnTo>
                    <a:pt x="102" y="0"/>
                  </a:lnTo>
                  <a:lnTo>
                    <a:pt x="102" y="17"/>
                  </a:lnTo>
                  <a:lnTo>
                    <a:pt x="81" y="17"/>
                  </a:lnTo>
                  <a:lnTo>
                    <a:pt x="62" y="17"/>
                  </a:lnTo>
                  <a:lnTo>
                    <a:pt x="81" y="17"/>
                  </a:lnTo>
                  <a:close/>
                </a:path>
              </a:pathLst>
            </a:custGeom>
            <a:solidFill>
              <a:srgbClr val="C0C0C0"/>
            </a:solidFill>
            <a:ln w="9525">
              <a:solidFill>
                <a:srgbClr val="C0C0C0"/>
              </a:solidFill>
              <a:round/>
              <a:headEnd/>
              <a:tailEnd/>
            </a:ln>
          </p:spPr>
          <p:txBody>
            <a:bodyPr/>
            <a:lstStyle/>
            <a:p>
              <a:endParaRPr lang="en-US"/>
            </a:p>
          </p:txBody>
        </p:sp>
        <p:sp>
          <p:nvSpPr>
            <p:cNvPr id="9458" name="Freeform 149"/>
            <p:cNvSpPr>
              <a:spLocks/>
            </p:cNvSpPr>
            <p:nvPr/>
          </p:nvSpPr>
          <p:spPr bwMode="auto">
            <a:xfrm>
              <a:off x="1343" y="1474"/>
              <a:ext cx="100" cy="62"/>
            </a:xfrm>
            <a:custGeom>
              <a:avLst/>
              <a:gdLst>
                <a:gd name="T0" fmla="*/ 1 w 200"/>
                <a:gd name="T1" fmla="*/ 0 h 125"/>
                <a:gd name="T2" fmla="*/ 1 w 200"/>
                <a:gd name="T3" fmla="*/ 0 h 125"/>
                <a:gd name="T4" fmla="*/ 1 w 200"/>
                <a:gd name="T5" fmla="*/ 0 h 125"/>
                <a:gd name="T6" fmla="*/ 1 w 200"/>
                <a:gd name="T7" fmla="*/ 0 h 125"/>
                <a:gd name="T8" fmla="*/ 1 w 200"/>
                <a:gd name="T9" fmla="*/ 0 h 125"/>
                <a:gd name="T10" fmla="*/ 1 w 200"/>
                <a:gd name="T11" fmla="*/ 0 h 125"/>
                <a:gd name="T12" fmla="*/ 1 w 200"/>
                <a:gd name="T13" fmla="*/ 0 h 125"/>
                <a:gd name="T14" fmla="*/ 1 w 200"/>
                <a:gd name="T15" fmla="*/ 0 h 125"/>
                <a:gd name="T16" fmla="*/ 1 w 200"/>
                <a:gd name="T17" fmla="*/ 0 h 125"/>
                <a:gd name="T18" fmla="*/ 1 w 200"/>
                <a:gd name="T19" fmla="*/ 0 h 125"/>
                <a:gd name="T20" fmla="*/ 1 w 200"/>
                <a:gd name="T21" fmla="*/ 0 h 125"/>
                <a:gd name="T22" fmla="*/ 1 w 200"/>
                <a:gd name="T23" fmla="*/ 0 h 125"/>
                <a:gd name="T24" fmla="*/ 1 w 200"/>
                <a:gd name="T25" fmla="*/ 0 h 125"/>
                <a:gd name="T26" fmla="*/ 0 w 200"/>
                <a:gd name="T27" fmla="*/ 0 h 125"/>
                <a:gd name="T28" fmla="*/ 0 w 200"/>
                <a:gd name="T29" fmla="*/ 0 h 125"/>
                <a:gd name="T30" fmla="*/ 0 w 200"/>
                <a:gd name="T31" fmla="*/ 0 h 125"/>
                <a:gd name="T32" fmla="*/ 1 w 200"/>
                <a:gd name="T33" fmla="*/ 0 h 125"/>
                <a:gd name="T34" fmla="*/ 1 w 200"/>
                <a:gd name="T35" fmla="*/ 0 h 125"/>
                <a:gd name="T36" fmla="*/ 1 w 200"/>
                <a:gd name="T37" fmla="*/ 0 h 125"/>
                <a:gd name="T38" fmla="*/ 1 w 200"/>
                <a:gd name="T39" fmla="*/ 0 h 125"/>
                <a:gd name="T40" fmla="*/ 1 w 200"/>
                <a:gd name="T41" fmla="*/ 0 h 125"/>
                <a:gd name="T42" fmla="*/ 1 w 200"/>
                <a:gd name="T43" fmla="*/ 0 h 125"/>
                <a:gd name="T44" fmla="*/ 1 w 200"/>
                <a:gd name="T45" fmla="*/ 0 h 125"/>
                <a:gd name="T46" fmla="*/ 1 w 200"/>
                <a:gd name="T47" fmla="*/ 0 h 125"/>
                <a:gd name="T48" fmla="*/ 1 w 200"/>
                <a:gd name="T49" fmla="*/ 0 h 125"/>
                <a:gd name="T50" fmla="*/ 1 w 200"/>
                <a:gd name="T51" fmla="*/ 0 h 125"/>
                <a:gd name="T52" fmla="*/ 1 w 200"/>
                <a:gd name="T53" fmla="*/ 0 h 125"/>
                <a:gd name="T54" fmla="*/ 1 w 200"/>
                <a:gd name="T55" fmla="*/ 0 h 125"/>
                <a:gd name="T56" fmla="*/ 1 w 200"/>
                <a:gd name="T57" fmla="*/ 0 h 125"/>
                <a:gd name="T58" fmla="*/ 1 w 200"/>
                <a:gd name="T59" fmla="*/ 0 h 125"/>
                <a:gd name="T60" fmla="*/ 1 w 200"/>
                <a:gd name="T61" fmla="*/ 0 h 125"/>
                <a:gd name="T62" fmla="*/ 1 w 200"/>
                <a:gd name="T63" fmla="*/ 0 h 125"/>
                <a:gd name="T64" fmla="*/ 1 w 200"/>
                <a:gd name="T65" fmla="*/ 0 h 12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00"/>
                <a:gd name="T100" fmla="*/ 0 h 125"/>
                <a:gd name="T101" fmla="*/ 200 w 200"/>
                <a:gd name="T102" fmla="*/ 125 h 12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00" h="125">
                  <a:moveTo>
                    <a:pt x="159" y="35"/>
                  </a:moveTo>
                  <a:lnTo>
                    <a:pt x="159" y="52"/>
                  </a:lnTo>
                  <a:lnTo>
                    <a:pt x="159" y="69"/>
                  </a:lnTo>
                  <a:lnTo>
                    <a:pt x="178" y="69"/>
                  </a:lnTo>
                  <a:lnTo>
                    <a:pt x="200" y="69"/>
                  </a:lnTo>
                  <a:lnTo>
                    <a:pt x="178" y="89"/>
                  </a:lnTo>
                  <a:lnTo>
                    <a:pt x="178" y="106"/>
                  </a:lnTo>
                  <a:lnTo>
                    <a:pt x="140" y="125"/>
                  </a:lnTo>
                  <a:lnTo>
                    <a:pt x="119" y="125"/>
                  </a:lnTo>
                  <a:lnTo>
                    <a:pt x="100" y="125"/>
                  </a:lnTo>
                  <a:lnTo>
                    <a:pt x="100" y="106"/>
                  </a:lnTo>
                  <a:lnTo>
                    <a:pt x="59" y="89"/>
                  </a:lnTo>
                  <a:lnTo>
                    <a:pt x="38" y="69"/>
                  </a:lnTo>
                  <a:lnTo>
                    <a:pt x="0" y="69"/>
                  </a:lnTo>
                  <a:lnTo>
                    <a:pt x="0" y="52"/>
                  </a:lnTo>
                  <a:lnTo>
                    <a:pt x="0" y="35"/>
                  </a:lnTo>
                  <a:lnTo>
                    <a:pt x="19" y="52"/>
                  </a:lnTo>
                  <a:lnTo>
                    <a:pt x="38" y="52"/>
                  </a:lnTo>
                  <a:lnTo>
                    <a:pt x="59" y="52"/>
                  </a:lnTo>
                  <a:lnTo>
                    <a:pt x="59" y="35"/>
                  </a:lnTo>
                  <a:lnTo>
                    <a:pt x="59" y="16"/>
                  </a:lnTo>
                  <a:lnTo>
                    <a:pt x="38" y="16"/>
                  </a:lnTo>
                  <a:lnTo>
                    <a:pt x="38" y="0"/>
                  </a:lnTo>
                  <a:lnTo>
                    <a:pt x="59" y="0"/>
                  </a:lnTo>
                  <a:lnTo>
                    <a:pt x="79" y="0"/>
                  </a:lnTo>
                  <a:lnTo>
                    <a:pt x="119" y="0"/>
                  </a:lnTo>
                  <a:lnTo>
                    <a:pt x="140" y="0"/>
                  </a:lnTo>
                  <a:lnTo>
                    <a:pt x="159" y="0"/>
                  </a:lnTo>
                  <a:lnTo>
                    <a:pt x="159" y="16"/>
                  </a:lnTo>
                  <a:lnTo>
                    <a:pt x="140" y="35"/>
                  </a:lnTo>
                  <a:lnTo>
                    <a:pt x="119" y="35"/>
                  </a:lnTo>
                  <a:lnTo>
                    <a:pt x="140" y="35"/>
                  </a:lnTo>
                  <a:lnTo>
                    <a:pt x="159" y="35"/>
                  </a:lnTo>
                  <a:close/>
                </a:path>
              </a:pathLst>
            </a:custGeom>
            <a:solidFill>
              <a:srgbClr val="C0C0C0"/>
            </a:solidFill>
            <a:ln w="9525">
              <a:solidFill>
                <a:srgbClr val="C0C0C0"/>
              </a:solidFill>
              <a:round/>
              <a:headEnd/>
              <a:tailEnd/>
            </a:ln>
          </p:spPr>
          <p:txBody>
            <a:bodyPr/>
            <a:lstStyle/>
            <a:p>
              <a:endParaRPr lang="en-US"/>
            </a:p>
          </p:txBody>
        </p:sp>
        <p:sp>
          <p:nvSpPr>
            <p:cNvPr id="9459" name="Freeform 150"/>
            <p:cNvSpPr>
              <a:spLocks/>
            </p:cNvSpPr>
            <p:nvPr/>
          </p:nvSpPr>
          <p:spPr bwMode="auto">
            <a:xfrm>
              <a:off x="1302" y="1383"/>
              <a:ext cx="111" cy="54"/>
            </a:xfrm>
            <a:custGeom>
              <a:avLst/>
              <a:gdLst>
                <a:gd name="T0" fmla="*/ 0 w 223"/>
                <a:gd name="T1" fmla="*/ 1 h 107"/>
                <a:gd name="T2" fmla="*/ 0 w 223"/>
                <a:gd name="T3" fmla="*/ 1 h 107"/>
                <a:gd name="T4" fmla="*/ 0 w 223"/>
                <a:gd name="T5" fmla="*/ 0 h 107"/>
                <a:gd name="T6" fmla="*/ 0 w 223"/>
                <a:gd name="T7" fmla="*/ 0 h 107"/>
                <a:gd name="T8" fmla="*/ 0 w 223"/>
                <a:gd name="T9" fmla="*/ 1 h 107"/>
                <a:gd name="T10" fmla="*/ 0 w 223"/>
                <a:gd name="T11" fmla="*/ 1 h 107"/>
                <a:gd name="T12" fmla="*/ 0 w 223"/>
                <a:gd name="T13" fmla="*/ 1 h 107"/>
                <a:gd name="T14" fmla="*/ 0 w 223"/>
                <a:gd name="T15" fmla="*/ 1 h 107"/>
                <a:gd name="T16" fmla="*/ 0 w 223"/>
                <a:gd name="T17" fmla="*/ 1 h 107"/>
                <a:gd name="T18" fmla="*/ 0 w 223"/>
                <a:gd name="T19" fmla="*/ 1 h 107"/>
                <a:gd name="T20" fmla="*/ 0 w 223"/>
                <a:gd name="T21" fmla="*/ 1 h 107"/>
                <a:gd name="T22" fmla="*/ 0 w 223"/>
                <a:gd name="T23" fmla="*/ 1 h 107"/>
                <a:gd name="T24" fmla="*/ 0 w 223"/>
                <a:gd name="T25" fmla="*/ 1 h 107"/>
                <a:gd name="T26" fmla="*/ 0 w 223"/>
                <a:gd name="T27" fmla="*/ 1 h 107"/>
                <a:gd name="T28" fmla="*/ 0 w 223"/>
                <a:gd name="T29" fmla="*/ 1 h 107"/>
                <a:gd name="T30" fmla="*/ 0 w 223"/>
                <a:gd name="T31" fmla="*/ 1 h 107"/>
                <a:gd name="T32" fmla="*/ 0 w 223"/>
                <a:gd name="T33" fmla="*/ 0 h 107"/>
                <a:gd name="T34" fmla="*/ 0 w 223"/>
                <a:gd name="T35" fmla="*/ 0 h 107"/>
                <a:gd name="T36" fmla="*/ 0 w 223"/>
                <a:gd name="T37" fmla="*/ 1 h 107"/>
                <a:gd name="T38" fmla="*/ 0 w 223"/>
                <a:gd name="T39" fmla="*/ 1 h 107"/>
                <a:gd name="T40" fmla="*/ 0 w 223"/>
                <a:gd name="T41" fmla="*/ 1 h 107"/>
                <a:gd name="T42" fmla="*/ 0 w 223"/>
                <a:gd name="T43" fmla="*/ 0 h 107"/>
                <a:gd name="T44" fmla="*/ 0 w 223"/>
                <a:gd name="T45" fmla="*/ 1 h 107"/>
                <a:gd name="T46" fmla="*/ 0 w 223"/>
                <a:gd name="T47" fmla="*/ 1 h 107"/>
                <a:gd name="T48" fmla="*/ 0 w 223"/>
                <a:gd name="T49" fmla="*/ 1 h 107"/>
                <a:gd name="T50" fmla="*/ 0 w 223"/>
                <a:gd name="T51" fmla="*/ 1 h 107"/>
                <a:gd name="T52" fmla="*/ 0 w 223"/>
                <a:gd name="T53" fmla="*/ 1 h 107"/>
                <a:gd name="T54" fmla="*/ 0 w 223"/>
                <a:gd name="T55" fmla="*/ 1 h 107"/>
                <a:gd name="T56" fmla="*/ 0 w 223"/>
                <a:gd name="T57" fmla="*/ 1 h 107"/>
                <a:gd name="T58" fmla="*/ 0 w 223"/>
                <a:gd name="T59" fmla="*/ 1 h 107"/>
                <a:gd name="T60" fmla="*/ 0 w 223"/>
                <a:gd name="T61" fmla="*/ 1 h 107"/>
                <a:gd name="T62" fmla="*/ 0 w 223"/>
                <a:gd name="T63" fmla="*/ 1 h 107"/>
                <a:gd name="T64" fmla="*/ 0 w 223"/>
                <a:gd name="T65" fmla="*/ 1 h 107"/>
                <a:gd name="T66" fmla="*/ 0 w 223"/>
                <a:gd name="T67" fmla="*/ 1 h 107"/>
                <a:gd name="T68" fmla="*/ 0 w 223"/>
                <a:gd name="T69" fmla="*/ 1 h 107"/>
                <a:gd name="T70" fmla="*/ 0 w 223"/>
                <a:gd name="T71" fmla="*/ 1 h 107"/>
                <a:gd name="T72" fmla="*/ 0 w 223"/>
                <a:gd name="T73" fmla="*/ 1 h 107"/>
                <a:gd name="T74" fmla="*/ 0 w 223"/>
                <a:gd name="T75" fmla="*/ 1 h 107"/>
                <a:gd name="T76" fmla="*/ 0 w 223"/>
                <a:gd name="T77" fmla="*/ 1 h 107"/>
                <a:gd name="T78" fmla="*/ 0 w 223"/>
                <a:gd name="T79" fmla="*/ 1 h 107"/>
                <a:gd name="T80" fmla="*/ 0 w 223"/>
                <a:gd name="T81" fmla="*/ 1 h 107"/>
                <a:gd name="T82" fmla="*/ 0 w 223"/>
                <a:gd name="T83" fmla="*/ 1 h 107"/>
                <a:gd name="T84" fmla="*/ 0 w 223"/>
                <a:gd name="T85" fmla="*/ 1 h 107"/>
                <a:gd name="T86" fmla="*/ 0 w 223"/>
                <a:gd name="T87" fmla="*/ 1 h 10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23"/>
                <a:gd name="T133" fmla="*/ 0 h 107"/>
                <a:gd name="T134" fmla="*/ 223 w 223"/>
                <a:gd name="T135" fmla="*/ 107 h 10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23" h="107">
                  <a:moveTo>
                    <a:pt x="21" y="36"/>
                  </a:moveTo>
                  <a:lnTo>
                    <a:pt x="21" y="19"/>
                  </a:lnTo>
                  <a:lnTo>
                    <a:pt x="0" y="0"/>
                  </a:lnTo>
                  <a:lnTo>
                    <a:pt x="21" y="0"/>
                  </a:lnTo>
                  <a:lnTo>
                    <a:pt x="62" y="19"/>
                  </a:lnTo>
                  <a:lnTo>
                    <a:pt x="83" y="54"/>
                  </a:lnTo>
                  <a:lnTo>
                    <a:pt x="121" y="54"/>
                  </a:lnTo>
                  <a:lnTo>
                    <a:pt x="102" y="54"/>
                  </a:lnTo>
                  <a:lnTo>
                    <a:pt x="83" y="36"/>
                  </a:lnTo>
                  <a:lnTo>
                    <a:pt x="83" y="19"/>
                  </a:lnTo>
                  <a:lnTo>
                    <a:pt x="102" y="36"/>
                  </a:lnTo>
                  <a:lnTo>
                    <a:pt x="142" y="36"/>
                  </a:lnTo>
                  <a:lnTo>
                    <a:pt x="142" y="54"/>
                  </a:lnTo>
                  <a:lnTo>
                    <a:pt x="142" y="36"/>
                  </a:lnTo>
                  <a:lnTo>
                    <a:pt x="142" y="19"/>
                  </a:lnTo>
                  <a:lnTo>
                    <a:pt x="121" y="19"/>
                  </a:lnTo>
                  <a:lnTo>
                    <a:pt x="121" y="0"/>
                  </a:lnTo>
                  <a:lnTo>
                    <a:pt x="142" y="0"/>
                  </a:lnTo>
                  <a:lnTo>
                    <a:pt x="162" y="19"/>
                  </a:lnTo>
                  <a:lnTo>
                    <a:pt x="183" y="19"/>
                  </a:lnTo>
                  <a:lnTo>
                    <a:pt x="202" y="19"/>
                  </a:lnTo>
                  <a:lnTo>
                    <a:pt x="202" y="0"/>
                  </a:lnTo>
                  <a:lnTo>
                    <a:pt x="202" y="19"/>
                  </a:lnTo>
                  <a:lnTo>
                    <a:pt x="223" y="19"/>
                  </a:lnTo>
                  <a:lnTo>
                    <a:pt x="223" y="36"/>
                  </a:lnTo>
                  <a:lnTo>
                    <a:pt x="223" y="73"/>
                  </a:lnTo>
                  <a:lnTo>
                    <a:pt x="202" y="73"/>
                  </a:lnTo>
                  <a:lnTo>
                    <a:pt x="202" y="107"/>
                  </a:lnTo>
                  <a:lnTo>
                    <a:pt x="183" y="107"/>
                  </a:lnTo>
                  <a:lnTo>
                    <a:pt x="162" y="107"/>
                  </a:lnTo>
                  <a:lnTo>
                    <a:pt x="142" y="107"/>
                  </a:lnTo>
                  <a:lnTo>
                    <a:pt x="142" y="90"/>
                  </a:lnTo>
                  <a:lnTo>
                    <a:pt x="142" y="73"/>
                  </a:lnTo>
                  <a:lnTo>
                    <a:pt x="162" y="73"/>
                  </a:lnTo>
                  <a:lnTo>
                    <a:pt x="142" y="73"/>
                  </a:lnTo>
                  <a:lnTo>
                    <a:pt x="102" y="73"/>
                  </a:lnTo>
                  <a:lnTo>
                    <a:pt x="83" y="73"/>
                  </a:lnTo>
                  <a:lnTo>
                    <a:pt x="62" y="73"/>
                  </a:lnTo>
                  <a:lnTo>
                    <a:pt x="43" y="73"/>
                  </a:lnTo>
                  <a:lnTo>
                    <a:pt x="43" y="54"/>
                  </a:lnTo>
                  <a:lnTo>
                    <a:pt x="21" y="54"/>
                  </a:lnTo>
                  <a:lnTo>
                    <a:pt x="21" y="36"/>
                  </a:lnTo>
                  <a:lnTo>
                    <a:pt x="21" y="19"/>
                  </a:lnTo>
                  <a:lnTo>
                    <a:pt x="21" y="36"/>
                  </a:lnTo>
                  <a:close/>
                </a:path>
              </a:pathLst>
            </a:custGeom>
            <a:solidFill>
              <a:srgbClr val="C0C0C0"/>
            </a:solidFill>
            <a:ln w="9525">
              <a:solidFill>
                <a:srgbClr val="C0C0C0"/>
              </a:solidFill>
              <a:round/>
              <a:headEnd/>
              <a:tailEnd/>
            </a:ln>
          </p:spPr>
          <p:txBody>
            <a:bodyPr/>
            <a:lstStyle/>
            <a:p>
              <a:endParaRPr lang="en-US"/>
            </a:p>
          </p:txBody>
        </p:sp>
        <p:sp>
          <p:nvSpPr>
            <p:cNvPr id="9460" name="Freeform 151"/>
            <p:cNvSpPr>
              <a:spLocks/>
            </p:cNvSpPr>
            <p:nvPr/>
          </p:nvSpPr>
          <p:spPr bwMode="auto">
            <a:xfrm>
              <a:off x="1393" y="1572"/>
              <a:ext cx="59" cy="36"/>
            </a:xfrm>
            <a:custGeom>
              <a:avLst/>
              <a:gdLst>
                <a:gd name="T0" fmla="*/ 0 w 119"/>
                <a:gd name="T1" fmla="*/ 0 h 73"/>
                <a:gd name="T2" fmla="*/ 0 w 119"/>
                <a:gd name="T3" fmla="*/ 0 h 73"/>
                <a:gd name="T4" fmla="*/ 0 w 119"/>
                <a:gd name="T5" fmla="*/ 0 h 73"/>
                <a:gd name="T6" fmla="*/ 0 w 119"/>
                <a:gd name="T7" fmla="*/ 0 h 73"/>
                <a:gd name="T8" fmla="*/ 0 w 119"/>
                <a:gd name="T9" fmla="*/ 0 h 73"/>
                <a:gd name="T10" fmla="*/ 0 w 119"/>
                <a:gd name="T11" fmla="*/ 0 h 73"/>
                <a:gd name="T12" fmla="*/ 0 w 119"/>
                <a:gd name="T13" fmla="*/ 0 h 73"/>
                <a:gd name="T14" fmla="*/ 0 w 119"/>
                <a:gd name="T15" fmla="*/ 0 h 73"/>
                <a:gd name="T16" fmla="*/ 0 w 119"/>
                <a:gd name="T17" fmla="*/ 0 h 73"/>
                <a:gd name="T18" fmla="*/ 0 w 119"/>
                <a:gd name="T19" fmla="*/ 0 h 73"/>
                <a:gd name="T20" fmla="*/ 0 w 119"/>
                <a:gd name="T21" fmla="*/ 0 h 73"/>
                <a:gd name="T22" fmla="*/ 0 w 119"/>
                <a:gd name="T23" fmla="*/ 0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9"/>
                <a:gd name="T37" fmla="*/ 0 h 73"/>
                <a:gd name="T38" fmla="*/ 119 w 119"/>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9" h="73">
                  <a:moveTo>
                    <a:pt x="100" y="73"/>
                  </a:moveTo>
                  <a:lnTo>
                    <a:pt x="59" y="54"/>
                  </a:lnTo>
                  <a:lnTo>
                    <a:pt x="19" y="37"/>
                  </a:lnTo>
                  <a:lnTo>
                    <a:pt x="0" y="37"/>
                  </a:lnTo>
                  <a:lnTo>
                    <a:pt x="19" y="37"/>
                  </a:lnTo>
                  <a:lnTo>
                    <a:pt x="19" y="17"/>
                  </a:lnTo>
                  <a:lnTo>
                    <a:pt x="40" y="0"/>
                  </a:lnTo>
                  <a:lnTo>
                    <a:pt x="78" y="17"/>
                  </a:lnTo>
                  <a:lnTo>
                    <a:pt x="100" y="37"/>
                  </a:lnTo>
                  <a:lnTo>
                    <a:pt x="119" y="54"/>
                  </a:lnTo>
                  <a:lnTo>
                    <a:pt x="100" y="54"/>
                  </a:lnTo>
                  <a:lnTo>
                    <a:pt x="100" y="73"/>
                  </a:lnTo>
                  <a:close/>
                </a:path>
              </a:pathLst>
            </a:custGeom>
            <a:solidFill>
              <a:srgbClr val="C0C0C0"/>
            </a:solidFill>
            <a:ln w="9525">
              <a:solidFill>
                <a:srgbClr val="C0C0C0"/>
              </a:solidFill>
              <a:round/>
              <a:headEnd/>
              <a:tailEnd/>
            </a:ln>
          </p:spPr>
          <p:txBody>
            <a:bodyPr/>
            <a:lstStyle/>
            <a:p>
              <a:endParaRPr lang="en-US"/>
            </a:p>
          </p:txBody>
        </p:sp>
        <p:sp>
          <p:nvSpPr>
            <p:cNvPr id="9461" name="Freeform 152"/>
            <p:cNvSpPr>
              <a:spLocks/>
            </p:cNvSpPr>
            <p:nvPr/>
          </p:nvSpPr>
          <p:spPr bwMode="auto">
            <a:xfrm>
              <a:off x="1443" y="1455"/>
              <a:ext cx="90" cy="63"/>
            </a:xfrm>
            <a:custGeom>
              <a:avLst/>
              <a:gdLst>
                <a:gd name="T0" fmla="*/ 1 w 180"/>
                <a:gd name="T1" fmla="*/ 1 h 125"/>
                <a:gd name="T2" fmla="*/ 1 w 180"/>
                <a:gd name="T3" fmla="*/ 1 h 125"/>
                <a:gd name="T4" fmla="*/ 1 w 180"/>
                <a:gd name="T5" fmla="*/ 1 h 125"/>
                <a:gd name="T6" fmla="*/ 1 w 180"/>
                <a:gd name="T7" fmla="*/ 1 h 125"/>
                <a:gd name="T8" fmla="*/ 1 w 180"/>
                <a:gd name="T9" fmla="*/ 1 h 125"/>
                <a:gd name="T10" fmla="*/ 1 w 180"/>
                <a:gd name="T11" fmla="*/ 1 h 125"/>
                <a:gd name="T12" fmla="*/ 1 w 180"/>
                <a:gd name="T13" fmla="*/ 1 h 125"/>
                <a:gd name="T14" fmla="*/ 1 w 180"/>
                <a:gd name="T15" fmla="*/ 1 h 125"/>
                <a:gd name="T16" fmla="*/ 1 w 180"/>
                <a:gd name="T17" fmla="*/ 1 h 125"/>
                <a:gd name="T18" fmla="*/ 1 w 180"/>
                <a:gd name="T19" fmla="*/ 1 h 125"/>
                <a:gd name="T20" fmla="*/ 1 w 180"/>
                <a:gd name="T21" fmla="*/ 1 h 125"/>
                <a:gd name="T22" fmla="*/ 1 w 180"/>
                <a:gd name="T23" fmla="*/ 1 h 125"/>
                <a:gd name="T24" fmla="*/ 1 w 180"/>
                <a:gd name="T25" fmla="*/ 1 h 125"/>
                <a:gd name="T26" fmla="*/ 1 w 180"/>
                <a:gd name="T27" fmla="*/ 1 h 125"/>
                <a:gd name="T28" fmla="*/ 0 w 180"/>
                <a:gd name="T29" fmla="*/ 1 h 125"/>
                <a:gd name="T30" fmla="*/ 1 w 180"/>
                <a:gd name="T31" fmla="*/ 1 h 125"/>
                <a:gd name="T32" fmla="*/ 1 w 180"/>
                <a:gd name="T33" fmla="*/ 1 h 125"/>
                <a:gd name="T34" fmla="*/ 1 w 180"/>
                <a:gd name="T35" fmla="*/ 1 h 125"/>
                <a:gd name="T36" fmla="*/ 1 w 180"/>
                <a:gd name="T37" fmla="*/ 1 h 125"/>
                <a:gd name="T38" fmla="*/ 1 w 180"/>
                <a:gd name="T39" fmla="*/ 0 h 125"/>
                <a:gd name="T40" fmla="*/ 1 w 180"/>
                <a:gd name="T41" fmla="*/ 1 h 125"/>
                <a:gd name="T42" fmla="*/ 1 w 180"/>
                <a:gd name="T43" fmla="*/ 1 h 125"/>
                <a:gd name="T44" fmla="*/ 1 w 180"/>
                <a:gd name="T45" fmla="*/ 1 h 125"/>
                <a:gd name="T46" fmla="*/ 1 w 180"/>
                <a:gd name="T47" fmla="*/ 1 h 1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80"/>
                <a:gd name="T73" fmla="*/ 0 h 125"/>
                <a:gd name="T74" fmla="*/ 180 w 180"/>
                <a:gd name="T75" fmla="*/ 125 h 12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80" h="125">
                  <a:moveTo>
                    <a:pt x="180" y="36"/>
                  </a:moveTo>
                  <a:lnTo>
                    <a:pt x="159" y="36"/>
                  </a:lnTo>
                  <a:lnTo>
                    <a:pt x="140" y="36"/>
                  </a:lnTo>
                  <a:lnTo>
                    <a:pt x="119" y="71"/>
                  </a:lnTo>
                  <a:lnTo>
                    <a:pt x="119" y="88"/>
                  </a:lnTo>
                  <a:lnTo>
                    <a:pt x="78" y="88"/>
                  </a:lnTo>
                  <a:lnTo>
                    <a:pt x="59" y="88"/>
                  </a:lnTo>
                  <a:lnTo>
                    <a:pt x="59" y="105"/>
                  </a:lnTo>
                  <a:lnTo>
                    <a:pt x="59" y="125"/>
                  </a:lnTo>
                  <a:lnTo>
                    <a:pt x="40" y="125"/>
                  </a:lnTo>
                  <a:lnTo>
                    <a:pt x="19" y="125"/>
                  </a:lnTo>
                  <a:lnTo>
                    <a:pt x="19" y="105"/>
                  </a:lnTo>
                  <a:lnTo>
                    <a:pt x="19" y="88"/>
                  </a:lnTo>
                  <a:lnTo>
                    <a:pt x="19" y="71"/>
                  </a:lnTo>
                  <a:lnTo>
                    <a:pt x="0" y="36"/>
                  </a:lnTo>
                  <a:lnTo>
                    <a:pt x="19" y="36"/>
                  </a:lnTo>
                  <a:lnTo>
                    <a:pt x="40" y="36"/>
                  </a:lnTo>
                  <a:lnTo>
                    <a:pt x="40" y="19"/>
                  </a:lnTo>
                  <a:lnTo>
                    <a:pt x="59" y="19"/>
                  </a:lnTo>
                  <a:lnTo>
                    <a:pt x="59" y="0"/>
                  </a:lnTo>
                  <a:lnTo>
                    <a:pt x="99" y="19"/>
                  </a:lnTo>
                  <a:lnTo>
                    <a:pt x="119" y="19"/>
                  </a:lnTo>
                  <a:lnTo>
                    <a:pt x="180" y="19"/>
                  </a:lnTo>
                  <a:lnTo>
                    <a:pt x="180" y="36"/>
                  </a:lnTo>
                  <a:close/>
                </a:path>
              </a:pathLst>
            </a:custGeom>
            <a:solidFill>
              <a:srgbClr val="C0C0C0"/>
            </a:solidFill>
            <a:ln w="9525">
              <a:solidFill>
                <a:srgbClr val="C0C0C0"/>
              </a:solidFill>
              <a:round/>
              <a:headEnd/>
              <a:tailEnd/>
            </a:ln>
          </p:spPr>
          <p:txBody>
            <a:bodyPr/>
            <a:lstStyle/>
            <a:p>
              <a:endParaRPr lang="en-US"/>
            </a:p>
          </p:txBody>
        </p:sp>
        <p:sp>
          <p:nvSpPr>
            <p:cNvPr id="9462" name="Freeform 153"/>
            <p:cNvSpPr>
              <a:spLocks/>
            </p:cNvSpPr>
            <p:nvPr/>
          </p:nvSpPr>
          <p:spPr bwMode="auto">
            <a:xfrm>
              <a:off x="1282" y="1357"/>
              <a:ext cx="20" cy="18"/>
            </a:xfrm>
            <a:custGeom>
              <a:avLst/>
              <a:gdLst>
                <a:gd name="T0" fmla="*/ 1 w 40"/>
                <a:gd name="T1" fmla="*/ 0 h 37"/>
                <a:gd name="T2" fmla="*/ 1 w 40"/>
                <a:gd name="T3" fmla="*/ 0 h 37"/>
                <a:gd name="T4" fmla="*/ 1 w 40"/>
                <a:gd name="T5" fmla="*/ 0 h 37"/>
                <a:gd name="T6" fmla="*/ 0 w 40"/>
                <a:gd name="T7" fmla="*/ 0 h 37"/>
                <a:gd name="T8" fmla="*/ 0 w 40"/>
                <a:gd name="T9" fmla="*/ 0 h 37"/>
                <a:gd name="T10" fmla="*/ 1 w 40"/>
                <a:gd name="T11" fmla="*/ 0 h 37"/>
                <a:gd name="T12" fmla="*/ 1 w 40"/>
                <a:gd name="T13" fmla="*/ 0 h 37"/>
                <a:gd name="T14" fmla="*/ 0 60000 65536"/>
                <a:gd name="T15" fmla="*/ 0 60000 65536"/>
                <a:gd name="T16" fmla="*/ 0 60000 65536"/>
                <a:gd name="T17" fmla="*/ 0 60000 65536"/>
                <a:gd name="T18" fmla="*/ 0 60000 65536"/>
                <a:gd name="T19" fmla="*/ 0 60000 65536"/>
                <a:gd name="T20" fmla="*/ 0 60000 65536"/>
                <a:gd name="T21" fmla="*/ 0 w 40"/>
                <a:gd name="T22" fmla="*/ 0 h 37"/>
                <a:gd name="T23" fmla="*/ 40 w 40"/>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37">
                  <a:moveTo>
                    <a:pt x="40" y="17"/>
                  </a:moveTo>
                  <a:lnTo>
                    <a:pt x="40" y="37"/>
                  </a:lnTo>
                  <a:lnTo>
                    <a:pt x="19" y="37"/>
                  </a:lnTo>
                  <a:lnTo>
                    <a:pt x="0" y="17"/>
                  </a:lnTo>
                  <a:lnTo>
                    <a:pt x="0" y="0"/>
                  </a:lnTo>
                  <a:lnTo>
                    <a:pt x="19" y="0"/>
                  </a:lnTo>
                  <a:lnTo>
                    <a:pt x="40" y="17"/>
                  </a:lnTo>
                  <a:close/>
                </a:path>
              </a:pathLst>
            </a:custGeom>
            <a:solidFill>
              <a:srgbClr val="C0C0C0"/>
            </a:solidFill>
            <a:ln w="9525">
              <a:solidFill>
                <a:srgbClr val="C0C0C0"/>
              </a:solidFill>
              <a:round/>
              <a:headEnd/>
              <a:tailEnd/>
            </a:ln>
          </p:spPr>
          <p:txBody>
            <a:bodyPr/>
            <a:lstStyle/>
            <a:p>
              <a:endParaRPr lang="en-US"/>
            </a:p>
          </p:txBody>
        </p:sp>
        <p:sp>
          <p:nvSpPr>
            <p:cNvPr id="9463" name="Freeform 154"/>
            <p:cNvSpPr>
              <a:spLocks/>
            </p:cNvSpPr>
            <p:nvPr/>
          </p:nvSpPr>
          <p:spPr bwMode="auto">
            <a:xfrm>
              <a:off x="1302" y="1420"/>
              <a:ext cx="21" cy="17"/>
            </a:xfrm>
            <a:custGeom>
              <a:avLst/>
              <a:gdLst>
                <a:gd name="T0" fmla="*/ 0 w 43"/>
                <a:gd name="T1" fmla="*/ 0 h 34"/>
                <a:gd name="T2" fmla="*/ 0 w 43"/>
                <a:gd name="T3" fmla="*/ 1 h 34"/>
                <a:gd name="T4" fmla="*/ 0 w 43"/>
                <a:gd name="T5" fmla="*/ 1 h 34"/>
                <a:gd name="T6" fmla="*/ 0 w 43"/>
                <a:gd name="T7" fmla="*/ 1 h 34"/>
                <a:gd name="T8" fmla="*/ 0 w 43"/>
                <a:gd name="T9" fmla="*/ 1 h 34"/>
                <a:gd name="T10" fmla="*/ 0 w 43"/>
                <a:gd name="T11" fmla="*/ 0 h 34"/>
                <a:gd name="T12" fmla="*/ 0 w 43"/>
                <a:gd name="T13" fmla="*/ 0 h 34"/>
                <a:gd name="T14" fmla="*/ 0 60000 65536"/>
                <a:gd name="T15" fmla="*/ 0 60000 65536"/>
                <a:gd name="T16" fmla="*/ 0 60000 65536"/>
                <a:gd name="T17" fmla="*/ 0 60000 65536"/>
                <a:gd name="T18" fmla="*/ 0 60000 65536"/>
                <a:gd name="T19" fmla="*/ 0 60000 65536"/>
                <a:gd name="T20" fmla="*/ 0 60000 65536"/>
                <a:gd name="T21" fmla="*/ 0 w 43"/>
                <a:gd name="T22" fmla="*/ 0 h 34"/>
                <a:gd name="T23" fmla="*/ 43 w 43"/>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34">
                  <a:moveTo>
                    <a:pt x="21" y="0"/>
                  </a:moveTo>
                  <a:lnTo>
                    <a:pt x="43" y="17"/>
                  </a:lnTo>
                  <a:lnTo>
                    <a:pt x="21" y="34"/>
                  </a:lnTo>
                  <a:lnTo>
                    <a:pt x="0" y="34"/>
                  </a:lnTo>
                  <a:lnTo>
                    <a:pt x="0" y="17"/>
                  </a:lnTo>
                  <a:lnTo>
                    <a:pt x="0" y="0"/>
                  </a:lnTo>
                  <a:lnTo>
                    <a:pt x="21" y="0"/>
                  </a:lnTo>
                  <a:close/>
                </a:path>
              </a:pathLst>
            </a:custGeom>
            <a:solidFill>
              <a:srgbClr val="C0C0C0"/>
            </a:solidFill>
            <a:ln w="9525">
              <a:solidFill>
                <a:srgbClr val="C0C0C0"/>
              </a:solidFill>
              <a:round/>
              <a:headEnd/>
              <a:tailEnd/>
            </a:ln>
          </p:spPr>
          <p:txBody>
            <a:bodyPr/>
            <a:lstStyle/>
            <a:p>
              <a:endParaRPr lang="en-US"/>
            </a:p>
          </p:txBody>
        </p:sp>
        <p:sp>
          <p:nvSpPr>
            <p:cNvPr id="9464" name="Freeform 155"/>
            <p:cNvSpPr>
              <a:spLocks/>
            </p:cNvSpPr>
            <p:nvPr/>
          </p:nvSpPr>
          <p:spPr bwMode="auto">
            <a:xfrm>
              <a:off x="1291" y="1304"/>
              <a:ext cx="102" cy="53"/>
            </a:xfrm>
            <a:custGeom>
              <a:avLst/>
              <a:gdLst>
                <a:gd name="T0" fmla="*/ 1 w 204"/>
                <a:gd name="T1" fmla="*/ 1 h 105"/>
                <a:gd name="T2" fmla="*/ 1 w 204"/>
                <a:gd name="T3" fmla="*/ 1 h 105"/>
                <a:gd name="T4" fmla="*/ 1 w 204"/>
                <a:gd name="T5" fmla="*/ 1 h 105"/>
                <a:gd name="T6" fmla="*/ 1 w 204"/>
                <a:gd name="T7" fmla="*/ 1 h 105"/>
                <a:gd name="T8" fmla="*/ 1 w 204"/>
                <a:gd name="T9" fmla="*/ 1 h 105"/>
                <a:gd name="T10" fmla="*/ 1 w 204"/>
                <a:gd name="T11" fmla="*/ 1 h 105"/>
                <a:gd name="T12" fmla="*/ 1 w 204"/>
                <a:gd name="T13" fmla="*/ 1 h 105"/>
                <a:gd name="T14" fmla="*/ 1 w 204"/>
                <a:gd name="T15" fmla="*/ 1 h 105"/>
                <a:gd name="T16" fmla="*/ 1 w 204"/>
                <a:gd name="T17" fmla="*/ 1 h 105"/>
                <a:gd name="T18" fmla="*/ 1 w 204"/>
                <a:gd name="T19" fmla="*/ 1 h 105"/>
                <a:gd name="T20" fmla="*/ 0 w 204"/>
                <a:gd name="T21" fmla="*/ 1 h 105"/>
                <a:gd name="T22" fmla="*/ 0 w 204"/>
                <a:gd name="T23" fmla="*/ 1 h 105"/>
                <a:gd name="T24" fmla="*/ 1 w 204"/>
                <a:gd name="T25" fmla="*/ 1 h 105"/>
                <a:gd name="T26" fmla="*/ 1 w 204"/>
                <a:gd name="T27" fmla="*/ 0 h 105"/>
                <a:gd name="T28" fmla="*/ 1 w 204"/>
                <a:gd name="T29" fmla="*/ 1 h 105"/>
                <a:gd name="T30" fmla="*/ 1 w 204"/>
                <a:gd name="T31" fmla="*/ 1 h 105"/>
                <a:gd name="T32" fmla="*/ 1 w 204"/>
                <a:gd name="T33" fmla="*/ 1 h 105"/>
                <a:gd name="T34" fmla="*/ 1 w 204"/>
                <a:gd name="T35" fmla="*/ 1 h 105"/>
                <a:gd name="T36" fmla="*/ 1 w 204"/>
                <a:gd name="T37" fmla="*/ 1 h 105"/>
                <a:gd name="T38" fmla="*/ 1 w 204"/>
                <a:gd name="T39" fmla="*/ 1 h 105"/>
                <a:gd name="T40" fmla="*/ 1 w 204"/>
                <a:gd name="T41" fmla="*/ 1 h 105"/>
                <a:gd name="T42" fmla="*/ 1 w 204"/>
                <a:gd name="T43" fmla="*/ 1 h 105"/>
                <a:gd name="T44" fmla="*/ 1 w 204"/>
                <a:gd name="T45" fmla="*/ 1 h 105"/>
                <a:gd name="T46" fmla="*/ 1 w 204"/>
                <a:gd name="T47" fmla="*/ 1 h 105"/>
                <a:gd name="T48" fmla="*/ 1 w 204"/>
                <a:gd name="T49" fmla="*/ 1 h 105"/>
                <a:gd name="T50" fmla="*/ 1 w 204"/>
                <a:gd name="T51" fmla="*/ 1 h 105"/>
                <a:gd name="T52" fmla="*/ 1 w 204"/>
                <a:gd name="T53" fmla="*/ 1 h 105"/>
                <a:gd name="T54" fmla="*/ 1 w 204"/>
                <a:gd name="T55" fmla="*/ 1 h 105"/>
                <a:gd name="T56" fmla="*/ 1 w 204"/>
                <a:gd name="T57" fmla="*/ 1 h 105"/>
                <a:gd name="T58" fmla="*/ 1 w 204"/>
                <a:gd name="T59" fmla="*/ 1 h 105"/>
                <a:gd name="T60" fmla="*/ 1 w 204"/>
                <a:gd name="T61" fmla="*/ 1 h 105"/>
                <a:gd name="T62" fmla="*/ 1 w 204"/>
                <a:gd name="T63" fmla="*/ 1 h 105"/>
                <a:gd name="T64" fmla="*/ 1 w 204"/>
                <a:gd name="T65" fmla="*/ 1 h 105"/>
                <a:gd name="T66" fmla="*/ 1 w 204"/>
                <a:gd name="T67" fmla="*/ 1 h 10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4"/>
                <a:gd name="T103" fmla="*/ 0 h 105"/>
                <a:gd name="T104" fmla="*/ 204 w 204"/>
                <a:gd name="T105" fmla="*/ 105 h 10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4" h="105">
                  <a:moveTo>
                    <a:pt x="142" y="88"/>
                  </a:moveTo>
                  <a:lnTo>
                    <a:pt x="104" y="69"/>
                  </a:lnTo>
                  <a:lnTo>
                    <a:pt x="83" y="69"/>
                  </a:lnTo>
                  <a:lnTo>
                    <a:pt x="64" y="69"/>
                  </a:lnTo>
                  <a:lnTo>
                    <a:pt x="42" y="69"/>
                  </a:lnTo>
                  <a:lnTo>
                    <a:pt x="21" y="69"/>
                  </a:lnTo>
                  <a:lnTo>
                    <a:pt x="21" y="51"/>
                  </a:lnTo>
                  <a:lnTo>
                    <a:pt x="42" y="51"/>
                  </a:lnTo>
                  <a:lnTo>
                    <a:pt x="21" y="51"/>
                  </a:lnTo>
                  <a:lnTo>
                    <a:pt x="21" y="34"/>
                  </a:lnTo>
                  <a:lnTo>
                    <a:pt x="0" y="34"/>
                  </a:lnTo>
                  <a:lnTo>
                    <a:pt x="0" y="15"/>
                  </a:lnTo>
                  <a:lnTo>
                    <a:pt x="21" y="15"/>
                  </a:lnTo>
                  <a:lnTo>
                    <a:pt x="21" y="0"/>
                  </a:lnTo>
                  <a:lnTo>
                    <a:pt x="42" y="15"/>
                  </a:lnTo>
                  <a:lnTo>
                    <a:pt x="64" y="15"/>
                  </a:lnTo>
                  <a:lnTo>
                    <a:pt x="83" y="34"/>
                  </a:lnTo>
                  <a:lnTo>
                    <a:pt x="83" y="15"/>
                  </a:lnTo>
                  <a:lnTo>
                    <a:pt x="104" y="15"/>
                  </a:lnTo>
                  <a:lnTo>
                    <a:pt x="123" y="34"/>
                  </a:lnTo>
                  <a:lnTo>
                    <a:pt x="123" y="51"/>
                  </a:lnTo>
                  <a:lnTo>
                    <a:pt x="142" y="51"/>
                  </a:lnTo>
                  <a:lnTo>
                    <a:pt x="142" y="34"/>
                  </a:lnTo>
                  <a:lnTo>
                    <a:pt x="163" y="34"/>
                  </a:lnTo>
                  <a:lnTo>
                    <a:pt x="163" y="51"/>
                  </a:lnTo>
                  <a:lnTo>
                    <a:pt x="183" y="51"/>
                  </a:lnTo>
                  <a:lnTo>
                    <a:pt x="163" y="51"/>
                  </a:lnTo>
                  <a:lnTo>
                    <a:pt x="183" y="69"/>
                  </a:lnTo>
                  <a:lnTo>
                    <a:pt x="204" y="88"/>
                  </a:lnTo>
                  <a:lnTo>
                    <a:pt x="204" y="105"/>
                  </a:lnTo>
                  <a:lnTo>
                    <a:pt x="183" y="105"/>
                  </a:lnTo>
                  <a:lnTo>
                    <a:pt x="163" y="105"/>
                  </a:lnTo>
                  <a:lnTo>
                    <a:pt x="163" y="88"/>
                  </a:lnTo>
                  <a:lnTo>
                    <a:pt x="142" y="88"/>
                  </a:lnTo>
                  <a:close/>
                </a:path>
              </a:pathLst>
            </a:custGeom>
            <a:solidFill>
              <a:srgbClr val="C0C0C0"/>
            </a:solidFill>
            <a:ln w="9525">
              <a:solidFill>
                <a:srgbClr val="C0C0C0"/>
              </a:solidFill>
              <a:round/>
              <a:headEnd/>
              <a:tailEnd/>
            </a:ln>
          </p:spPr>
          <p:txBody>
            <a:bodyPr/>
            <a:lstStyle/>
            <a:p>
              <a:endParaRPr lang="en-US"/>
            </a:p>
          </p:txBody>
        </p:sp>
        <p:sp>
          <p:nvSpPr>
            <p:cNvPr id="9465" name="Freeform 156"/>
            <p:cNvSpPr>
              <a:spLocks/>
            </p:cNvSpPr>
            <p:nvPr/>
          </p:nvSpPr>
          <p:spPr bwMode="auto">
            <a:xfrm>
              <a:off x="1432" y="1375"/>
              <a:ext cx="272" cy="72"/>
            </a:xfrm>
            <a:custGeom>
              <a:avLst/>
              <a:gdLst>
                <a:gd name="T0" fmla="*/ 1 w 544"/>
                <a:gd name="T1" fmla="*/ 1 h 144"/>
                <a:gd name="T2" fmla="*/ 1 w 544"/>
                <a:gd name="T3" fmla="*/ 1 h 144"/>
                <a:gd name="T4" fmla="*/ 1 w 544"/>
                <a:gd name="T5" fmla="*/ 1 h 144"/>
                <a:gd name="T6" fmla="*/ 1 w 544"/>
                <a:gd name="T7" fmla="*/ 1 h 144"/>
                <a:gd name="T8" fmla="*/ 1 w 544"/>
                <a:gd name="T9" fmla="*/ 1 h 144"/>
                <a:gd name="T10" fmla="*/ 1 w 544"/>
                <a:gd name="T11" fmla="*/ 1 h 144"/>
                <a:gd name="T12" fmla="*/ 1 w 544"/>
                <a:gd name="T13" fmla="*/ 1 h 144"/>
                <a:gd name="T14" fmla="*/ 1 w 544"/>
                <a:gd name="T15" fmla="*/ 1 h 144"/>
                <a:gd name="T16" fmla="*/ 1 w 544"/>
                <a:gd name="T17" fmla="*/ 1 h 144"/>
                <a:gd name="T18" fmla="*/ 1 w 544"/>
                <a:gd name="T19" fmla="*/ 1 h 144"/>
                <a:gd name="T20" fmla="*/ 1 w 544"/>
                <a:gd name="T21" fmla="*/ 1 h 144"/>
                <a:gd name="T22" fmla="*/ 1 w 544"/>
                <a:gd name="T23" fmla="*/ 1 h 144"/>
                <a:gd name="T24" fmla="*/ 1 w 544"/>
                <a:gd name="T25" fmla="*/ 1 h 144"/>
                <a:gd name="T26" fmla="*/ 1 w 544"/>
                <a:gd name="T27" fmla="*/ 1 h 144"/>
                <a:gd name="T28" fmla="*/ 1 w 544"/>
                <a:gd name="T29" fmla="*/ 1 h 144"/>
                <a:gd name="T30" fmla="*/ 1 w 544"/>
                <a:gd name="T31" fmla="*/ 1 h 144"/>
                <a:gd name="T32" fmla="*/ 1 w 544"/>
                <a:gd name="T33" fmla="*/ 1 h 144"/>
                <a:gd name="T34" fmla="*/ 1 w 544"/>
                <a:gd name="T35" fmla="*/ 1 h 144"/>
                <a:gd name="T36" fmla="*/ 1 w 544"/>
                <a:gd name="T37" fmla="*/ 1 h 144"/>
                <a:gd name="T38" fmla="*/ 1 w 544"/>
                <a:gd name="T39" fmla="*/ 1 h 144"/>
                <a:gd name="T40" fmla="*/ 1 w 544"/>
                <a:gd name="T41" fmla="*/ 1 h 144"/>
                <a:gd name="T42" fmla="*/ 1 w 544"/>
                <a:gd name="T43" fmla="*/ 1 h 144"/>
                <a:gd name="T44" fmla="*/ 1 w 544"/>
                <a:gd name="T45" fmla="*/ 1 h 144"/>
                <a:gd name="T46" fmla="*/ 1 w 544"/>
                <a:gd name="T47" fmla="*/ 1 h 144"/>
                <a:gd name="T48" fmla="*/ 1 w 544"/>
                <a:gd name="T49" fmla="*/ 1 h 144"/>
                <a:gd name="T50" fmla="*/ 1 w 544"/>
                <a:gd name="T51" fmla="*/ 1 h 144"/>
                <a:gd name="T52" fmla="*/ 0 w 544"/>
                <a:gd name="T53" fmla="*/ 1 h 144"/>
                <a:gd name="T54" fmla="*/ 1 w 544"/>
                <a:gd name="T55" fmla="*/ 1 h 144"/>
                <a:gd name="T56" fmla="*/ 1 w 544"/>
                <a:gd name="T57" fmla="*/ 0 h 144"/>
                <a:gd name="T58" fmla="*/ 1 w 544"/>
                <a:gd name="T59" fmla="*/ 1 h 144"/>
                <a:gd name="T60" fmla="*/ 1 w 544"/>
                <a:gd name="T61" fmla="*/ 1 h 144"/>
                <a:gd name="T62" fmla="*/ 1 w 544"/>
                <a:gd name="T63" fmla="*/ 1 h 144"/>
                <a:gd name="T64" fmla="*/ 1 w 544"/>
                <a:gd name="T65" fmla="*/ 1 h 144"/>
                <a:gd name="T66" fmla="*/ 1 w 544"/>
                <a:gd name="T67" fmla="*/ 1 h 144"/>
                <a:gd name="T68" fmla="*/ 1 w 544"/>
                <a:gd name="T69" fmla="*/ 1 h 144"/>
                <a:gd name="T70" fmla="*/ 1 w 544"/>
                <a:gd name="T71" fmla="*/ 1 h 144"/>
                <a:gd name="T72" fmla="*/ 1 w 544"/>
                <a:gd name="T73" fmla="*/ 1 h 144"/>
                <a:gd name="T74" fmla="*/ 1 w 544"/>
                <a:gd name="T75" fmla="*/ 1 h 144"/>
                <a:gd name="T76" fmla="*/ 1 w 544"/>
                <a:gd name="T77" fmla="*/ 1 h 144"/>
                <a:gd name="T78" fmla="*/ 1 w 544"/>
                <a:gd name="T79" fmla="*/ 1 h 144"/>
                <a:gd name="T80" fmla="*/ 1 w 544"/>
                <a:gd name="T81" fmla="*/ 1 h 144"/>
                <a:gd name="T82" fmla="*/ 1 w 544"/>
                <a:gd name="T83" fmla="*/ 1 h 144"/>
                <a:gd name="T84" fmla="*/ 1 w 544"/>
                <a:gd name="T85" fmla="*/ 1 h 144"/>
                <a:gd name="T86" fmla="*/ 1 w 544"/>
                <a:gd name="T87" fmla="*/ 1 h 144"/>
                <a:gd name="T88" fmla="*/ 1 w 544"/>
                <a:gd name="T89" fmla="*/ 1 h 144"/>
                <a:gd name="T90" fmla="*/ 1 w 544"/>
                <a:gd name="T91" fmla="*/ 1 h 144"/>
                <a:gd name="T92" fmla="*/ 1 w 544"/>
                <a:gd name="T93" fmla="*/ 1 h 144"/>
                <a:gd name="T94" fmla="*/ 1 w 544"/>
                <a:gd name="T95" fmla="*/ 1 h 144"/>
                <a:gd name="T96" fmla="*/ 1 w 544"/>
                <a:gd name="T97" fmla="*/ 1 h 144"/>
                <a:gd name="T98" fmla="*/ 1 w 544"/>
                <a:gd name="T99" fmla="*/ 1 h 144"/>
                <a:gd name="T100" fmla="*/ 1 w 544"/>
                <a:gd name="T101" fmla="*/ 1 h 144"/>
                <a:gd name="T102" fmla="*/ 1 w 544"/>
                <a:gd name="T103" fmla="*/ 1 h 14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44"/>
                <a:gd name="T157" fmla="*/ 0 h 144"/>
                <a:gd name="T158" fmla="*/ 544 w 544"/>
                <a:gd name="T159" fmla="*/ 144 h 14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44" h="144">
                  <a:moveTo>
                    <a:pt x="523" y="107"/>
                  </a:moveTo>
                  <a:lnTo>
                    <a:pt x="523" y="124"/>
                  </a:lnTo>
                  <a:lnTo>
                    <a:pt x="544" y="124"/>
                  </a:lnTo>
                  <a:lnTo>
                    <a:pt x="523" y="144"/>
                  </a:lnTo>
                  <a:lnTo>
                    <a:pt x="482" y="144"/>
                  </a:lnTo>
                  <a:lnTo>
                    <a:pt x="444" y="144"/>
                  </a:lnTo>
                  <a:lnTo>
                    <a:pt x="423" y="144"/>
                  </a:lnTo>
                  <a:lnTo>
                    <a:pt x="404" y="144"/>
                  </a:lnTo>
                  <a:lnTo>
                    <a:pt x="363" y="144"/>
                  </a:lnTo>
                  <a:lnTo>
                    <a:pt x="323" y="144"/>
                  </a:lnTo>
                  <a:lnTo>
                    <a:pt x="304" y="144"/>
                  </a:lnTo>
                  <a:lnTo>
                    <a:pt x="283" y="144"/>
                  </a:lnTo>
                  <a:lnTo>
                    <a:pt x="263" y="144"/>
                  </a:lnTo>
                  <a:lnTo>
                    <a:pt x="242" y="144"/>
                  </a:lnTo>
                  <a:lnTo>
                    <a:pt x="221" y="144"/>
                  </a:lnTo>
                  <a:lnTo>
                    <a:pt x="181" y="144"/>
                  </a:lnTo>
                  <a:lnTo>
                    <a:pt x="141" y="124"/>
                  </a:lnTo>
                  <a:lnTo>
                    <a:pt x="121" y="107"/>
                  </a:lnTo>
                  <a:lnTo>
                    <a:pt x="141" y="107"/>
                  </a:lnTo>
                  <a:lnTo>
                    <a:pt x="141" y="90"/>
                  </a:lnTo>
                  <a:lnTo>
                    <a:pt x="121" y="90"/>
                  </a:lnTo>
                  <a:lnTo>
                    <a:pt x="100" y="53"/>
                  </a:lnTo>
                  <a:lnTo>
                    <a:pt x="100" y="36"/>
                  </a:lnTo>
                  <a:lnTo>
                    <a:pt x="81" y="53"/>
                  </a:lnTo>
                  <a:lnTo>
                    <a:pt x="41" y="36"/>
                  </a:lnTo>
                  <a:lnTo>
                    <a:pt x="22" y="17"/>
                  </a:lnTo>
                  <a:lnTo>
                    <a:pt x="0" y="17"/>
                  </a:lnTo>
                  <a:lnTo>
                    <a:pt x="22" y="17"/>
                  </a:lnTo>
                  <a:lnTo>
                    <a:pt x="22" y="0"/>
                  </a:lnTo>
                  <a:lnTo>
                    <a:pt x="81" y="17"/>
                  </a:lnTo>
                  <a:lnTo>
                    <a:pt x="121" y="36"/>
                  </a:lnTo>
                  <a:lnTo>
                    <a:pt x="141" y="36"/>
                  </a:lnTo>
                  <a:lnTo>
                    <a:pt x="141" y="17"/>
                  </a:lnTo>
                  <a:lnTo>
                    <a:pt x="162" y="17"/>
                  </a:lnTo>
                  <a:lnTo>
                    <a:pt x="162" y="36"/>
                  </a:lnTo>
                  <a:lnTo>
                    <a:pt x="202" y="53"/>
                  </a:lnTo>
                  <a:lnTo>
                    <a:pt x="221" y="53"/>
                  </a:lnTo>
                  <a:lnTo>
                    <a:pt x="181" y="53"/>
                  </a:lnTo>
                  <a:lnTo>
                    <a:pt x="162" y="53"/>
                  </a:lnTo>
                  <a:lnTo>
                    <a:pt x="181" y="90"/>
                  </a:lnTo>
                  <a:lnTo>
                    <a:pt x="202" y="90"/>
                  </a:lnTo>
                  <a:lnTo>
                    <a:pt x="221" y="90"/>
                  </a:lnTo>
                  <a:lnTo>
                    <a:pt x="263" y="90"/>
                  </a:lnTo>
                  <a:lnTo>
                    <a:pt x="283" y="107"/>
                  </a:lnTo>
                  <a:lnTo>
                    <a:pt x="304" y="107"/>
                  </a:lnTo>
                  <a:lnTo>
                    <a:pt x="342" y="90"/>
                  </a:lnTo>
                  <a:lnTo>
                    <a:pt x="404" y="90"/>
                  </a:lnTo>
                  <a:lnTo>
                    <a:pt x="444" y="90"/>
                  </a:lnTo>
                  <a:lnTo>
                    <a:pt x="482" y="90"/>
                  </a:lnTo>
                  <a:lnTo>
                    <a:pt x="503" y="90"/>
                  </a:lnTo>
                  <a:lnTo>
                    <a:pt x="544" y="107"/>
                  </a:lnTo>
                  <a:lnTo>
                    <a:pt x="523" y="107"/>
                  </a:lnTo>
                  <a:close/>
                </a:path>
              </a:pathLst>
            </a:custGeom>
            <a:solidFill>
              <a:srgbClr val="C0C0C0"/>
            </a:solidFill>
            <a:ln w="9525">
              <a:solidFill>
                <a:srgbClr val="C0C0C0"/>
              </a:solidFill>
              <a:round/>
              <a:headEnd/>
              <a:tailEnd/>
            </a:ln>
          </p:spPr>
          <p:txBody>
            <a:bodyPr/>
            <a:lstStyle/>
            <a:p>
              <a:endParaRPr lang="en-US"/>
            </a:p>
          </p:txBody>
        </p:sp>
        <p:sp>
          <p:nvSpPr>
            <p:cNvPr id="9466" name="Freeform 157"/>
            <p:cNvSpPr>
              <a:spLocks/>
            </p:cNvSpPr>
            <p:nvPr/>
          </p:nvSpPr>
          <p:spPr bwMode="auto">
            <a:xfrm>
              <a:off x="1432" y="1420"/>
              <a:ext cx="50" cy="27"/>
            </a:xfrm>
            <a:custGeom>
              <a:avLst/>
              <a:gdLst>
                <a:gd name="T0" fmla="*/ 1 w 100"/>
                <a:gd name="T1" fmla="*/ 1 h 54"/>
                <a:gd name="T2" fmla="*/ 1 w 100"/>
                <a:gd name="T3" fmla="*/ 0 h 54"/>
                <a:gd name="T4" fmla="*/ 1 w 100"/>
                <a:gd name="T5" fmla="*/ 0 h 54"/>
                <a:gd name="T6" fmla="*/ 1 w 100"/>
                <a:gd name="T7" fmla="*/ 0 h 54"/>
                <a:gd name="T8" fmla="*/ 1 w 100"/>
                <a:gd name="T9" fmla="*/ 1 h 54"/>
                <a:gd name="T10" fmla="*/ 1 w 100"/>
                <a:gd name="T11" fmla="*/ 1 h 54"/>
                <a:gd name="T12" fmla="*/ 1 w 100"/>
                <a:gd name="T13" fmla="*/ 1 h 54"/>
                <a:gd name="T14" fmla="*/ 1 w 100"/>
                <a:gd name="T15" fmla="*/ 1 h 54"/>
                <a:gd name="T16" fmla="*/ 1 w 100"/>
                <a:gd name="T17" fmla="*/ 1 h 54"/>
                <a:gd name="T18" fmla="*/ 0 w 100"/>
                <a:gd name="T19" fmla="*/ 1 h 54"/>
                <a:gd name="T20" fmla="*/ 1 w 100"/>
                <a:gd name="T21" fmla="*/ 1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4"/>
                <a:gd name="T35" fmla="*/ 100 w 100"/>
                <a:gd name="T36" fmla="*/ 54 h 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4">
                  <a:moveTo>
                    <a:pt x="22" y="17"/>
                  </a:moveTo>
                  <a:lnTo>
                    <a:pt x="22" y="0"/>
                  </a:lnTo>
                  <a:lnTo>
                    <a:pt x="62" y="0"/>
                  </a:lnTo>
                  <a:lnTo>
                    <a:pt x="81" y="0"/>
                  </a:lnTo>
                  <a:lnTo>
                    <a:pt x="81" y="17"/>
                  </a:lnTo>
                  <a:lnTo>
                    <a:pt x="100" y="34"/>
                  </a:lnTo>
                  <a:lnTo>
                    <a:pt x="81" y="54"/>
                  </a:lnTo>
                  <a:lnTo>
                    <a:pt x="62" y="54"/>
                  </a:lnTo>
                  <a:lnTo>
                    <a:pt x="22" y="34"/>
                  </a:lnTo>
                  <a:lnTo>
                    <a:pt x="0" y="34"/>
                  </a:lnTo>
                  <a:lnTo>
                    <a:pt x="22" y="17"/>
                  </a:lnTo>
                  <a:close/>
                </a:path>
              </a:pathLst>
            </a:custGeom>
            <a:solidFill>
              <a:srgbClr val="C0C0C0"/>
            </a:solidFill>
            <a:ln w="9525">
              <a:solidFill>
                <a:srgbClr val="C0C0C0"/>
              </a:solidFill>
              <a:round/>
              <a:headEnd/>
              <a:tailEnd/>
            </a:ln>
          </p:spPr>
          <p:txBody>
            <a:bodyPr/>
            <a:lstStyle/>
            <a:p>
              <a:endParaRPr lang="en-US"/>
            </a:p>
          </p:txBody>
        </p:sp>
        <p:sp>
          <p:nvSpPr>
            <p:cNvPr id="9467" name="Freeform 158"/>
            <p:cNvSpPr>
              <a:spLocks/>
            </p:cNvSpPr>
            <p:nvPr/>
          </p:nvSpPr>
          <p:spPr bwMode="auto">
            <a:xfrm>
              <a:off x="1402" y="1321"/>
              <a:ext cx="61" cy="36"/>
            </a:xfrm>
            <a:custGeom>
              <a:avLst/>
              <a:gdLst>
                <a:gd name="T0" fmla="*/ 1 w 121"/>
                <a:gd name="T1" fmla="*/ 1 h 71"/>
                <a:gd name="T2" fmla="*/ 1 w 121"/>
                <a:gd name="T3" fmla="*/ 1 h 71"/>
                <a:gd name="T4" fmla="*/ 1 w 121"/>
                <a:gd name="T5" fmla="*/ 1 h 71"/>
                <a:gd name="T6" fmla="*/ 0 w 121"/>
                <a:gd name="T7" fmla="*/ 1 h 71"/>
                <a:gd name="T8" fmla="*/ 1 w 121"/>
                <a:gd name="T9" fmla="*/ 0 h 71"/>
                <a:gd name="T10" fmla="*/ 1 w 121"/>
                <a:gd name="T11" fmla="*/ 0 h 71"/>
                <a:gd name="T12" fmla="*/ 1 w 121"/>
                <a:gd name="T13" fmla="*/ 1 h 71"/>
                <a:gd name="T14" fmla="*/ 1 w 121"/>
                <a:gd name="T15" fmla="*/ 1 h 71"/>
                <a:gd name="T16" fmla="*/ 1 w 121"/>
                <a:gd name="T17" fmla="*/ 1 h 71"/>
                <a:gd name="T18" fmla="*/ 1 w 121"/>
                <a:gd name="T19" fmla="*/ 1 h 71"/>
                <a:gd name="T20" fmla="*/ 1 w 121"/>
                <a:gd name="T21" fmla="*/ 1 h 71"/>
                <a:gd name="T22" fmla="*/ 1 w 121"/>
                <a:gd name="T23" fmla="*/ 1 h 71"/>
                <a:gd name="T24" fmla="*/ 1 w 121"/>
                <a:gd name="T25" fmla="*/ 1 h 71"/>
                <a:gd name="T26" fmla="*/ 1 w 121"/>
                <a:gd name="T27" fmla="*/ 1 h 71"/>
                <a:gd name="T28" fmla="*/ 1 w 121"/>
                <a:gd name="T29" fmla="*/ 1 h 71"/>
                <a:gd name="T30" fmla="*/ 1 w 121"/>
                <a:gd name="T31" fmla="*/ 1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1"/>
                <a:gd name="T49" fmla="*/ 0 h 71"/>
                <a:gd name="T50" fmla="*/ 121 w 121"/>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1" h="71">
                  <a:moveTo>
                    <a:pt x="40" y="71"/>
                  </a:moveTo>
                  <a:lnTo>
                    <a:pt x="40" y="54"/>
                  </a:lnTo>
                  <a:lnTo>
                    <a:pt x="21" y="35"/>
                  </a:lnTo>
                  <a:lnTo>
                    <a:pt x="0" y="17"/>
                  </a:lnTo>
                  <a:lnTo>
                    <a:pt x="21" y="0"/>
                  </a:lnTo>
                  <a:lnTo>
                    <a:pt x="40" y="0"/>
                  </a:lnTo>
                  <a:lnTo>
                    <a:pt x="40" y="17"/>
                  </a:lnTo>
                  <a:lnTo>
                    <a:pt x="59" y="17"/>
                  </a:lnTo>
                  <a:lnTo>
                    <a:pt x="81" y="17"/>
                  </a:lnTo>
                  <a:lnTo>
                    <a:pt x="100" y="17"/>
                  </a:lnTo>
                  <a:lnTo>
                    <a:pt x="121" y="35"/>
                  </a:lnTo>
                  <a:lnTo>
                    <a:pt x="100" y="35"/>
                  </a:lnTo>
                  <a:lnTo>
                    <a:pt x="100" y="54"/>
                  </a:lnTo>
                  <a:lnTo>
                    <a:pt x="121" y="71"/>
                  </a:lnTo>
                  <a:lnTo>
                    <a:pt x="81" y="71"/>
                  </a:lnTo>
                  <a:lnTo>
                    <a:pt x="40" y="71"/>
                  </a:lnTo>
                  <a:close/>
                </a:path>
              </a:pathLst>
            </a:custGeom>
            <a:solidFill>
              <a:srgbClr val="C0C0C0"/>
            </a:solidFill>
            <a:ln w="9525">
              <a:solidFill>
                <a:srgbClr val="C0C0C0"/>
              </a:solidFill>
              <a:round/>
              <a:headEnd/>
              <a:tailEnd/>
            </a:ln>
          </p:spPr>
          <p:txBody>
            <a:bodyPr/>
            <a:lstStyle/>
            <a:p>
              <a:endParaRPr lang="en-US"/>
            </a:p>
          </p:txBody>
        </p:sp>
        <p:sp>
          <p:nvSpPr>
            <p:cNvPr id="9468" name="Freeform 159"/>
            <p:cNvSpPr>
              <a:spLocks/>
            </p:cNvSpPr>
            <p:nvPr/>
          </p:nvSpPr>
          <p:spPr bwMode="auto">
            <a:xfrm>
              <a:off x="1382" y="1286"/>
              <a:ext cx="20" cy="9"/>
            </a:xfrm>
            <a:custGeom>
              <a:avLst/>
              <a:gdLst>
                <a:gd name="T0" fmla="*/ 1 w 40"/>
                <a:gd name="T1" fmla="*/ 0 h 19"/>
                <a:gd name="T2" fmla="*/ 1 w 40"/>
                <a:gd name="T3" fmla="*/ 0 h 19"/>
                <a:gd name="T4" fmla="*/ 1 w 40"/>
                <a:gd name="T5" fmla="*/ 0 h 19"/>
                <a:gd name="T6" fmla="*/ 0 w 40"/>
                <a:gd name="T7" fmla="*/ 0 h 19"/>
                <a:gd name="T8" fmla="*/ 1 w 40"/>
                <a:gd name="T9" fmla="*/ 0 h 19"/>
                <a:gd name="T10" fmla="*/ 1 w 40"/>
                <a:gd name="T11" fmla="*/ 0 h 19"/>
                <a:gd name="T12" fmla="*/ 0 60000 65536"/>
                <a:gd name="T13" fmla="*/ 0 60000 65536"/>
                <a:gd name="T14" fmla="*/ 0 60000 65536"/>
                <a:gd name="T15" fmla="*/ 0 60000 65536"/>
                <a:gd name="T16" fmla="*/ 0 60000 65536"/>
                <a:gd name="T17" fmla="*/ 0 60000 65536"/>
                <a:gd name="T18" fmla="*/ 0 w 40"/>
                <a:gd name="T19" fmla="*/ 0 h 19"/>
                <a:gd name="T20" fmla="*/ 40 w 40"/>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40" h="19">
                  <a:moveTo>
                    <a:pt x="40" y="0"/>
                  </a:moveTo>
                  <a:lnTo>
                    <a:pt x="40" y="19"/>
                  </a:lnTo>
                  <a:lnTo>
                    <a:pt x="21" y="19"/>
                  </a:lnTo>
                  <a:lnTo>
                    <a:pt x="0" y="0"/>
                  </a:lnTo>
                  <a:lnTo>
                    <a:pt x="21" y="0"/>
                  </a:lnTo>
                  <a:lnTo>
                    <a:pt x="40" y="0"/>
                  </a:lnTo>
                  <a:close/>
                </a:path>
              </a:pathLst>
            </a:custGeom>
            <a:solidFill>
              <a:srgbClr val="C0C0C0"/>
            </a:solidFill>
            <a:ln w="9525">
              <a:solidFill>
                <a:srgbClr val="C0C0C0"/>
              </a:solidFill>
              <a:round/>
              <a:headEnd/>
              <a:tailEnd/>
            </a:ln>
          </p:spPr>
          <p:txBody>
            <a:bodyPr/>
            <a:lstStyle/>
            <a:p>
              <a:endParaRPr lang="en-US"/>
            </a:p>
          </p:txBody>
        </p:sp>
        <p:sp>
          <p:nvSpPr>
            <p:cNvPr id="9469" name="Freeform 160"/>
            <p:cNvSpPr>
              <a:spLocks/>
            </p:cNvSpPr>
            <p:nvPr/>
          </p:nvSpPr>
          <p:spPr bwMode="auto">
            <a:xfrm>
              <a:off x="1443" y="1240"/>
              <a:ext cx="160" cy="108"/>
            </a:xfrm>
            <a:custGeom>
              <a:avLst/>
              <a:gdLst>
                <a:gd name="T0" fmla="*/ 1 w 320"/>
                <a:gd name="T1" fmla="*/ 1 h 215"/>
                <a:gd name="T2" fmla="*/ 1 w 320"/>
                <a:gd name="T3" fmla="*/ 1 h 215"/>
                <a:gd name="T4" fmla="*/ 1 w 320"/>
                <a:gd name="T5" fmla="*/ 1 h 215"/>
                <a:gd name="T6" fmla="*/ 1 w 320"/>
                <a:gd name="T7" fmla="*/ 1 h 215"/>
                <a:gd name="T8" fmla="*/ 1 w 320"/>
                <a:gd name="T9" fmla="*/ 1 h 215"/>
                <a:gd name="T10" fmla="*/ 1 w 320"/>
                <a:gd name="T11" fmla="*/ 1 h 215"/>
                <a:gd name="T12" fmla="*/ 1 w 320"/>
                <a:gd name="T13" fmla="*/ 1 h 215"/>
                <a:gd name="T14" fmla="*/ 1 w 320"/>
                <a:gd name="T15" fmla="*/ 1 h 215"/>
                <a:gd name="T16" fmla="*/ 1 w 320"/>
                <a:gd name="T17" fmla="*/ 1 h 215"/>
                <a:gd name="T18" fmla="*/ 1 w 320"/>
                <a:gd name="T19" fmla="*/ 1 h 215"/>
                <a:gd name="T20" fmla="*/ 1 w 320"/>
                <a:gd name="T21" fmla="*/ 1 h 215"/>
                <a:gd name="T22" fmla="*/ 1 w 320"/>
                <a:gd name="T23" fmla="*/ 1 h 215"/>
                <a:gd name="T24" fmla="*/ 1 w 320"/>
                <a:gd name="T25" fmla="*/ 1 h 215"/>
                <a:gd name="T26" fmla="*/ 1 w 320"/>
                <a:gd name="T27" fmla="*/ 1 h 215"/>
                <a:gd name="T28" fmla="*/ 1 w 320"/>
                <a:gd name="T29" fmla="*/ 1 h 215"/>
                <a:gd name="T30" fmla="*/ 1 w 320"/>
                <a:gd name="T31" fmla="*/ 1 h 215"/>
                <a:gd name="T32" fmla="*/ 1 w 320"/>
                <a:gd name="T33" fmla="*/ 1 h 215"/>
                <a:gd name="T34" fmla="*/ 1 w 320"/>
                <a:gd name="T35" fmla="*/ 1 h 215"/>
                <a:gd name="T36" fmla="*/ 1 w 320"/>
                <a:gd name="T37" fmla="*/ 1 h 215"/>
                <a:gd name="T38" fmla="*/ 1 w 320"/>
                <a:gd name="T39" fmla="*/ 1 h 215"/>
                <a:gd name="T40" fmla="*/ 1 w 320"/>
                <a:gd name="T41" fmla="*/ 1 h 215"/>
                <a:gd name="T42" fmla="*/ 1 w 320"/>
                <a:gd name="T43" fmla="*/ 1 h 215"/>
                <a:gd name="T44" fmla="*/ 0 w 320"/>
                <a:gd name="T45" fmla="*/ 1 h 215"/>
                <a:gd name="T46" fmla="*/ 1 w 320"/>
                <a:gd name="T47" fmla="*/ 1 h 215"/>
                <a:gd name="T48" fmla="*/ 1 w 320"/>
                <a:gd name="T49" fmla="*/ 1 h 215"/>
                <a:gd name="T50" fmla="*/ 0 w 320"/>
                <a:gd name="T51" fmla="*/ 1 h 215"/>
                <a:gd name="T52" fmla="*/ 1 w 320"/>
                <a:gd name="T53" fmla="*/ 1 h 215"/>
                <a:gd name="T54" fmla="*/ 1 w 320"/>
                <a:gd name="T55" fmla="*/ 1 h 215"/>
                <a:gd name="T56" fmla="*/ 1 w 320"/>
                <a:gd name="T57" fmla="*/ 1 h 215"/>
                <a:gd name="T58" fmla="*/ 1 w 320"/>
                <a:gd name="T59" fmla="*/ 1 h 215"/>
                <a:gd name="T60" fmla="*/ 1 w 320"/>
                <a:gd name="T61" fmla="*/ 1 h 215"/>
                <a:gd name="T62" fmla="*/ 1 w 320"/>
                <a:gd name="T63" fmla="*/ 1 h 215"/>
                <a:gd name="T64" fmla="*/ 1 w 320"/>
                <a:gd name="T65" fmla="*/ 0 h 215"/>
                <a:gd name="T66" fmla="*/ 1 w 320"/>
                <a:gd name="T67" fmla="*/ 0 h 215"/>
                <a:gd name="T68" fmla="*/ 1 w 320"/>
                <a:gd name="T69" fmla="*/ 1 h 215"/>
                <a:gd name="T70" fmla="*/ 1 w 320"/>
                <a:gd name="T71" fmla="*/ 1 h 215"/>
                <a:gd name="T72" fmla="*/ 1 w 320"/>
                <a:gd name="T73" fmla="*/ 1 h 215"/>
                <a:gd name="T74" fmla="*/ 1 w 320"/>
                <a:gd name="T75" fmla="*/ 1 h 21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20"/>
                <a:gd name="T115" fmla="*/ 0 h 215"/>
                <a:gd name="T116" fmla="*/ 320 w 320"/>
                <a:gd name="T117" fmla="*/ 215 h 21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20" h="215">
                  <a:moveTo>
                    <a:pt x="220" y="90"/>
                  </a:moveTo>
                  <a:lnTo>
                    <a:pt x="241" y="90"/>
                  </a:lnTo>
                  <a:lnTo>
                    <a:pt x="241" y="73"/>
                  </a:lnTo>
                  <a:lnTo>
                    <a:pt x="261" y="73"/>
                  </a:lnTo>
                  <a:lnTo>
                    <a:pt x="261" y="90"/>
                  </a:lnTo>
                  <a:lnTo>
                    <a:pt x="261" y="109"/>
                  </a:lnTo>
                  <a:lnTo>
                    <a:pt x="282" y="109"/>
                  </a:lnTo>
                  <a:lnTo>
                    <a:pt x="301" y="109"/>
                  </a:lnTo>
                  <a:lnTo>
                    <a:pt x="320" y="127"/>
                  </a:lnTo>
                  <a:lnTo>
                    <a:pt x="320" y="142"/>
                  </a:lnTo>
                  <a:lnTo>
                    <a:pt x="282" y="161"/>
                  </a:lnTo>
                  <a:lnTo>
                    <a:pt x="261" y="178"/>
                  </a:lnTo>
                  <a:lnTo>
                    <a:pt x="241" y="178"/>
                  </a:lnTo>
                  <a:lnTo>
                    <a:pt x="241" y="161"/>
                  </a:lnTo>
                  <a:lnTo>
                    <a:pt x="241" y="178"/>
                  </a:lnTo>
                  <a:lnTo>
                    <a:pt x="220" y="178"/>
                  </a:lnTo>
                  <a:lnTo>
                    <a:pt x="241" y="178"/>
                  </a:lnTo>
                  <a:lnTo>
                    <a:pt x="241" y="196"/>
                  </a:lnTo>
                  <a:lnTo>
                    <a:pt x="220" y="196"/>
                  </a:lnTo>
                  <a:lnTo>
                    <a:pt x="220" y="215"/>
                  </a:lnTo>
                  <a:lnTo>
                    <a:pt x="199" y="196"/>
                  </a:lnTo>
                  <a:lnTo>
                    <a:pt x="199" y="178"/>
                  </a:lnTo>
                  <a:lnTo>
                    <a:pt x="180" y="196"/>
                  </a:lnTo>
                  <a:lnTo>
                    <a:pt x="180" y="215"/>
                  </a:lnTo>
                  <a:lnTo>
                    <a:pt x="159" y="215"/>
                  </a:lnTo>
                  <a:lnTo>
                    <a:pt x="140" y="215"/>
                  </a:lnTo>
                  <a:lnTo>
                    <a:pt x="119" y="196"/>
                  </a:lnTo>
                  <a:lnTo>
                    <a:pt x="119" y="178"/>
                  </a:lnTo>
                  <a:lnTo>
                    <a:pt x="78" y="178"/>
                  </a:lnTo>
                  <a:lnTo>
                    <a:pt x="78" y="161"/>
                  </a:lnTo>
                  <a:lnTo>
                    <a:pt x="99" y="142"/>
                  </a:lnTo>
                  <a:lnTo>
                    <a:pt x="119" y="142"/>
                  </a:lnTo>
                  <a:lnTo>
                    <a:pt x="159" y="142"/>
                  </a:lnTo>
                  <a:lnTo>
                    <a:pt x="140" y="142"/>
                  </a:lnTo>
                  <a:lnTo>
                    <a:pt x="119" y="127"/>
                  </a:lnTo>
                  <a:lnTo>
                    <a:pt x="99" y="127"/>
                  </a:lnTo>
                  <a:lnTo>
                    <a:pt x="99" y="142"/>
                  </a:lnTo>
                  <a:lnTo>
                    <a:pt x="78" y="142"/>
                  </a:lnTo>
                  <a:lnTo>
                    <a:pt x="59" y="127"/>
                  </a:lnTo>
                  <a:lnTo>
                    <a:pt x="59" y="142"/>
                  </a:lnTo>
                  <a:lnTo>
                    <a:pt x="40" y="127"/>
                  </a:lnTo>
                  <a:lnTo>
                    <a:pt x="59" y="127"/>
                  </a:lnTo>
                  <a:lnTo>
                    <a:pt x="59" y="109"/>
                  </a:lnTo>
                  <a:lnTo>
                    <a:pt x="40" y="109"/>
                  </a:lnTo>
                  <a:lnTo>
                    <a:pt x="0" y="109"/>
                  </a:lnTo>
                  <a:lnTo>
                    <a:pt x="0" y="90"/>
                  </a:lnTo>
                  <a:lnTo>
                    <a:pt x="19" y="90"/>
                  </a:lnTo>
                  <a:lnTo>
                    <a:pt x="40" y="90"/>
                  </a:lnTo>
                  <a:lnTo>
                    <a:pt x="59" y="90"/>
                  </a:lnTo>
                  <a:lnTo>
                    <a:pt x="40" y="73"/>
                  </a:lnTo>
                  <a:lnTo>
                    <a:pt x="19" y="73"/>
                  </a:lnTo>
                  <a:lnTo>
                    <a:pt x="0" y="54"/>
                  </a:lnTo>
                  <a:lnTo>
                    <a:pt x="19" y="54"/>
                  </a:lnTo>
                  <a:lnTo>
                    <a:pt x="40" y="54"/>
                  </a:lnTo>
                  <a:lnTo>
                    <a:pt x="59" y="54"/>
                  </a:lnTo>
                  <a:lnTo>
                    <a:pt x="78" y="54"/>
                  </a:lnTo>
                  <a:lnTo>
                    <a:pt x="59" y="54"/>
                  </a:lnTo>
                  <a:lnTo>
                    <a:pt x="40" y="54"/>
                  </a:lnTo>
                  <a:lnTo>
                    <a:pt x="40" y="36"/>
                  </a:lnTo>
                  <a:lnTo>
                    <a:pt x="59" y="19"/>
                  </a:lnTo>
                  <a:lnTo>
                    <a:pt x="59" y="36"/>
                  </a:lnTo>
                  <a:lnTo>
                    <a:pt x="78" y="36"/>
                  </a:lnTo>
                  <a:lnTo>
                    <a:pt x="99" y="36"/>
                  </a:lnTo>
                  <a:lnTo>
                    <a:pt x="78" y="19"/>
                  </a:lnTo>
                  <a:lnTo>
                    <a:pt x="59" y="19"/>
                  </a:lnTo>
                  <a:lnTo>
                    <a:pt x="59" y="0"/>
                  </a:lnTo>
                  <a:lnTo>
                    <a:pt x="78" y="0"/>
                  </a:lnTo>
                  <a:lnTo>
                    <a:pt x="119" y="0"/>
                  </a:lnTo>
                  <a:lnTo>
                    <a:pt x="119" y="19"/>
                  </a:lnTo>
                  <a:lnTo>
                    <a:pt x="140" y="36"/>
                  </a:lnTo>
                  <a:lnTo>
                    <a:pt x="140" y="54"/>
                  </a:lnTo>
                  <a:lnTo>
                    <a:pt x="159" y="54"/>
                  </a:lnTo>
                  <a:lnTo>
                    <a:pt x="180" y="54"/>
                  </a:lnTo>
                  <a:lnTo>
                    <a:pt x="199" y="54"/>
                  </a:lnTo>
                  <a:lnTo>
                    <a:pt x="220" y="73"/>
                  </a:lnTo>
                  <a:lnTo>
                    <a:pt x="220" y="90"/>
                  </a:lnTo>
                  <a:close/>
                </a:path>
              </a:pathLst>
            </a:custGeom>
            <a:solidFill>
              <a:srgbClr val="C0C0C0"/>
            </a:solidFill>
            <a:ln w="9525">
              <a:solidFill>
                <a:srgbClr val="C0C0C0"/>
              </a:solidFill>
              <a:round/>
              <a:headEnd/>
              <a:tailEnd/>
            </a:ln>
          </p:spPr>
          <p:txBody>
            <a:bodyPr/>
            <a:lstStyle/>
            <a:p>
              <a:endParaRPr lang="en-US"/>
            </a:p>
          </p:txBody>
        </p:sp>
        <p:sp>
          <p:nvSpPr>
            <p:cNvPr id="9470" name="Freeform 161"/>
            <p:cNvSpPr>
              <a:spLocks/>
            </p:cNvSpPr>
            <p:nvPr/>
          </p:nvSpPr>
          <p:spPr bwMode="auto">
            <a:xfrm>
              <a:off x="1082" y="1474"/>
              <a:ext cx="291" cy="124"/>
            </a:xfrm>
            <a:custGeom>
              <a:avLst/>
              <a:gdLst>
                <a:gd name="T0" fmla="*/ 1 w 581"/>
                <a:gd name="T1" fmla="*/ 0 h 250"/>
                <a:gd name="T2" fmla="*/ 1 w 581"/>
                <a:gd name="T3" fmla="*/ 0 h 250"/>
                <a:gd name="T4" fmla="*/ 1 w 581"/>
                <a:gd name="T5" fmla="*/ 0 h 250"/>
                <a:gd name="T6" fmla="*/ 1 w 581"/>
                <a:gd name="T7" fmla="*/ 0 h 250"/>
                <a:gd name="T8" fmla="*/ 1 w 581"/>
                <a:gd name="T9" fmla="*/ 0 h 250"/>
                <a:gd name="T10" fmla="*/ 1 w 581"/>
                <a:gd name="T11" fmla="*/ 0 h 250"/>
                <a:gd name="T12" fmla="*/ 1 w 581"/>
                <a:gd name="T13" fmla="*/ 0 h 250"/>
                <a:gd name="T14" fmla="*/ 1 w 581"/>
                <a:gd name="T15" fmla="*/ 0 h 250"/>
                <a:gd name="T16" fmla="*/ 1 w 581"/>
                <a:gd name="T17" fmla="*/ 0 h 250"/>
                <a:gd name="T18" fmla="*/ 1 w 581"/>
                <a:gd name="T19" fmla="*/ 0 h 250"/>
                <a:gd name="T20" fmla="*/ 1 w 581"/>
                <a:gd name="T21" fmla="*/ 0 h 250"/>
                <a:gd name="T22" fmla="*/ 1 w 581"/>
                <a:gd name="T23" fmla="*/ 0 h 250"/>
                <a:gd name="T24" fmla="*/ 1 w 581"/>
                <a:gd name="T25" fmla="*/ 0 h 250"/>
                <a:gd name="T26" fmla="*/ 1 w 581"/>
                <a:gd name="T27" fmla="*/ 0 h 250"/>
                <a:gd name="T28" fmla="*/ 1 w 581"/>
                <a:gd name="T29" fmla="*/ 0 h 250"/>
                <a:gd name="T30" fmla="*/ 1 w 581"/>
                <a:gd name="T31" fmla="*/ 0 h 250"/>
                <a:gd name="T32" fmla="*/ 1 w 581"/>
                <a:gd name="T33" fmla="*/ 0 h 250"/>
                <a:gd name="T34" fmla="*/ 1 w 581"/>
                <a:gd name="T35" fmla="*/ 0 h 250"/>
                <a:gd name="T36" fmla="*/ 1 w 581"/>
                <a:gd name="T37" fmla="*/ 0 h 250"/>
                <a:gd name="T38" fmla="*/ 0 w 581"/>
                <a:gd name="T39" fmla="*/ 0 h 250"/>
                <a:gd name="T40" fmla="*/ 1 w 581"/>
                <a:gd name="T41" fmla="*/ 0 h 250"/>
                <a:gd name="T42" fmla="*/ 1 w 581"/>
                <a:gd name="T43" fmla="*/ 0 h 250"/>
                <a:gd name="T44" fmla="*/ 1 w 581"/>
                <a:gd name="T45" fmla="*/ 0 h 250"/>
                <a:gd name="T46" fmla="*/ 1 w 581"/>
                <a:gd name="T47" fmla="*/ 0 h 250"/>
                <a:gd name="T48" fmla="*/ 1 w 581"/>
                <a:gd name="T49" fmla="*/ 0 h 250"/>
                <a:gd name="T50" fmla="*/ 1 w 581"/>
                <a:gd name="T51" fmla="*/ 0 h 250"/>
                <a:gd name="T52" fmla="*/ 1 w 581"/>
                <a:gd name="T53" fmla="*/ 0 h 250"/>
                <a:gd name="T54" fmla="*/ 1 w 581"/>
                <a:gd name="T55" fmla="*/ 0 h 250"/>
                <a:gd name="T56" fmla="*/ 1 w 581"/>
                <a:gd name="T57" fmla="*/ 0 h 250"/>
                <a:gd name="T58" fmla="*/ 1 w 581"/>
                <a:gd name="T59" fmla="*/ 0 h 250"/>
                <a:gd name="T60" fmla="*/ 1 w 581"/>
                <a:gd name="T61" fmla="*/ 0 h 250"/>
                <a:gd name="T62" fmla="*/ 1 w 581"/>
                <a:gd name="T63" fmla="*/ 0 h 250"/>
                <a:gd name="T64" fmla="*/ 1 w 581"/>
                <a:gd name="T65" fmla="*/ 0 h 250"/>
                <a:gd name="T66" fmla="*/ 1 w 581"/>
                <a:gd name="T67" fmla="*/ 0 h 250"/>
                <a:gd name="T68" fmla="*/ 1 w 581"/>
                <a:gd name="T69" fmla="*/ 0 h 250"/>
                <a:gd name="T70" fmla="*/ 1 w 581"/>
                <a:gd name="T71" fmla="*/ 0 h 250"/>
                <a:gd name="T72" fmla="*/ 1 w 581"/>
                <a:gd name="T73" fmla="*/ 0 h 250"/>
                <a:gd name="T74" fmla="*/ 1 w 581"/>
                <a:gd name="T75" fmla="*/ 0 h 250"/>
                <a:gd name="T76" fmla="*/ 1 w 581"/>
                <a:gd name="T77" fmla="*/ 0 h 250"/>
                <a:gd name="T78" fmla="*/ 1 w 581"/>
                <a:gd name="T79" fmla="*/ 0 h 250"/>
                <a:gd name="T80" fmla="*/ 1 w 581"/>
                <a:gd name="T81" fmla="*/ 0 h 25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81"/>
                <a:gd name="T124" fmla="*/ 0 h 250"/>
                <a:gd name="T125" fmla="*/ 581 w 581"/>
                <a:gd name="T126" fmla="*/ 250 h 25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81" h="250">
                  <a:moveTo>
                    <a:pt x="522" y="196"/>
                  </a:moveTo>
                  <a:lnTo>
                    <a:pt x="522" y="213"/>
                  </a:lnTo>
                  <a:lnTo>
                    <a:pt x="522" y="233"/>
                  </a:lnTo>
                  <a:lnTo>
                    <a:pt x="541" y="233"/>
                  </a:lnTo>
                  <a:lnTo>
                    <a:pt x="522" y="233"/>
                  </a:lnTo>
                  <a:lnTo>
                    <a:pt x="522" y="250"/>
                  </a:lnTo>
                  <a:lnTo>
                    <a:pt x="482" y="250"/>
                  </a:lnTo>
                  <a:lnTo>
                    <a:pt x="439" y="233"/>
                  </a:lnTo>
                  <a:lnTo>
                    <a:pt x="418" y="233"/>
                  </a:lnTo>
                  <a:lnTo>
                    <a:pt x="380" y="233"/>
                  </a:lnTo>
                  <a:lnTo>
                    <a:pt x="359" y="233"/>
                  </a:lnTo>
                  <a:lnTo>
                    <a:pt x="318" y="233"/>
                  </a:lnTo>
                  <a:lnTo>
                    <a:pt x="318" y="250"/>
                  </a:lnTo>
                  <a:lnTo>
                    <a:pt x="280" y="250"/>
                  </a:lnTo>
                  <a:lnTo>
                    <a:pt x="240" y="250"/>
                  </a:lnTo>
                  <a:lnTo>
                    <a:pt x="199" y="250"/>
                  </a:lnTo>
                  <a:lnTo>
                    <a:pt x="178" y="250"/>
                  </a:lnTo>
                  <a:lnTo>
                    <a:pt x="178" y="233"/>
                  </a:lnTo>
                  <a:lnTo>
                    <a:pt x="159" y="233"/>
                  </a:lnTo>
                  <a:lnTo>
                    <a:pt x="140" y="233"/>
                  </a:lnTo>
                  <a:lnTo>
                    <a:pt x="119" y="233"/>
                  </a:lnTo>
                  <a:lnTo>
                    <a:pt x="78" y="233"/>
                  </a:lnTo>
                  <a:lnTo>
                    <a:pt x="59" y="213"/>
                  </a:lnTo>
                  <a:lnTo>
                    <a:pt x="40" y="196"/>
                  </a:lnTo>
                  <a:lnTo>
                    <a:pt x="78" y="179"/>
                  </a:lnTo>
                  <a:lnTo>
                    <a:pt x="119" y="179"/>
                  </a:lnTo>
                  <a:lnTo>
                    <a:pt x="159" y="179"/>
                  </a:lnTo>
                  <a:lnTo>
                    <a:pt x="178" y="179"/>
                  </a:lnTo>
                  <a:lnTo>
                    <a:pt x="178" y="160"/>
                  </a:lnTo>
                  <a:lnTo>
                    <a:pt x="140" y="160"/>
                  </a:lnTo>
                  <a:lnTo>
                    <a:pt x="119" y="160"/>
                  </a:lnTo>
                  <a:lnTo>
                    <a:pt x="78" y="160"/>
                  </a:lnTo>
                  <a:lnTo>
                    <a:pt x="40" y="160"/>
                  </a:lnTo>
                  <a:lnTo>
                    <a:pt x="19" y="142"/>
                  </a:lnTo>
                  <a:lnTo>
                    <a:pt x="40" y="125"/>
                  </a:lnTo>
                  <a:lnTo>
                    <a:pt x="59" y="125"/>
                  </a:lnTo>
                  <a:lnTo>
                    <a:pt x="40" y="125"/>
                  </a:lnTo>
                  <a:lnTo>
                    <a:pt x="19" y="125"/>
                  </a:lnTo>
                  <a:lnTo>
                    <a:pt x="0" y="125"/>
                  </a:lnTo>
                  <a:lnTo>
                    <a:pt x="0" y="106"/>
                  </a:lnTo>
                  <a:lnTo>
                    <a:pt x="19" y="69"/>
                  </a:lnTo>
                  <a:lnTo>
                    <a:pt x="78" y="35"/>
                  </a:lnTo>
                  <a:lnTo>
                    <a:pt x="140" y="16"/>
                  </a:lnTo>
                  <a:lnTo>
                    <a:pt x="140" y="35"/>
                  </a:lnTo>
                  <a:lnTo>
                    <a:pt x="159" y="52"/>
                  </a:lnTo>
                  <a:lnTo>
                    <a:pt x="159" y="69"/>
                  </a:lnTo>
                  <a:lnTo>
                    <a:pt x="159" y="52"/>
                  </a:lnTo>
                  <a:lnTo>
                    <a:pt x="178" y="35"/>
                  </a:lnTo>
                  <a:lnTo>
                    <a:pt x="219" y="52"/>
                  </a:lnTo>
                  <a:lnTo>
                    <a:pt x="240" y="52"/>
                  </a:lnTo>
                  <a:lnTo>
                    <a:pt x="240" y="69"/>
                  </a:lnTo>
                  <a:lnTo>
                    <a:pt x="259" y="69"/>
                  </a:lnTo>
                  <a:lnTo>
                    <a:pt x="259" y="52"/>
                  </a:lnTo>
                  <a:lnTo>
                    <a:pt x="280" y="52"/>
                  </a:lnTo>
                  <a:lnTo>
                    <a:pt x="299" y="52"/>
                  </a:lnTo>
                  <a:lnTo>
                    <a:pt x="318" y="52"/>
                  </a:lnTo>
                  <a:lnTo>
                    <a:pt x="318" y="69"/>
                  </a:lnTo>
                  <a:lnTo>
                    <a:pt x="318" y="89"/>
                  </a:lnTo>
                  <a:lnTo>
                    <a:pt x="318" y="106"/>
                  </a:lnTo>
                  <a:lnTo>
                    <a:pt x="340" y="106"/>
                  </a:lnTo>
                  <a:lnTo>
                    <a:pt x="359" y="106"/>
                  </a:lnTo>
                  <a:lnTo>
                    <a:pt x="340" y="69"/>
                  </a:lnTo>
                  <a:lnTo>
                    <a:pt x="340" y="52"/>
                  </a:lnTo>
                  <a:lnTo>
                    <a:pt x="318" y="35"/>
                  </a:lnTo>
                  <a:lnTo>
                    <a:pt x="340" y="16"/>
                  </a:lnTo>
                  <a:lnTo>
                    <a:pt x="359" y="16"/>
                  </a:lnTo>
                  <a:lnTo>
                    <a:pt x="380" y="16"/>
                  </a:lnTo>
                  <a:lnTo>
                    <a:pt x="380" y="0"/>
                  </a:lnTo>
                  <a:lnTo>
                    <a:pt x="399" y="0"/>
                  </a:lnTo>
                  <a:lnTo>
                    <a:pt x="418" y="0"/>
                  </a:lnTo>
                  <a:lnTo>
                    <a:pt x="439" y="0"/>
                  </a:lnTo>
                  <a:lnTo>
                    <a:pt x="439" y="16"/>
                  </a:lnTo>
                  <a:lnTo>
                    <a:pt x="439" y="35"/>
                  </a:lnTo>
                  <a:lnTo>
                    <a:pt x="439" y="52"/>
                  </a:lnTo>
                  <a:lnTo>
                    <a:pt x="439" y="69"/>
                  </a:lnTo>
                  <a:lnTo>
                    <a:pt x="439" y="106"/>
                  </a:lnTo>
                  <a:lnTo>
                    <a:pt x="460" y="125"/>
                  </a:lnTo>
                  <a:lnTo>
                    <a:pt x="482" y="160"/>
                  </a:lnTo>
                  <a:lnTo>
                    <a:pt x="522" y="179"/>
                  </a:lnTo>
                  <a:lnTo>
                    <a:pt x="581" y="196"/>
                  </a:lnTo>
                  <a:lnTo>
                    <a:pt x="560" y="196"/>
                  </a:lnTo>
                  <a:lnTo>
                    <a:pt x="541" y="196"/>
                  </a:lnTo>
                  <a:lnTo>
                    <a:pt x="522" y="196"/>
                  </a:lnTo>
                  <a:close/>
                </a:path>
              </a:pathLst>
            </a:custGeom>
            <a:solidFill>
              <a:srgbClr val="C0C0C0"/>
            </a:solidFill>
            <a:ln w="9525">
              <a:solidFill>
                <a:srgbClr val="C0C0C0"/>
              </a:solidFill>
              <a:round/>
              <a:headEnd/>
              <a:tailEnd/>
            </a:ln>
          </p:spPr>
          <p:txBody>
            <a:bodyPr/>
            <a:lstStyle/>
            <a:p>
              <a:endParaRPr lang="en-US"/>
            </a:p>
          </p:txBody>
        </p:sp>
        <p:sp>
          <p:nvSpPr>
            <p:cNvPr id="9471" name="Freeform 162"/>
            <p:cNvSpPr>
              <a:spLocks/>
            </p:cNvSpPr>
            <p:nvPr/>
          </p:nvSpPr>
          <p:spPr bwMode="auto">
            <a:xfrm>
              <a:off x="971" y="1447"/>
              <a:ext cx="170" cy="98"/>
            </a:xfrm>
            <a:custGeom>
              <a:avLst/>
              <a:gdLst>
                <a:gd name="T0" fmla="*/ 0 w 342"/>
                <a:gd name="T1" fmla="*/ 1 h 195"/>
                <a:gd name="T2" fmla="*/ 0 w 342"/>
                <a:gd name="T3" fmla="*/ 1 h 195"/>
                <a:gd name="T4" fmla="*/ 0 w 342"/>
                <a:gd name="T5" fmla="*/ 1 h 195"/>
                <a:gd name="T6" fmla="*/ 0 w 342"/>
                <a:gd name="T7" fmla="*/ 1 h 195"/>
                <a:gd name="T8" fmla="*/ 0 w 342"/>
                <a:gd name="T9" fmla="*/ 1 h 195"/>
                <a:gd name="T10" fmla="*/ 0 w 342"/>
                <a:gd name="T11" fmla="*/ 1 h 195"/>
                <a:gd name="T12" fmla="*/ 0 w 342"/>
                <a:gd name="T13" fmla="*/ 1 h 195"/>
                <a:gd name="T14" fmla="*/ 0 w 342"/>
                <a:gd name="T15" fmla="*/ 1 h 195"/>
                <a:gd name="T16" fmla="*/ 0 w 342"/>
                <a:gd name="T17" fmla="*/ 1 h 195"/>
                <a:gd name="T18" fmla="*/ 0 w 342"/>
                <a:gd name="T19" fmla="*/ 1 h 195"/>
                <a:gd name="T20" fmla="*/ 0 w 342"/>
                <a:gd name="T21" fmla="*/ 1 h 195"/>
                <a:gd name="T22" fmla="*/ 0 w 342"/>
                <a:gd name="T23" fmla="*/ 0 h 195"/>
                <a:gd name="T24" fmla="*/ 0 w 342"/>
                <a:gd name="T25" fmla="*/ 0 h 195"/>
                <a:gd name="T26" fmla="*/ 0 w 342"/>
                <a:gd name="T27" fmla="*/ 1 h 195"/>
                <a:gd name="T28" fmla="*/ 0 w 342"/>
                <a:gd name="T29" fmla="*/ 0 h 195"/>
                <a:gd name="T30" fmla="*/ 0 w 342"/>
                <a:gd name="T31" fmla="*/ 0 h 195"/>
                <a:gd name="T32" fmla="*/ 0 w 342"/>
                <a:gd name="T33" fmla="*/ 1 h 195"/>
                <a:gd name="T34" fmla="*/ 0 w 342"/>
                <a:gd name="T35" fmla="*/ 1 h 195"/>
                <a:gd name="T36" fmla="*/ 0 w 342"/>
                <a:gd name="T37" fmla="*/ 1 h 195"/>
                <a:gd name="T38" fmla="*/ 0 w 342"/>
                <a:gd name="T39" fmla="*/ 1 h 195"/>
                <a:gd name="T40" fmla="*/ 0 w 342"/>
                <a:gd name="T41" fmla="*/ 1 h 195"/>
                <a:gd name="T42" fmla="*/ 0 w 342"/>
                <a:gd name="T43" fmla="*/ 1 h 195"/>
                <a:gd name="T44" fmla="*/ 0 w 342"/>
                <a:gd name="T45" fmla="*/ 1 h 195"/>
                <a:gd name="T46" fmla="*/ 0 w 342"/>
                <a:gd name="T47" fmla="*/ 1 h 195"/>
                <a:gd name="T48" fmla="*/ 0 w 342"/>
                <a:gd name="T49" fmla="*/ 1 h 195"/>
                <a:gd name="T50" fmla="*/ 0 w 342"/>
                <a:gd name="T51" fmla="*/ 1 h 195"/>
                <a:gd name="T52" fmla="*/ 0 w 342"/>
                <a:gd name="T53" fmla="*/ 1 h 195"/>
                <a:gd name="T54" fmla="*/ 0 w 342"/>
                <a:gd name="T55" fmla="*/ 1 h 195"/>
                <a:gd name="T56" fmla="*/ 0 w 342"/>
                <a:gd name="T57" fmla="*/ 1 h 195"/>
                <a:gd name="T58" fmla="*/ 0 w 342"/>
                <a:gd name="T59" fmla="*/ 1 h 195"/>
                <a:gd name="T60" fmla="*/ 0 w 342"/>
                <a:gd name="T61" fmla="*/ 1 h 195"/>
                <a:gd name="T62" fmla="*/ 0 w 342"/>
                <a:gd name="T63" fmla="*/ 1 h 195"/>
                <a:gd name="T64" fmla="*/ 0 w 342"/>
                <a:gd name="T65" fmla="*/ 1 h 195"/>
                <a:gd name="T66" fmla="*/ 0 w 342"/>
                <a:gd name="T67" fmla="*/ 1 h 195"/>
                <a:gd name="T68" fmla="*/ 0 w 342"/>
                <a:gd name="T69" fmla="*/ 1 h 19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2"/>
                <a:gd name="T106" fmla="*/ 0 h 195"/>
                <a:gd name="T107" fmla="*/ 342 w 342"/>
                <a:gd name="T108" fmla="*/ 195 h 19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2" h="195">
                  <a:moveTo>
                    <a:pt x="60" y="178"/>
                  </a:moveTo>
                  <a:lnTo>
                    <a:pt x="60" y="159"/>
                  </a:lnTo>
                  <a:lnTo>
                    <a:pt x="40" y="159"/>
                  </a:lnTo>
                  <a:lnTo>
                    <a:pt x="21" y="159"/>
                  </a:lnTo>
                  <a:lnTo>
                    <a:pt x="0" y="142"/>
                  </a:lnTo>
                  <a:lnTo>
                    <a:pt x="21" y="122"/>
                  </a:lnTo>
                  <a:lnTo>
                    <a:pt x="60" y="69"/>
                  </a:lnTo>
                  <a:lnTo>
                    <a:pt x="60" y="53"/>
                  </a:lnTo>
                  <a:lnTo>
                    <a:pt x="60" y="36"/>
                  </a:lnTo>
                  <a:lnTo>
                    <a:pt x="60" y="17"/>
                  </a:lnTo>
                  <a:lnTo>
                    <a:pt x="40" y="17"/>
                  </a:lnTo>
                  <a:lnTo>
                    <a:pt x="60" y="0"/>
                  </a:lnTo>
                  <a:lnTo>
                    <a:pt x="81" y="0"/>
                  </a:lnTo>
                  <a:lnTo>
                    <a:pt x="121" y="17"/>
                  </a:lnTo>
                  <a:lnTo>
                    <a:pt x="140" y="0"/>
                  </a:lnTo>
                  <a:lnTo>
                    <a:pt x="159" y="0"/>
                  </a:lnTo>
                  <a:lnTo>
                    <a:pt x="180" y="17"/>
                  </a:lnTo>
                  <a:lnTo>
                    <a:pt x="202" y="17"/>
                  </a:lnTo>
                  <a:lnTo>
                    <a:pt x="223" y="36"/>
                  </a:lnTo>
                  <a:lnTo>
                    <a:pt x="242" y="17"/>
                  </a:lnTo>
                  <a:lnTo>
                    <a:pt x="263" y="17"/>
                  </a:lnTo>
                  <a:lnTo>
                    <a:pt x="282" y="36"/>
                  </a:lnTo>
                  <a:lnTo>
                    <a:pt x="323" y="53"/>
                  </a:lnTo>
                  <a:lnTo>
                    <a:pt x="342" y="53"/>
                  </a:lnTo>
                  <a:lnTo>
                    <a:pt x="323" y="69"/>
                  </a:lnTo>
                  <a:lnTo>
                    <a:pt x="282" y="88"/>
                  </a:lnTo>
                  <a:lnTo>
                    <a:pt x="263" y="88"/>
                  </a:lnTo>
                  <a:lnTo>
                    <a:pt x="223" y="105"/>
                  </a:lnTo>
                  <a:lnTo>
                    <a:pt x="202" y="122"/>
                  </a:lnTo>
                  <a:lnTo>
                    <a:pt x="180" y="159"/>
                  </a:lnTo>
                  <a:lnTo>
                    <a:pt x="159" y="178"/>
                  </a:lnTo>
                  <a:lnTo>
                    <a:pt x="121" y="178"/>
                  </a:lnTo>
                  <a:lnTo>
                    <a:pt x="81" y="195"/>
                  </a:lnTo>
                  <a:lnTo>
                    <a:pt x="81" y="178"/>
                  </a:lnTo>
                  <a:lnTo>
                    <a:pt x="60" y="178"/>
                  </a:lnTo>
                  <a:close/>
                </a:path>
              </a:pathLst>
            </a:custGeom>
            <a:solidFill>
              <a:srgbClr val="C0C0C0"/>
            </a:solidFill>
            <a:ln w="9525">
              <a:solidFill>
                <a:srgbClr val="C0C0C0"/>
              </a:solidFill>
              <a:round/>
              <a:headEnd/>
              <a:tailEnd/>
            </a:ln>
          </p:spPr>
          <p:txBody>
            <a:bodyPr/>
            <a:lstStyle/>
            <a:p>
              <a:endParaRPr lang="en-US"/>
            </a:p>
          </p:txBody>
        </p:sp>
        <p:sp>
          <p:nvSpPr>
            <p:cNvPr id="9472" name="Freeform 163"/>
            <p:cNvSpPr>
              <a:spLocks/>
            </p:cNvSpPr>
            <p:nvPr/>
          </p:nvSpPr>
          <p:spPr bwMode="auto">
            <a:xfrm>
              <a:off x="1071" y="1410"/>
              <a:ext cx="31" cy="10"/>
            </a:xfrm>
            <a:custGeom>
              <a:avLst/>
              <a:gdLst>
                <a:gd name="T0" fmla="*/ 1 w 61"/>
                <a:gd name="T1" fmla="*/ 1 h 19"/>
                <a:gd name="T2" fmla="*/ 0 w 61"/>
                <a:gd name="T3" fmla="*/ 1 h 19"/>
                <a:gd name="T4" fmla="*/ 1 w 61"/>
                <a:gd name="T5" fmla="*/ 1 h 19"/>
                <a:gd name="T6" fmla="*/ 1 w 61"/>
                <a:gd name="T7" fmla="*/ 0 h 19"/>
                <a:gd name="T8" fmla="*/ 1 w 61"/>
                <a:gd name="T9" fmla="*/ 0 h 19"/>
                <a:gd name="T10" fmla="*/ 1 w 61"/>
                <a:gd name="T11" fmla="*/ 1 h 19"/>
                <a:gd name="T12" fmla="*/ 1 w 61"/>
                <a:gd name="T13" fmla="*/ 1 h 19"/>
                <a:gd name="T14" fmla="*/ 1 w 61"/>
                <a:gd name="T15" fmla="*/ 1 h 19"/>
                <a:gd name="T16" fmla="*/ 0 60000 65536"/>
                <a:gd name="T17" fmla="*/ 0 60000 65536"/>
                <a:gd name="T18" fmla="*/ 0 60000 65536"/>
                <a:gd name="T19" fmla="*/ 0 60000 65536"/>
                <a:gd name="T20" fmla="*/ 0 60000 65536"/>
                <a:gd name="T21" fmla="*/ 0 60000 65536"/>
                <a:gd name="T22" fmla="*/ 0 60000 65536"/>
                <a:gd name="T23" fmla="*/ 0 60000 65536"/>
                <a:gd name="T24" fmla="*/ 0 w 61"/>
                <a:gd name="T25" fmla="*/ 0 h 19"/>
                <a:gd name="T26" fmla="*/ 61 w 61"/>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1" h="19">
                  <a:moveTo>
                    <a:pt x="21" y="19"/>
                  </a:moveTo>
                  <a:lnTo>
                    <a:pt x="0" y="19"/>
                  </a:lnTo>
                  <a:lnTo>
                    <a:pt x="21" y="19"/>
                  </a:lnTo>
                  <a:lnTo>
                    <a:pt x="40" y="0"/>
                  </a:lnTo>
                  <a:lnTo>
                    <a:pt x="61" y="0"/>
                  </a:lnTo>
                  <a:lnTo>
                    <a:pt x="61" y="19"/>
                  </a:lnTo>
                  <a:lnTo>
                    <a:pt x="40" y="19"/>
                  </a:lnTo>
                  <a:lnTo>
                    <a:pt x="21" y="19"/>
                  </a:lnTo>
                </a:path>
              </a:pathLst>
            </a:custGeom>
            <a:solidFill>
              <a:srgbClr val="C0C0C0"/>
            </a:solidFill>
            <a:ln w="9525">
              <a:solidFill>
                <a:srgbClr val="C0C0C0"/>
              </a:solidFill>
              <a:round/>
              <a:headEnd/>
              <a:tailEnd/>
            </a:ln>
          </p:spPr>
          <p:txBody>
            <a:bodyPr/>
            <a:lstStyle/>
            <a:p>
              <a:endParaRPr lang="en-US"/>
            </a:p>
          </p:txBody>
        </p:sp>
        <p:sp>
          <p:nvSpPr>
            <p:cNvPr id="9473" name="Freeform 164"/>
            <p:cNvSpPr>
              <a:spLocks/>
            </p:cNvSpPr>
            <p:nvPr/>
          </p:nvSpPr>
          <p:spPr bwMode="auto">
            <a:xfrm>
              <a:off x="1020" y="1365"/>
              <a:ext cx="112" cy="55"/>
            </a:xfrm>
            <a:custGeom>
              <a:avLst/>
              <a:gdLst>
                <a:gd name="T0" fmla="*/ 1 w 223"/>
                <a:gd name="T1" fmla="*/ 0 h 110"/>
                <a:gd name="T2" fmla="*/ 1 w 223"/>
                <a:gd name="T3" fmla="*/ 1 h 110"/>
                <a:gd name="T4" fmla="*/ 1 w 223"/>
                <a:gd name="T5" fmla="*/ 1 h 110"/>
                <a:gd name="T6" fmla="*/ 1 w 223"/>
                <a:gd name="T7" fmla="*/ 1 h 110"/>
                <a:gd name="T8" fmla="*/ 1 w 223"/>
                <a:gd name="T9" fmla="*/ 1 h 110"/>
                <a:gd name="T10" fmla="*/ 1 w 223"/>
                <a:gd name="T11" fmla="*/ 1 h 110"/>
                <a:gd name="T12" fmla="*/ 1 w 223"/>
                <a:gd name="T13" fmla="*/ 1 h 110"/>
                <a:gd name="T14" fmla="*/ 1 w 223"/>
                <a:gd name="T15" fmla="*/ 1 h 110"/>
                <a:gd name="T16" fmla="*/ 1 w 223"/>
                <a:gd name="T17" fmla="*/ 1 h 110"/>
                <a:gd name="T18" fmla="*/ 1 w 223"/>
                <a:gd name="T19" fmla="*/ 1 h 110"/>
                <a:gd name="T20" fmla="*/ 1 w 223"/>
                <a:gd name="T21" fmla="*/ 1 h 110"/>
                <a:gd name="T22" fmla="*/ 1 w 223"/>
                <a:gd name="T23" fmla="*/ 1 h 110"/>
                <a:gd name="T24" fmla="*/ 1 w 223"/>
                <a:gd name="T25" fmla="*/ 1 h 110"/>
                <a:gd name="T26" fmla="*/ 1 w 223"/>
                <a:gd name="T27" fmla="*/ 1 h 110"/>
                <a:gd name="T28" fmla="*/ 1 w 223"/>
                <a:gd name="T29" fmla="*/ 1 h 110"/>
                <a:gd name="T30" fmla="*/ 1 w 223"/>
                <a:gd name="T31" fmla="*/ 1 h 110"/>
                <a:gd name="T32" fmla="*/ 1 w 223"/>
                <a:gd name="T33" fmla="*/ 1 h 110"/>
                <a:gd name="T34" fmla="*/ 1 w 223"/>
                <a:gd name="T35" fmla="*/ 1 h 110"/>
                <a:gd name="T36" fmla="*/ 1 w 223"/>
                <a:gd name="T37" fmla="*/ 1 h 110"/>
                <a:gd name="T38" fmla="*/ 0 w 223"/>
                <a:gd name="T39" fmla="*/ 1 h 110"/>
                <a:gd name="T40" fmla="*/ 0 w 223"/>
                <a:gd name="T41" fmla="*/ 1 h 110"/>
                <a:gd name="T42" fmla="*/ 1 w 223"/>
                <a:gd name="T43" fmla="*/ 1 h 110"/>
                <a:gd name="T44" fmla="*/ 1 w 223"/>
                <a:gd name="T45" fmla="*/ 1 h 110"/>
                <a:gd name="T46" fmla="*/ 1 w 223"/>
                <a:gd name="T47" fmla="*/ 1 h 110"/>
                <a:gd name="T48" fmla="*/ 1 w 223"/>
                <a:gd name="T49" fmla="*/ 1 h 110"/>
                <a:gd name="T50" fmla="*/ 1 w 223"/>
                <a:gd name="T51" fmla="*/ 1 h 110"/>
                <a:gd name="T52" fmla="*/ 1 w 223"/>
                <a:gd name="T53" fmla="*/ 1 h 110"/>
                <a:gd name="T54" fmla="*/ 1 w 223"/>
                <a:gd name="T55" fmla="*/ 0 h 110"/>
                <a:gd name="T56" fmla="*/ 1 w 223"/>
                <a:gd name="T57" fmla="*/ 0 h 110"/>
                <a:gd name="T58" fmla="*/ 1 w 223"/>
                <a:gd name="T59" fmla="*/ 0 h 110"/>
                <a:gd name="T60" fmla="*/ 1 w 223"/>
                <a:gd name="T61" fmla="*/ 0 h 110"/>
                <a:gd name="T62" fmla="*/ 1 w 223"/>
                <a:gd name="T63" fmla="*/ 0 h 11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23"/>
                <a:gd name="T97" fmla="*/ 0 h 110"/>
                <a:gd name="T98" fmla="*/ 223 w 223"/>
                <a:gd name="T99" fmla="*/ 110 h 11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23" h="110">
                  <a:moveTo>
                    <a:pt x="223" y="0"/>
                  </a:moveTo>
                  <a:lnTo>
                    <a:pt x="223" y="20"/>
                  </a:lnTo>
                  <a:lnTo>
                    <a:pt x="201" y="20"/>
                  </a:lnTo>
                  <a:lnTo>
                    <a:pt x="201" y="37"/>
                  </a:lnTo>
                  <a:lnTo>
                    <a:pt x="223" y="37"/>
                  </a:lnTo>
                  <a:lnTo>
                    <a:pt x="201" y="37"/>
                  </a:lnTo>
                  <a:lnTo>
                    <a:pt x="163" y="73"/>
                  </a:lnTo>
                  <a:lnTo>
                    <a:pt x="142" y="56"/>
                  </a:lnTo>
                  <a:lnTo>
                    <a:pt x="142" y="37"/>
                  </a:lnTo>
                  <a:lnTo>
                    <a:pt x="123" y="56"/>
                  </a:lnTo>
                  <a:lnTo>
                    <a:pt x="123" y="73"/>
                  </a:lnTo>
                  <a:lnTo>
                    <a:pt x="102" y="73"/>
                  </a:lnTo>
                  <a:lnTo>
                    <a:pt x="102" y="91"/>
                  </a:lnTo>
                  <a:lnTo>
                    <a:pt x="102" y="110"/>
                  </a:lnTo>
                  <a:lnTo>
                    <a:pt x="80" y="110"/>
                  </a:lnTo>
                  <a:lnTo>
                    <a:pt x="59" y="110"/>
                  </a:lnTo>
                  <a:lnTo>
                    <a:pt x="59" y="91"/>
                  </a:lnTo>
                  <a:lnTo>
                    <a:pt x="40" y="91"/>
                  </a:lnTo>
                  <a:lnTo>
                    <a:pt x="21" y="91"/>
                  </a:lnTo>
                  <a:lnTo>
                    <a:pt x="0" y="91"/>
                  </a:lnTo>
                  <a:lnTo>
                    <a:pt x="0" y="73"/>
                  </a:lnTo>
                  <a:lnTo>
                    <a:pt x="21" y="56"/>
                  </a:lnTo>
                  <a:lnTo>
                    <a:pt x="40" y="56"/>
                  </a:lnTo>
                  <a:lnTo>
                    <a:pt x="59" y="37"/>
                  </a:lnTo>
                  <a:lnTo>
                    <a:pt x="80" y="37"/>
                  </a:lnTo>
                  <a:lnTo>
                    <a:pt x="102" y="37"/>
                  </a:lnTo>
                  <a:lnTo>
                    <a:pt x="102" y="20"/>
                  </a:lnTo>
                  <a:lnTo>
                    <a:pt x="123" y="0"/>
                  </a:lnTo>
                  <a:lnTo>
                    <a:pt x="142" y="0"/>
                  </a:lnTo>
                  <a:lnTo>
                    <a:pt x="163" y="0"/>
                  </a:lnTo>
                  <a:lnTo>
                    <a:pt x="201" y="0"/>
                  </a:lnTo>
                  <a:lnTo>
                    <a:pt x="223" y="0"/>
                  </a:lnTo>
                  <a:close/>
                </a:path>
              </a:pathLst>
            </a:custGeom>
            <a:solidFill>
              <a:srgbClr val="C0C0C0"/>
            </a:solidFill>
            <a:ln w="9525">
              <a:solidFill>
                <a:srgbClr val="C0C0C0"/>
              </a:solidFill>
              <a:round/>
              <a:headEnd/>
              <a:tailEnd/>
            </a:ln>
          </p:spPr>
          <p:txBody>
            <a:bodyPr/>
            <a:lstStyle/>
            <a:p>
              <a:endParaRPr lang="en-US"/>
            </a:p>
          </p:txBody>
        </p:sp>
        <p:sp>
          <p:nvSpPr>
            <p:cNvPr id="9474" name="Freeform 165"/>
            <p:cNvSpPr>
              <a:spLocks/>
            </p:cNvSpPr>
            <p:nvPr/>
          </p:nvSpPr>
          <p:spPr bwMode="auto">
            <a:xfrm>
              <a:off x="1141" y="1348"/>
              <a:ext cx="21" cy="9"/>
            </a:xfrm>
            <a:custGeom>
              <a:avLst/>
              <a:gdLst>
                <a:gd name="T0" fmla="*/ 1 w 40"/>
                <a:gd name="T1" fmla="*/ 1 h 17"/>
                <a:gd name="T2" fmla="*/ 1 w 40"/>
                <a:gd name="T3" fmla="*/ 1 h 17"/>
                <a:gd name="T4" fmla="*/ 0 w 40"/>
                <a:gd name="T5" fmla="*/ 1 h 17"/>
                <a:gd name="T6" fmla="*/ 0 w 40"/>
                <a:gd name="T7" fmla="*/ 0 h 17"/>
                <a:gd name="T8" fmla="*/ 1 w 40"/>
                <a:gd name="T9" fmla="*/ 1 h 17"/>
                <a:gd name="T10" fmla="*/ 1 w 40"/>
                <a:gd name="T11" fmla="*/ 1 h 17"/>
                <a:gd name="T12" fmla="*/ 0 60000 65536"/>
                <a:gd name="T13" fmla="*/ 0 60000 65536"/>
                <a:gd name="T14" fmla="*/ 0 60000 65536"/>
                <a:gd name="T15" fmla="*/ 0 60000 65536"/>
                <a:gd name="T16" fmla="*/ 0 60000 65536"/>
                <a:gd name="T17" fmla="*/ 0 60000 65536"/>
                <a:gd name="T18" fmla="*/ 0 w 40"/>
                <a:gd name="T19" fmla="*/ 0 h 17"/>
                <a:gd name="T20" fmla="*/ 40 w 40"/>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40" h="17">
                  <a:moveTo>
                    <a:pt x="40" y="17"/>
                  </a:moveTo>
                  <a:lnTo>
                    <a:pt x="21" y="17"/>
                  </a:lnTo>
                  <a:lnTo>
                    <a:pt x="0" y="17"/>
                  </a:lnTo>
                  <a:lnTo>
                    <a:pt x="0" y="0"/>
                  </a:lnTo>
                  <a:lnTo>
                    <a:pt x="21" y="17"/>
                  </a:lnTo>
                  <a:lnTo>
                    <a:pt x="40" y="17"/>
                  </a:lnTo>
                  <a:close/>
                </a:path>
              </a:pathLst>
            </a:custGeom>
            <a:solidFill>
              <a:srgbClr val="C0C0C0"/>
            </a:solidFill>
            <a:ln w="9525">
              <a:solidFill>
                <a:srgbClr val="C0C0C0"/>
              </a:solidFill>
              <a:round/>
              <a:headEnd/>
              <a:tailEnd/>
            </a:ln>
          </p:spPr>
          <p:txBody>
            <a:bodyPr/>
            <a:lstStyle/>
            <a:p>
              <a:endParaRPr lang="en-US"/>
            </a:p>
          </p:txBody>
        </p:sp>
        <p:sp>
          <p:nvSpPr>
            <p:cNvPr id="9475" name="Freeform 166"/>
            <p:cNvSpPr>
              <a:spLocks/>
            </p:cNvSpPr>
            <p:nvPr/>
          </p:nvSpPr>
          <p:spPr bwMode="auto">
            <a:xfrm>
              <a:off x="871" y="1866"/>
              <a:ext cx="20" cy="27"/>
            </a:xfrm>
            <a:custGeom>
              <a:avLst/>
              <a:gdLst>
                <a:gd name="T0" fmla="*/ 0 w 41"/>
                <a:gd name="T1" fmla="*/ 1 h 54"/>
                <a:gd name="T2" fmla="*/ 0 w 41"/>
                <a:gd name="T3" fmla="*/ 1 h 54"/>
                <a:gd name="T4" fmla="*/ 0 w 41"/>
                <a:gd name="T5" fmla="*/ 0 h 54"/>
                <a:gd name="T6" fmla="*/ 0 w 41"/>
                <a:gd name="T7" fmla="*/ 0 h 54"/>
                <a:gd name="T8" fmla="*/ 0 w 41"/>
                <a:gd name="T9" fmla="*/ 1 h 54"/>
                <a:gd name="T10" fmla="*/ 0 w 41"/>
                <a:gd name="T11" fmla="*/ 1 h 54"/>
                <a:gd name="T12" fmla="*/ 0 w 41"/>
                <a:gd name="T13" fmla="*/ 1 h 54"/>
                <a:gd name="T14" fmla="*/ 0 w 41"/>
                <a:gd name="T15" fmla="*/ 1 h 54"/>
                <a:gd name="T16" fmla="*/ 0 w 41"/>
                <a:gd name="T17" fmla="*/ 1 h 54"/>
                <a:gd name="T18" fmla="*/ 0 w 41"/>
                <a:gd name="T19" fmla="*/ 1 h 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54"/>
                <a:gd name="T32" fmla="*/ 41 w 41"/>
                <a:gd name="T33" fmla="*/ 54 h 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54">
                  <a:moveTo>
                    <a:pt x="20" y="20"/>
                  </a:moveTo>
                  <a:lnTo>
                    <a:pt x="0" y="20"/>
                  </a:lnTo>
                  <a:lnTo>
                    <a:pt x="0" y="0"/>
                  </a:lnTo>
                  <a:lnTo>
                    <a:pt x="20" y="0"/>
                  </a:lnTo>
                  <a:lnTo>
                    <a:pt x="20" y="20"/>
                  </a:lnTo>
                  <a:lnTo>
                    <a:pt x="41" y="37"/>
                  </a:lnTo>
                  <a:lnTo>
                    <a:pt x="41" y="54"/>
                  </a:lnTo>
                  <a:lnTo>
                    <a:pt x="20" y="54"/>
                  </a:lnTo>
                  <a:lnTo>
                    <a:pt x="20" y="37"/>
                  </a:lnTo>
                  <a:lnTo>
                    <a:pt x="20" y="20"/>
                  </a:lnTo>
                  <a:close/>
                </a:path>
              </a:pathLst>
            </a:custGeom>
            <a:solidFill>
              <a:srgbClr val="C0C0C0"/>
            </a:solidFill>
            <a:ln w="9525">
              <a:solidFill>
                <a:srgbClr val="C0C0C0"/>
              </a:solidFill>
              <a:round/>
              <a:headEnd/>
              <a:tailEnd/>
            </a:ln>
          </p:spPr>
          <p:txBody>
            <a:bodyPr/>
            <a:lstStyle/>
            <a:p>
              <a:endParaRPr lang="en-US"/>
            </a:p>
          </p:txBody>
        </p:sp>
        <p:sp>
          <p:nvSpPr>
            <p:cNvPr id="9476" name="Freeform 167"/>
            <p:cNvSpPr>
              <a:spLocks/>
            </p:cNvSpPr>
            <p:nvPr/>
          </p:nvSpPr>
          <p:spPr bwMode="auto">
            <a:xfrm>
              <a:off x="820" y="1823"/>
              <a:ext cx="31" cy="43"/>
            </a:xfrm>
            <a:custGeom>
              <a:avLst/>
              <a:gdLst>
                <a:gd name="T0" fmla="*/ 1 w 61"/>
                <a:gd name="T1" fmla="*/ 1 h 86"/>
                <a:gd name="T2" fmla="*/ 1 w 61"/>
                <a:gd name="T3" fmla="*/ 1 h 86"/>
                <a:gd name="T4" fmla="*/ 1 w 61"/>
                <a:gd name="T5" fmla="*/ 1 h 86"/>
                <a:gd name="T6" fmla="*/ 1 w 61"/>
                <a:gd name="T7" fmla="*/ 1 h 86"/>
                <a:gd name="T8" fmla="*/ 1 w 61"/>
                <a:gd name="T9" fmla="*/ 1 h 86"/>
                <a:gd name="T10" fmla="*/ 1 w 61"/>
                <a:gd name="T11" fmla="*/ 1 h 86"/>
                <a:gd name="T12" fmla="*/ 0 w 61"/>
                <a:gd name="T13" fmla="*/ 1 h 86"/>
                <a:gd name="T14" fmla="*/ 0 w 61"/>
                <a:gd name="T15" fmla="*/ 0 h 86"/>
                <a:gd name="T16" fmla="*/ 1 w 61"/>
                <a:gd name="T17" fmla="*/ 0 h 86"/>
                <a:gd name="T18" fmla="*/ 1 w 61"/>
                <a:gd name="T19" fmla="*/ 0 h 86"/>
                <a:gd name="T20" fmla="*/ 1 w 61"/>
                <a:gd name="T21" fmla="*/ 0 h 86"/>
                <a:gd name="T22" fmla="*/ 1 w 61"/>
                <a:gd name="T23" fmla="*/ 1 h 86"/>
                <a:gd name="T24" fmla="*/ 1 w 61"/>
                <a:gd name="T25" fmla="*/ 1 h 86"/>
                <a:gd name="T26" fmla="*/ 1 w 61"/>
                <a:gd name="T27" fmla="*/ 1 h 8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86"/>
                <a:gd name="T44" fmla="*/ 61 w 61"/>
                <a:gd name="T45" fmla="*/ 86 h 8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86">
                  <a:moveTo>
                    <a:pt x="61" y="52"/>
                  </a:moveTo>
                  <a:lnTo>
                    <a:pt x="61" y="69"/>
                  </a:lnTo>
                  <a:lnTo>
                    <a:pt x="61" y="86"/>
                  </a:lnTo>
                  <a:lnTo>
                    <a:pt x="61" y="69"/>
                  </a:lnTo>
                  <a:lnTo>
                    <a:pt x="42" y="52"/>
                  </a:lnTo>
                  <a:lnTo>
                    <a:pt x="21" y="33"/>
                  </a:lnTo>
                  <a:lnTo>
                    <a:pt x="0" y="17"/>
                  </a:lnTo>
                  <a:lnTo>
                    <a:pt x="0" y="0"/>
                  </a:lnTo>
                  <a:lnTo>
                    <a:pt x="21" y="0"/>
                  </a:lnTo>
                  <a:lnTo>
                    <a:pt x="42" y="0"/>
                  </a:lnTo>
                  <a:lnTo>
                    <a:pt x="61" y="0"/>
                  </a:lnTo>
                  <a:lnTo>
                    <a:pt x="61" y="17"/>
                  </a:lnTo>
                  <a:lnTo>
                    <a:pt x="61" y="33"/>
                  </a:lnTo>
                  <a:lnTo>
                    <a:pt x="61" y="52"/>
                  </a:lnTo>
                  <a:close/>
                </a:path>
              </a:pathLst>
            </a:custGeom>
            <a:solidFill>
              <a:srgbClr val="C0C0C0"/>
            </a:solidFill>
            <a:ln w="9525">
              <a:solidFill>
                <a:srgbClr val="C0C0C0"/>
              </a:solidFill>
              <a:round/>
              <a:headEnd/>
              <a:tailEnd/>
            </a:ln>
          </p:spPr>
          <p:txBody>
            <a:bodyPr/>
            <a:lstStyle/>
            <a:p>
              <a:endParaRPr lang="en-US"/>
            </a:p>
          </p:txBody>
        </p:sp>
        <p:sp>
          <p:nvSpPr>
            <p:cNvPr id="9477" name="Freeform 168"/>
            <p:cNvSpPr>
              <a:spLocks/>
            </p:cNvSpPr>
            <p:nvPr/>
          </p:nvSpPr>
          <p:spPr bwMode="auto">
            <a:xfrm>
              <a:off x="941" y="1975"/>
              <a:ext cx="70" cy="35"/>
            </a:xfrm>
            <a:custGeom>
              <a:avLst/>
              <a:gdLst>
                <a:gd name="T0" fmla="*/ 0 w 140"/>
                <a:gd name="T1" fmla="*/ 0 h 71"/>
                <a:gd name="T2" fmla="*/ 1 w 140"/>
                <a:gd name="T3" fmla="*/ 0 h 71"/>
                <a:gd name="T4" fmla="*/ 1 w 140"/>
                <a:gd name="T5" fmla="*/ 0 h 71"/>
                <a:gd name="T6" fmla="*/ 1 w 140"/>
                <a:gd name="T7" fmla="*/ 0 h 71"/>
                <a:gd name="T8" fmla="*/ 1 w 140"/>
                <a:gd name="T9" fmla="*/ 0 h 71"/>
                <a:gd name="T10" fmla="*/ 1 w 140"/>
                <a:gd name="T11" fmla="*/ 0 h 71"/>
                <a:gd name="T12" fmla="*/ 1 w 140"/>
                <a:gd name="T13" fmla="*/ 0 h 71"/>
                <a:gd name="T14" fmla="*/ 1 w 140"/>
                <a:gd name="T15" fmla="*/ 0 h 71"/>
                <a:gd name="T16" fmla="*/ 1 w 140"/>
                <a:gd name="T17" fmla="*/ 0 h 71"/>
                <a:gd name="T18" fmla="*/ 1 w 140"/>
                <a:gd name="T19" fmla="*/ 0 h 71"/>
                <a:gd name="T20" fmla="*/ 1 w 140"/>
                <a:gd name="T21" fmla="*/ 0 h 71"/>
                <a:gd name="T22" fmla="*/ 1 w 140"/>
                <a:gd name="T23" fmla="*/ 0 h 71"/>
                <a:gd name="T24" fmla="*/ 0 w 140"/>
                <a:gd name="T25" fmla="*/ 0 h 71"/>
                <a:gd name="T26" fmla="*/ 1 w 140"/>
                <a:gd name="T27" fmla="*/ 0 h 71"/>
                <a:gd name="T28" fmla="*/ 0 w 140"/>
                <a:gd name="T29" fmla="*/ 0 h 7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0"/>
                <a:gd name="T46" fmla="*/ 0 h 71"/>
                <a:gd name="T47" fmla="*/ 140 w 140"/>
                <a:gd name="T48" fmla="*/ 71 h 7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0" h="71">
                  <a:moveTo>
                    <a:pt x="0" y="0"/>
                  </a:moveTo>
                  <a:lnTo>
                    <a:pt x="19" y="0"/>
                  </a:lnTo>
                  <a:lnTo>
                    <a:pt x="40" y="0"/>
                  </a:lnTo>
                  <a:lnTo>
                    <a:pt x="59" y="0"/>
                  </a:lnTo>
                  <a:lnTo>
                    <a:pt x="80" y="17"/>
                  </a:lnTo>
                  <a:lnTo>
                    <a:pt x="119" y="54"/>
                  </a:lnTo>
                  <a:lnTo>
                    <a:pt x="140" y="71"/>
                  </a:lnTo>
                  <a:lnTo>
                    <a:pt x="119" y="71"/>
                  </a:lnTo>
                  <a:lnTo>
                    <a:pt x="80" y="54"/>
                  </a:lnTo>
                  <a:lnTo>
                    <a:pt x="59" y="54"/>
                  </a:lnTo>
                  <a:lnTo>
                    <a:pt x="59" y="37"/>
                  </a:lnTo>
                  <a:lnTo>
                    <a:pt x="19" y="17"/>
                  </a:lnTo>
                  <a:lnTo>
                    <a:pt x="0" y="0"/>
                  </a:lnTo>
                  <a:lnTo>
                    <a:pt x="19" y="0"/>
                  </a:lnTo>
                  <a:lnTo>
                    <a:pt x="0" y="0"/>
                  </a:lnTo>
                  <a:close/>
                </a:path>
              </a:pathLst>
            </a:custGeom>
            <a:solidFill>
              <a:srgbClr val="C0C0C0"/>
            </a:solidFill>
            <a:ln w="9525">
              <a:solidFill>
                <a:srgbClr val="C0C0C0"/>
              </a:solidFill>
              <a:round/>
              <a:headEnd/>
              <a:tailEnd/>
            </a:ln>
          </p:spPr>
          <p:txBody>
            <a:bodyPr/>
            <a:lstStyle/>
            <a:p>
              <a:endParaRPr lang="en-US"/>
            </a:p>
          </p:txBody>
        </p:sp>
        <p:sp>
          <p:nvSpPr>
            <p:cNvPr id="9478" name="Freeform 169"/>
            <p:cNvSpPr>
              <a:spLocks/>
            </p:cNvSpPr>
            <p:nvPr/>
          </p:nvSpPr>
          <p:spPr bwMode="auto">
            <a:xfrm>
              <a:off x="880" y="1911"/>
              <a:ext cx="20" cy="27"/>
            </a:xfrm>
            <a:custGeom>
              <a:avLst/>
              <a:gdLst>
                <a:gd name="T0" fmla="*/ 0 w 40"/>
                <a:gd name="T1" fmla="*/ 1 h 53"/>
                <a:gd name="T2" fmla="*/ 0 w 40"/>
                <a:gd name="T3" fmla="*/ 0 h 53"/>
                <a:gd name="T4" fmla="*/ 1 w 40"/>
                <a:gd name="T5" fmla="*/ 0 h 53"/>
                <a:gd name="T6" fmla="*/ 0 w 40"/>
                <a:gd name="T7" fmla="*/ 0 h 53"/>
                <a:gd name="T8" fmla="*/ 1 w 40"/>
                <a:gd name="T9" fmla="*/ 0 h 53"/>
                <a:gd name="T10" fmla="*/ 1 w 40"/>
                <a:gd name="T11" fmla="*/ 1 h 53"/>
                <a:gd name="T12" fmla="*/ 1 w 40"/>
                <a:gd name="T13" fmla="*/ 1 h 53"/>
                <a:gd name="T14" fmla="*/ 1 w 40"/>
                <a:gd name="T15" fmla="*/ 1 h 53"/>
                <a:gd name="T16" fmla="*/ 1 w 40"/>
                <a:gd name="T17" fmla="*/ 1 h 53"/>
                <a:gd name="T18" fmla="*/ 1 w 40"/>
                <a:gd name="T19" fmla="*/ 1 h 53"/>
                <a:gd name="T20" fmla="*/ 1 w 40"/>
                <a:gd name="T21" fmla="*/ 1 h 53"/>
                <a:gd name="T22" fmla="*/ 1 w 40"/>
                <a:gd name="T23" fmla="*/ 1 h 53"/>
                <a:gd name="T24" fmla="*/ 0 w 40"/>
                <a:gd name="T25" fmla="*/ 1 h 5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0"/>
                <a:gd name="T40" fmla="*/ 0 h 53"/>
                <a:gd name="T41" fmla="*/ 40 w 40"/>
                <a:gd name="T42" fmla="*/ 53 h 5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0" h="53">
                  <a:moveTo>
                    <a:pt x="0" y="19"/>
                  </a:moveTo>
                  <a:lnTo>
                    <a:pt x="0" y="0"/>
                  </a:lnTo>
                  <a:lnTo>
                    <a:pt x="21" y="0"/>
                  </a:lnTo>
                  <a:lnTo>
                    <a:pt x="0" y="0"/>
                  </a:lnTo>
                  <a:lnTo>
                    <a:pt x="21" y="0"/>
                  </a:lnTo>
                  <a:lnTo>
                    <a:pt x="21" y="19"/>
                  </a:lnTo>
                  <a:lnTo>
                    <a:pt x="40" y="36"/>
                  </a:lnTo>
                  <a:lnTo>
                    <a:pt x="21" y="36"/>
                  </a:lnTo>
                  <a:lnTo>
                    <a:pt x="21" y="53"/>
                  </a:lnTo>
                  <a:lnTo>
                    <a:pt x="40" y="53"/>
                  </a:lnTo>
                  <a:lnTo>
                    <a:pt x="21" y="53"/>
                  </a:lnTo>
                  <a:lnTo>
                    <a:pt x="21" y="36"/>
                  </a:lnTo>
                  <a:lnTo>
                    <a:pt x="0" y="19"/>
                  </a:lnTo>
                  <a:close/>
                </a:path>
              </a:pathLst>
            </a:custGeom>
            <a:solidFill>
              <a:srgbClr val="C0C0C0"/>
            </a:solidFill>
            <a:ln w="9525">
              <a:solidFill>
                <a:srgbClr val="C0C0C0"/>
              </a:solidFill>
              <a:round/>
              <a:headEnd/>
              <a:tailEnd/>
            </a:ln>
          </p:spPr>
          <p:txBody>
            <a:bodyPr/>
            <a:lstStyle/>
            <a:p>
              <a:endParaRPr lang="en-US"/>
            </a:p>
          </p:txBody>
        </p:sp>
        <p:sp>
          <p:nvSpPr>
            <p:cNvPr id="9479" name="Freeform 170"/>
            <p:cNvSpPr>
              <a:spLocks/>
            </p:cNvSpPr>
            <p:nvPr/>
          </p:nvSpPr>
          <p:spPr bwMode="auto">
            <a:xfrm>
              <a:off x="549" y="1832"/>
              <a:ext cx="30" cy="17"/>
            </a:xfrm>
            <a:custGeom>
              <a:avLst/>
              <a:gdLst>
                <a:gd name="T0" fmla="*/ 1 w 60"/>
                <a:gd name="T1" fmla="*/ 0 h 35"/>
                <a:gd name="T2" fmla="*/ 1 w 60"/>
                <a:gd name="T3" fmla="*/ 0 h 35"/>
                <a:gd name="T4" fmla="*/ 1 w 60"/>
                <a:gd name="T5" fmla="*/ 0 h 35"/>
                <a:gd name="T6" fmla="*/ 1 w 60"/>
                <a:gd name="T7" fmla="*/ 0 h 35"/>
                <a:gd name="T8" fmla="*/ 1 w 60"/>
                <a:gd name="T9" fmla="*/ 0 h 35"/>
                <a:gd name="T10" fmla="*/ 0 w 60"/>
                <a:gd name="T11" fmla="*/ 0 h 35"/>
                <a:gd name="T12" fmla="*/ 0 w 60"/>
                <a:gd name="T13" fmla="*/ 0 h 35"/>
                <a:gd name="T14" fmla="*/ 1 w 60"/>
                <a:gd name="T15" fmla="*/ 0 h 35"/>
                <a:gd name="T16" fmla="*/ 1 w 60"/>
                <a:gd name="T17" fmla="*/ 0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35"/>
                <a:gd name="T29" fmla="*/ 60 w 60"/>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35">
                  <a:moveTo>
                    <a:pt x="39" y="0"/>
                  </a:moveTo>
                  <a:lnTo>
                    <a:pt x="60" y="0"/>
                  </a:lnTo>
                  <a:lnTo>
                    <a:pt x="60" y="16"/>
                  </a:lnTo>
                  <a:lnTo>
                    <a:pt x="39" y="35"/>
                  </a:lnTo>
                  <a:lnTo>
                    <a:pt x="20" y="35"/>
                  </a:lnTo>
                  <a:lnTo>
                    <a:pt x="0" y="35"/>
                  </a:lnTo>
                  <a:lnTo>
                    <a:pt x="0" y="16"/>
                  </a:lnTo>
                  <a:lnTo>
                    <a:pt x="20" y="16"/>
                  </a:lnTo>
                  <a:lnTo>
                    <a:pt x="39" y="0"/>
                  </a:lnTo>
                  <a:close/>
                </a:path>
              </a:pathLst>
            </a:custGeom>
            <a:solidFill>
              <a:srgbClr val="C0C0C0"/>
            </a:solidFill>
            <a:ln w="9525">
              <a:solidFill>
                <a:srgbClr val="C0C0C0"/>
              </a:solidFill>
              <a:round/>
              <a:headEnd/>
              <a:tailEnd/>
            </a:ln>
          </p:spPr>
          <p:txBody>
            <a:bodyPr/>
            <a:lstStyle/>
            <a:p>
              <a:endParaRPr lang="en-US"/>
            </a:p>
          </p:txBody>
        </p:sp>
        <p:sp>
          <p:nvSpPr>
            <p:cNvPr id="9480" name="Freeform 171"/>
            <p:cNvSpPr>
              <a:spLocks/>
            </p:cNvSpPr>
            <p:nvPr/>
          </p:nvSpPr>
          <p:spPr bwMode="auto">
            <a:xfrm>
              <a:off x="349" y="1787"/>
              <a:ext cx="29" cy="8"/>
            </a:xfrm>
            <a:custGeom>
              <a:avLst/>
              <a:gdLst>
                <a:gd name="T0" fmla="*/ 0 w 60"/>
                <a:gd name="T1" fmla="*/ 0 h 17"/>
                <a:gd name="T2" fmla="*/ 0 w 60"/>
                <a:gd name="T3" fmla="*/ 0 h 17"/>
                <a:gd name="T4" fmla="*/ 0 w 60"/>
                <a:gd name="T5" fmla="*/ 0 h 17"/>
                <a:gd name="T6" fmla="*/ 0 w 60"/>
                <a:gd name="T7" fmla="*/ 0 h 17"/>
                <a:gd name="T8" fmla="*/ 0 w 60"/>
                <a:gd name="T9" fmla="*/ 0 h 17"/>
                <a:gd name="T10" fmla="*/ 0 w 60"/>
                <a:gd name="T11" fmla="*/ 0 h 17"/>
                <a:gd name="T12" fmla="*/ 0 w 60"/>
                <a:gd name="T13" fmla="*/ 0 h 17"/>
                <a:gd name="T14" fmla="*/ 0 w 60"/>
                <a:gd name="T15" fmla="*/ 0 h 17"/>
                <a:gd name="T16" fmla="*/ 0 60000 65536"/>
                <a:gd name="T17" fmla="*/ 0 60000 65536"/>
                <a:gd name="T18" fmla="*/ 0 60000 65536"/>
                <a:gd name="T19" fmla="*/ 0 60000 65536"/>
                <a:gd name="T20" fmla="*/ 0 60000 65536"/>
                <a:gd name="T21" fmla="*/ 0 60000 65536"/>
                <a:gd name="T22" fmla="*/ 0 60000 65536"/>
                <a:gd name="T23" fmla="*/ 0 60000 65536"/>
                <a:gd name="T24" fmla="*/ 0 w 60"/>
                <a:gd name="T25" fmla="*/ 0 h 17"/>
                <a:gd name="T26" fmla="*/ 60 w 60"/>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0" h="17">
                  <a:moveTo>
                    <a:pt x="21" y="0"/>
                  </a:moveTo>
                  <a:lnTo>
                    <a:pt x="40" y="0"/>
                  </a:lnTo>
                  <a:lnTo>
                    <a:pt x="60" y="17"/>
                  </a:lnTo>
                  <a:lnTo>
                    <a:pt x="40" y="17"/>
                  </a:lnTo>
                  <a:lnTo>
                    <a:pt x="21" y="17"/>
                  </a:lnTo>
                  <a:lnTo>
                    <a:pt x="0" y="17"/>
                  </a:lnTo>
                  <a:lnTo>
                    <a:pt x="0" y="0"/>
                  </a:lnTo>
                  <a:lnTo>
                    <a:pt x="21" y="0"/>
                  </a:lnTo>
                  <a:close/>
                </a:path>
              </a:pathLst>
            </a:custGeom>
            <a:solidFill>
              <a:srgbClr val="C0C0C0"/>
            </a:solidFill>
            <a:ln w="9525">
              <a:solidFill>
                <a:srgbClr val="C0C0C0"/>
              </a:solidFill>
              <a:round/>
              <a:headEnd/>
              <a:tailEnd/>
            </a:ln>
          </p:spPr>
          <p:txBody>
            <a:bodyPr/>
            <a:lstStyle/>
            <a:p>
              <a:endParaRPr lang="en-US"/>
            </a:p>
          </p:txBody>
        </p:sp>
      </p:grpSp>
      <p:sp>
        <p:nvSpPr>
          <p:cNvPr id="9219" name="Oval 174"/>
          <p:cNvSpPr>
            <a:spLocks noChangeArrowheads="1"/>
          </p:cNvSpPr>
          <p:nvPr>
            <p:custDataLst>
              <p:tags r:id="rId2"/>
            </p:custDataLst>
          </p:nvPr>
        </p:nvSpPr>
        <p:spPr bwMode="auto">
          <a:xfrm>
            <a:off x="4494213" y="2765425"/>
            <a:ext cx="73025" cy="63500"/>
          </a:xfrm>
          <a:prstGeom prst="ellipse">
            <a:avLst/>
          </a:prstGeom>
          <a:solidFill>
            <a:schemeClr val="tx1"/>
          </a:solidFill>
          <a:ln w="9525">
            <a:solidFill>
              <a:schemeClr val="tx1"/>
            </a:solidFill>
            <a:round/>
            <a:headEnd/>
            <a:tailEnd/>
          </a:ln>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endParaRPr lang="de-CH" altLang="en-US" sz="1400">
              <a:latin typeface="Arial" charset="0"/>
              <a:cs typeface="Arial" charset="0"/>
            </a:endParaRPr>
          </a:p>
        </p:txBody>
      </p:sp>
      <p:sp>
        <p:nvSpPr>
          <p:cNvPr id="9220" name="Oval 175"/>
          <p:cNvSpPr>
            <a:spLocks noChangeArrowheads="1"/>
          </p:cNvSpPr>
          <p:nvPr>
            <p:custDataLst>
              <p:tags r:id="rId3"/>
            </p:custDataLst>
          </p:nvPr>
        </p:nvSpPr>
        <p:spPr bwMode="auto">
          <a:xfrm>
            <a:off x="1412875" y="3354388"/>
            <a:ext cx="71438" cy="63500"/>
          </a:xfrm>
          <a:prstGeom prst="ellipse">
            <a:avLst/>
          </a:prstGeom>
          <a:solidFill>
            <a:schemeClr val="tx1"/>
          </a:solidFill>
          <a:ln w="9525">
            <a:solidFill>
              <a:schemeClr val="tx1"/>
            </a:solidFill>
            <a:round/>
            <a:headEnd/>
            <a:tailEnd/>
          </a:ln>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endParaRPr lang="de-CH" altLang="en-US" sz="1400">
              <a:latin typeface="Arial" charset="0"/>
              <a:cs typeface="Arial" charset="0"/>
            </a:endParaRPr>
          </a:p>
        </p:txBody>
      </p:sp>
      <p:sp>
        <p:nvSpPr>
          <p:cNvPr id="9221" name="Oval 176"/>
          <p:cNvSpPr>
            <a:spLocks noChangeArrowheads="1"/>
          </p:cNvSpPr>
          <p:nvPr>
            <p:custDataLst>
              <p:tags r:id="rId4"/>
            </p:custDataLst>
          </p:nvPr>
        </p:nvSpPr>
        <p:spPr bwMode="auto">
          <a:xfrm>
            <a:off x="1319213" y="2847975"/>
            <a:ext cx="74612" cy="63500"/>
          </a:xfrm>
          <a:prstGeom prst="ellipse">
            <a:avLst/>
          </a:prstGeom>
          <a:solidFill>
            <a:schemeClr val="tx1"/>
          </a:solidFill>
          <a:ln w="9525">
            <a:solidFill>
              <a:schemeClr val="tx1"/>
            </a:solidFill>
            <a:round/>
            <a:headEnd/>
            <a:tailEnd/>
          </a:ln>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endParaRPr lang="de-CH" altLang="en-US" sz="1400">
              <a:latin typeface="Arial" charset="0"/>
              <a:cs typeface="Arial" charset="0"/>
            </a:endParaRPr>
          </a:p>
        </p:txBody>
      </p:sp>
      <p:sp>
        <p:nvSpPr>
          <p:cNvPr id="9222" name="Oval 177"/>
          <p:cNvSpPr>
            <a:spLocks noChangeArrowheads="1"/>
          </p:cNvSpPr>
          <p:nvPr>
            <p:custDataLst>
              <p:tags r:id="rId5"/>
            </p:custDataLst>
          </p:nvPr>
        </p:nvSpPr>
        <p:spPr bwMode="auto">
          <a:xfrm>
            <a:off x="2105025" y="3286125"/>
            <a:ext cx="71438" cy="63500"/>
          </a:xfrm>
          <a:prstGeom prst="ellipse">
            <a:avLst/>
          </a:prstGeom>
          <a:solidFill>
            <a:schemeClr val="tx1"/>
          </a:solidFill>
          <a:ln w="9525">
            <a:solidFill>
              <a:schemeClr val="tx1"/>
            </a:solidFill>
            <a:round/>
            <a:headEnd/>
            <a:tailEnd/>
          </a:ln>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endParaRPr lang="de-CH" altLang="en-US" sz="1400">
              <a:latin typeface="Arial" charset="0"/>
              <a:cs typeface="Arial" charset="0"/>
            </a:endParaRPr>
          </a:p>
        </p:txBody>
      </p:sp>
      <p:sp>
        <p:nvSpPr>
          <p:cNvPr id="9223" name="Oval 178"/>
          <p:cNvSpPr>
            <a:spLocks noChangeArrowheads="1"/>
          </p:cNvSpPr>
          <p:nvPr>
            <p:custDataLst>
              <p:tags r:id="rId6"/>
            </p:custDataLst>
          </p:nvPr>
        </p:nvSpPr>
        <p:spPr bwMode="auto">
          <a:xfrm>
            <a:off x="2465388" y="3187700"/>
            <a:ext cx="73025" cy="63500"/>
          </a:xfrm>
          <a:prstGeom prst="ellipse">
            <a:avLst/>
          </a:prstGeom>
          <a:solidFill>
            <a:schemeClr val="tx1"/>
          </a:solidFill>
          <a:ln w="9525">
            <a:solidFill>
              <a:schemeClr val="tx1"/>
            </a:solidFill>
            <a:round/>
            <a:headEnd/>
            <a:tailEnd/>
          </a:ln>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endParaRPr lang="de-CH" altLang="en-US" sz="1400">
              <a:latin typeface="Arial" charset="0"/>
              <a:cs typeface="Arial" charset="0"/>
            </a:endParaRPr>
          </a:p>
        </p:txBody>
      </p:sp>
      <p:cxnSp>
        <p:nvCxnSpPr>
          <p:cNvPr id="9224" name="AutoShape 179"/>
          <p:cNvCxnSpPr>
            <a:cxnSpLocks noChangeShapeType="1"/>
            <a:stCxn id="9310" idx="0"/>
            <a:endCxn id="9222" idx="4"/>
          </p:cNvCxnSpPr>
          <p:nvPr>
            <p:custDataLst>
              <p:tags r:id="rId7"/>
            </p:custDataLst>
          </p:nvPr>
        </p:nvCxnSpPr>
        <p:spPr bwMode="gray">
          <a:xfrm rot="5400000" flipH="1">
            <a:off x="1200150" y="4291013"/>
            <a:ext cx="2452688" cy="569912"/>
          </a:xfrm>
          <a:prstGeom prst="bentConnector3">
            <a:avLst>
              <a:gd name="adj1" fmla="val 5565"/>
            </a:avLst>
          </a:prstGeom>
          <a:noFill/>
          <a:ln w="9525">
            <a:solidFill>
              <a:schemeClr val="tx1"/>
            </a:solidFill>
            <a:miter lim="800000"/>
            <a:headEnd type="none" w="lg" len="lg"/>
            <a:tailEnd type="none" w="lg" len="lg"/>
          </a:ln>
          <a:extLst>
            <a:ext uri="{909E8E84-426E-40dd-AFC4-6F175D3DCCD1}">
              <a14:hiddenFill xmlns:a14="http://schemas.microsoft.com/office/drawing/2010/main">
                <a:noFill/>
              </a14:hiddenFill>
            </a:ext>
          </a:extLst>
        </p:spPr>
      </p:cxnSp>
      <p:grpSp>
        <p:nvGrpSpPr>
          <p:cNvPr id="9225" name="Group 180"/>
          <p:cNvGrpSpPr>
            <a:grpSpLocks/>
          </p:cNvGrpSpPr>
          <p:nvPr>
            <p:custDataLst>
              <p:tags r:id="rId8"/>
            </p:custDataLst>
          </p:nvPr>
        </p:nvGrpSpPr>
        <p:grpSpPr bwMode="auto">
          <a:xfrm>
            <a:off x="1963738" y="5802313"/>
            <a:ext cx="1495425" cy="531812"/>
            <a:chOff x="1651" y="2095"/>
            <a:chExt cx="989" cy="335"/>
          </a:xfrm>
        </p:grpSpPr>
        <p:sp>
          <p:nvSpPr>
            <p:cNvPr id="9310" name="AutoShape 181"/>
            <p:cNvSpPr>
              <a:spLocks noChangeArrowheads="1"/>
            </p:cNvSpPr>
            <p:nvPr>
              <p:custDataLst>
                <p:tags r:id="rId90"/>
              </p:custDataLst>
            </p:nvPr>
          </p:nvSpPr>
          <p:spPr bwMode="auto">
            <a:xfrm>
              <a:off x="1651" y="2095"/>
              <a:ext cx="989" cy="335"/>
            </a:xfrm>
            <a:prstGeom prst="roundRect">
              <a:avLst>
                <a:gd name="adj" fmla="val 16667"/>
              </a:avLst>
            </a:prstGeom>
            <a:solidFill>
              <a:schemeClr val="bg1"/>
            </a:solidFill>
            <a:ln w="9525" algn="ctr">
              <a:solidFill>
                <a:srgbClr val="C0C0C0"/>
              </a:solidFill>
              <a:round/>
              <a:headEnd/>
              <a:tailEnd type="none" w="lg" len="lg"/>
            </a:ln>
          </p:spPr>
          <p:txBody>
            <a:bodyPr lIns="0" tIns="0" rIns="0" bIns="0"/>
            <a:lstStyle>
              <a:lvl1pPr defTabSz="912813" eaLnBrk="0" hangingPunct="0">
                <a:spcBef>
                  <a:spcPct val="20000"/>
                </a:spcBef>
                <a:buFont typeface="Arial" charset="0"/>
                <a:buChar char="•"/>
                <a:defRPr sz="3200">
                  <a:solidFill>
                    <a:schemeClr val="tx1"/>
                  </a:solidFill>
                  <a:latin typeface="Calibri" pitchFamily="34" charset="0"/>
                </a:defRPr>
              </a:lvl1pPr>
              <a:lvl2pPr marL="742950" indent="-285750" defTabSz="912813" eaLnBrk="0" hangingPunct="0">
                <a:spcBef>
                  <a:spcPct val="20000"/>
                </a:spcBef>
                <a:buFont typeface="Arial" charset="0"/>
                <a:buChar char="–"/>
                <a:defRPr sz="2800">
                  <a:solidFill>
                    <a:schemeClr val="tx1"/>
                  </a:solidFill>
                  <a:latin typeface="Calibri" pitchFamily="34" charset="0"/>
                </a:defRPr>
              </a:lvl2pPr>
              <a:lvl3pPr marL="1143000" indent="-228600" defTabSz="912813" eaLnBrk="0" hangingPunct="0">
                <a:spcBef>
                  <a:spcPct val="20000"/>
                </a:spcBef>
                <a:buFont typeface="Arial" charset="0"/>
                <a:buChar char="•"/>
                <a:defRPr sz="2400">
                  <a:solidFill>
                    <a:schemeClr val="tx1"/>
                  </a:solidFill>
                  <a:latin typeface="Calibri" pitchFamily="34" charset="0"/>
                </a:defRPr>
              </a:lvl3pPr>
              <a:lvl4pPr marL="1600200" indent="-228600" defTabSz="912813" eaLnBrk="0" hangingPunct="0">
                <a:spcBef>
                  <a:spcPct val="20000"/>
                </a:spcBef>
                <a:buFont typeface="Arial" charset="0"/>
                <a:buChar char="–"/>
                <a:defRPr sz="2000">
                  <a:solidFill>
                    <a:schemeClr val="tx1"/>
                  </a:solidFill>
                  <a:latin typeface="Calibri" pitchFamily="34" charset="0"/>
                </a:defRPr>
              </a:lvl4pPr>
              <a:lvl5pPr marL="2057400" indent="-228600" defTabSz="912813" eaLnBrk="0" hangingPunct="0">
                <a:spcBef>
                  <a:spcPct val="20000"/>
                </a:spcBef>
                <a:buFont typeface="Arial" charset="0"/>
                <a:buChar char="»"/>
                <a:defRPr sz="2000">
                  <a:solidFill>
                    <a:schemeClr val="tx1"/>
                  </a:solidFill>
                  <a:latin typeface="Calibri" pitchFamily="34" charset="0"/>
                </a:defRPr>
              </a:lvl5pPr>
              <a:lvl6pPr marL="25146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000">
                  <a:latin typeface="Arial" charset="0"/>
                  <a:cs typeface="Arial" charset="0"/>
                </a:rPr>
                <a:t>Missouri</a:t>
              </a:r>
            </a:p>
            <a:p>
              <a:pPr eaLnBrk="1" hangingPunct="1">
                <a:spcBef>
                  <a:spcPct val="0"/>
                </a:spcBef>
                <a:buFontTx/>
                <a:buNone/>
              </a:pPr>
              <a:endParaRPr lang="en-US" altLang="en-US" sz="1000">
                <a:latin typeface="Arial" charset="0"/>
                <a:cs typeface="Arial" charset="0"/>
              </a:endParaRPr>
            </a:p>
          </p:txBody>
        </p:sp>
        <p:pic>
          <p:nvPicPr>
            <p:cNvPr id="9311" name="Picture 182" descr="Washington University in St. Louis logo"/>
            <p:cNvPicPr>
              <a:picLocks noChangeAspect="1" noChangeArrowheads="1"/>
            </p:cNvPicPr>
            <p:nvPr>
              <p:custDataLst>
                <p:tags r:id="rId91"/>
              </p:custDataLst>
            </p:nvPr>
          </p:nvPicPr>
          <p:blipFill>
            <a:blip r:embed="rId93" cstate="print">
              <a:extLst>
                <a:ext uri="{28A0092B-C50C-407E-A947-70E740481C1C}">
                  <a14:useLocalDpi xmlns:a14="http://schemas.microsoft.com/office/drawing/2010/main" val="0"/>
                </a:ext>
              </a:extLst>
            </a:blip>
            <a:srcRect/>
            <a:stretch>
              <a:fillRect/>
            </a:stretch>
          </p:blipFill>
          <p:spPr bwMode="auto">
            <a:xfrm>
              <a:off x="1681" y="2267"/>
              <a:ext cx="915"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9226" name="AutoShape 183"/>
          <p:cNvCxnSpPr>
            <a:cxnSpLocks noChangeShapeType="1"/>
            <a:stCxn id="9240" idx="4"/>
            <a:endCxn id="9308" idx="0"/>
          </p:cNvCxnSpPr>
          <p:nvPr>
            <p:custDataLst>
              <p:tags r:id="rId9"/>
            </p:custDataLst>
          </p:nvPr>
        </p:nvCxnSpPr>
        <p:spPr bwMode="gray">
          <a:xfrm rot="16200000" flipH="1">
            <a:off x="1883570" y="3945731"/>
            <a:ext cx="1560512" cy="523875"/>
          </a:xfrm>
          <a:prstGeom prst="bentConnector3">
            <a:avLst>
              <a:gd name="adj1" fmla="val 49949"/>
            </a:avLst>
          </a:prstGeom>
          <a:noFill/>
          <a:ln w="9525">
            <a:solidFill>
              <a:schemeClr val="tx1"/>
            </a:solidFill>
            <a:miter lim="800000"/>
            <a:headEnd type="none" w="lg" len="lg"/>
            <a:tailEnd type="none" w="lg" len="lg"/>
          </a:ln>
          <a:extLst>
            <a:ext uri="{909E8E84-426E-40dd-AFC4-6F175D3DCCD1}">
              <a14:hiddenFill xmlns:a14="http://schemas.microsoft.com/office/drawing/2010/main">
                <a:noFill/>
              </a14:hiddenFill>
            </a:ext>
          </a:extLst>
        </p:spPr>
      </p:cxnSp>
      <p:grpSp>
        <p:nvGrpSpPr>
          <p:cNvPr id="9227" name="Group 184"/>
          <p:cNvGrpSpPr>
            <a:grpSpLocks/>
          </p:cNvGrpSpPr>
          <p:nvPr>
            <p:custDataLst>
              <p:tags r:id="rId10"/>
            </p:custDataLst>
          </p:nvPr>
        </p:nvGrpSpPr>
        <p:grpSpPr bwMode="auto">
          <a:xfrm>
            <a:off x="2373313" y="4987925"/>
            <a:ext cx="1104900" cy="582613"/>
            <a:chOff x="3349" y="2670"/>
            <a:chExt cx="731" cy="367"/>
          </a:xfrm>
        </p:grpSpPr>
        <p:sp>
          <p:nvSpPr>
            <p:cNvPr id="9308" name="AutoShape 185"/>
            <p:cNvSpPr>
              <a:spLocks noChangeArrowheads="1"/>
            </p:cNvSpPr>
            <p:nvPr>
              <p:custDataLst>
                <p:tags r:id="rId88"/>
              </p:custDataLst>
            </p:nvPr>
          </p:nvSpPr>
          <p:spPr bwMode="auto">
            <a:xfrm>
              <a:off x="3349" y="2670"/>
              <a:ext cx="731" cy="367"/>
            </a:xfrm>
            <a:prstGeom prst="roundRect">
              <a:avLst>
                <a:gd name="adj" fmla="val 16667"/>
              </a:avLst>
            </a:prstGeom>
            <a:solidFill>
              <a:schemeClr val="bg1"/>
            </a:solidFill>
            <a:ln w="9525" algn="ctr">
              <a:solidFill>
                <a:srgbClr val="C0C0C0"/>
              </a:solidFill>
              <a:round/>
              <a:headEnd/>
              <a:tailEnd type="none" w="lg" len="lg"/>
            </a:ln>
          </p:spPr>
          <p:txBody>
            <a:bodyPr lIns="0" tIns="0" rIns="0" bIns="0"/>
            <a:lstStyle>
              <a:lvl1pPr defTabSz="912813" eaLnBrk="0" hangingPunct="0">
                <a:spcBef>
                  <a:spcPct val="20000"/>
                </a:spcBef>
                <a:buFont typeface="Arial" charset="0"/>
                <a:buChar char="•"/>
                <a:defRPr sz="3200">
                  <a:solidFill>
                    <a:schemeClr val="tx1"/>
                  </a:solidFill>
                  <a:latin typeface="Calibri" pitchFamily="34" charset="0"/>
                </a:defRPr>
              </a:lvl1pPr>
              <a:lvl2pPr marL="742950" indent="-285750" defTabSz="912813" eaLnBrk="0" hangingPunct="0">
                <a:spcBef>
                  <a:spcPct val="20000"/>
                </a:spcBef>
                <a:buFont typeface="Arial" charset="0"/>
                <a:buChar char="–"/>
                <a:defRPr sz="2800">
                  <a:solidFill>
                    <a:schemeClr val="tx1"/>
                  </a:solidFill>
                  <a:latin typeface="Calibri" pitchFamily="34" charset="0"/>
                </a:defRPr>
              </a:lvl2pPr>
              <a:lvl3pPr marL="1143000" indent="-228600" defTabSz="912813" eaLnBrk="0" hangingPunct="0">
                <a:spcBef>
                  <a:spcPct val="20000"/>
                </a:spcBef>
                <a:buFont typeface="Arial" charset="0"/>
                <a:buChar char="•"/>
                <a:defRPr sz="2400">
                  <a:solidFill>
                    <a:schemeClr val="tx1"/>
                  </a:solidFill>
                  <a:latin typeface="Calibri" pitchFamily="34" charset="0"/>
                </a:defRPr>
              </a:lvl3pPr>
              <a:lvl4pPr marL="1600200" indent="-228600" defTabSz="912813" eaLnBrk="0" hangingPunct="0">
                <a:spcBef>
                  <a:spcPct val="20000"/>
                </a:spcBef>
                <a:buFont typeface="Arial" charset="0"/>
                <a:buChar char="–"/>
                <a:defRPr sz="2000">
                  <a:solidFill>
                    <a:schemeClr val="tx1"/>
                  </a:solidFill>
                  <a:latin typeface="Calibri" pitchFamily="34" charset="0"/>
                </a:defRPr>
              </a:lvl4pPr>
              <a:lvl5pPr marL="2057400" indent="-228600" defTabSz="912813" eaLnBrk="0" hangingPunct="0">
                <a:spcBef>
                  <a:spcPct val="20000"/>
                </a:spcBef>
                <a:buFont typeface="Arial" charset="0"/>
                <a:buChar char="»"/>
                <a:defRPr sz="2000">
                  <a:solidFill>
                    <a:schemeClr val="tx1"/>
                  </a:solidFill>
                  <a:latin typeface="Calibri" pitchFamily="34" charset="0"/>
                </a:defRPr>
              </a:lvl5pPr>
              <a:lvl6pPr marL="25146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000">
                  <a:latin typeface="Arial" charset="0"/>
                  <a:cs typeface="Arial" charset="0"/>
                </a:rPr>
                <a:t>North Carolina</a:t>
              </a:r>
            </a:p>
          </p:txBody>
        </p:sp>
        <p:pic>
          <p:nvPicPr>
            <p:cNvPr id="9309" name="Picture 186" descr="duke_logo"/>
            <p:cNvPicPr>
              <a:picLocks noChangeAspect="1" noChangeArrowheads="1"/>
            </p:cNvPicPr>
            <p:nvPr>
              <p:custDataLst>
                <p:tags r:id="rId89"/>
              </p:custDataLst>
            </p:nvPr>
          </p:nvPicPr>
          <p:blipFill>
            <a:blip r:embed="rId94" cstate="print">
              <a:extLst>
                <a:ext uri="{28A0092B-C50C-407E-A947-70E740481C1C}">
                  <a14:useLocalDpi xmlns:a14="http://schemas.microsoft.com/office/drawing/2010/main" val="0"/>
                </a:ext>
              </a:extLst>
            </a:blip>
            <a:srcRect b="11833"/>
            <a:stretch>
              <a:fillRect/>
            </a:stretch>
          </p:blipFill>
          <p:spPr bwMode="gray">
            <a:xfrm>
              <a:off x="3515" y="2835"/>
              <a:ext cx="326" cy="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228" name="Group 187"/>
          <p:cNvGrpSpPr>
            <a:grpSpLocks/>
          </p:cNvGrpSpPr>
          <p:nvPr>
            <p:custDataLst>
              <p:tags r:id="rId11"/>
            </p:custDataLst>
          </p:nvPr>
        </p:nvGrpSpPr>
        <p:grpSpPr bwMode="auto">
          <a:xfrm>
            <a:off x="2330450" y="1401763"/>
            <a:ext cx="1458913" cy="773112"/>
            <a:chOff x="2155" y="1505"/>
            <a:chExt cx="965" cy="487"/>
          </a:xfrm>
        </p:grpSpPr>
        <p:sp>
          <p:nvSpPr>
            <p:cNvPr id="9305" name="AutoShape 188"/>
            <p:cNvSpPr>
              <a:spLocks noChangeArrowheads="1"/>
            </p:cNvSpPr>
            <p:nvPr>
              <p:custDataLst>
                <p:tags r:id="rId85"/>
              </p:custDataLst>
            </p:nvPr>
          </p:nvSpPr>
          <p:spPr bwMode="auto">
            <a:xfrm>
              <a:off x="2155" y="1505"/>
              <a:ext cx="965" cy="487"/>
            </a:xfrm>
            <a:prstGeom prst="roundRect">
              <a:avLst>
                <a:gd name="adj" fmla="val 16667"/>
              </a:avLst>
            </a:prstGeom>
            <a:solidFill>
              <a:schemeClr val="bg1"/>
            </a:solidFill>
            <a:ln w="9525" algn="ctr">
              <a:solidFill>
                <a:srgbClr val="C0C0C0"/>
              </a:solidFill>
              <a:round/>
              <a:headEnd/>
              <a:tailEnd type="none" w="lg" len="lg"/>
            </a:ln>
          </p:spPr>
          <p:txBody>
            <a:bodyPr lIns="0" tIns="0" rIns="0" bIns="0"/>
            <a:lstStyle>
              <a:lvl1pPr defTabSz="912813" eaLnBrk="0" hangingPunct="0">
                <a:spcBef>
                  <a:spcPct val="20000"/>
                </a:spcBef>
                <a:buFont typeface="Arial" charset="0"/>
                <a:buChar char="•"/>
                <a:defRPr sz="3200">
                  <a:solidFill>
                    <a:schemeClr val="tx1"/>
                  </a:solidFill>
                  <a:latin typeface="Calibri" pitchFamily="34" charset="0"/>
                </a:defRPr>
              </a:lvl1pPr>
              <a:lvl2pPr marL="742950" indent="-285750" defTabSz="912813" eaLnBrk="0" hangingPunct="0">
                <a:spcBef>
                  <a:spcPct val="20000"/>
                </a:spcBef>
                <a:buFont typeface="Arial" charset="0"/>
                <a:buChar char="–"/>
                <a:defRPr sz="2800">
                  <a:solidFill>
                    <a:schemeClr val="tx1"/>
                  </a:solidFill>
                  <a:latin typeface="Calibri" pitchFamily="34" charset="0"/>
                </a:defRPr>
              </a:lvl2pPr>
              <a:lvl3pPr marL="1143000" indent="-228600" defTabSz="912813" eaLnBrk="0" hangingPunct="0">
                <a:spcBef>
                  <a:spcPct val="20000"/>
                </a:spcBef>
                <a:buFont typeface="Arial" charset="0"/>
                <a:buChar char="•"/>
                <a:defRPr sz="2400">
                  <a:solidFill>
                    <a:schemeClr val="tx1"/>
                  </a:solidFill>
                  <a:latin typeface="Calibri" pitchFamily="34" charset="0"/>
                </a:defRPr>
              </a:lvl3pPr>
              <a:lvl4pPr marL="1600200" indent="-228600" defTabSz="912813" eaLnBrk="0" hangingPunct="0">
                <a:spcBef>
                  <a:spcPct val="20000"/>
                </a:spcBef>
                <a:buFont typeface="Arial" charset="0"/>
                <a:buChar char="–"/>
                <a:defRPr sz="2000">
                  <a:solidFill>
                    <a:schemeClr val="tx1"/>
                  </a:solidFill>
                  <a:latin typeface="Calibri" pitchFamily="34" charset="0"/>
                </a:defRPr>
              </a:lvl4pPr>
              <a:lvl5pPr marL="2057400" indent="-228600" defTabSz="912813" eaLnBrk="0" hangingPunct="0">
                <a:spcBef>
                  <a:spcPct val="20000"/>
                </a:spcBef>
                <a:buFont typeface="Arial" charset="0"/>
                <a:buChar char="»"/>
                <a:defRPr sz="2000">
                  <a:solidFill>
                    <a:schemeClr val="tx1"/>
                  </a:solidFill>
                  <a:latin typeface="Calibri" pitchFamily="34" charset="0"/>
                </a:defRPr>
              </a:lvl5pPr>
              <a:lvl6pPr marL="25146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000">
                  <a:latin typeface="Arial" charset="0"/>
                  <a:cs typeface="Arial" charset="0"/>
                </a:rPr>
                <a:t>New York</a:t>
              </a:r>
            </a:p>
          </p:txBody>
        </p:sp>
        <p:pic>
          <p:nvPicPr>
            <p:cNvPr id="9306" name="Picture 189" descr="Columbia University in the City of New York">
              <a:hlinkClick r:id="rId95"/>
            </p:cNvPr>
            <p:cNvPicPr>
              <a:picLocks noChangeAspect="1" noChangeArrowheads="1"/>
            </p:cNvPicPr>
            <p:nvPr>
              <p:custDataLst>
                <p:tags r:id="rId86"/>
              </p:custDataLst>
            </p:nvPr>
          </p:nvPicPr>
          <p:blipFill>
            <a:blip r:embed="rId96" cstate="print">
              <a:extLst>
                <a:ext uri="{28A0092B-C50C-407E-A947-70E740481C1C}">
                  <a14:useLocalDpi xmlns:a14="http://schemas.microsoft.com/office/drawing/2010/main" val="0"/>
                </a:ext>
              </a:extLst>
            </a:blip>
            <a:srcRect/>
            <a:stretch>
              <a:fillRect/>
            </a:stretch>
          </p:blipFill>
          <p:spPr bwMode="gray">
            <a:xfrm>
              <a:off x="2224" y="1654"/>
              <a:ext cx="800" cy="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07" name="Picture 190" descr="Memorial Sloan-Kettering Cancer Center">
              <a:hlinkClick r:id="rId97"/>
            </p:cNvPr>
            <p:cNvPicPr>
              <a:picLocks noChangeAspect="1" noChangeArrowheads="1"/>
            </p:cNvPicPr>
            <p:nvPr>
              <p:custDataLst>
                <p:tags r:id="rId87"/>
              </p:custDataLst>
            </p:nvPr>
          </p:nvPicPr>
          <p:blipFill>
            <a:blip r:embed="rId98" cstate="print">
              <a:extLst>
                <a:ext uri="{28A0092B-C50C-407E-A947-70E740481C1C}">
                  <a14:useLocalDpi xmlns:a14="http://schemas.microsoft.com/office/drawing/2010/main" val="0"/>
                </a:ext>
              </a:extLst>
            </a:blip>
            <a:srcRect l="3600" t="2632" r="3532" b="5263"/>
            <a:stretch>
              <a:fillRect/>
            </a:stretch>
          </p:blipFill>
          <p:spPr bwMode="gray">
            <a:xfrm>
              <a:off x="2391" y="1809"/>
              <a:ext cx="466" cy="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9229" name="AutoShape 191"/>
          <p:cNvCxnSpPr>
            <a:cxnSpLocks noChangeShapeType="1"/>
            <a:endCxn id="9223" idx="6"/>
          </p:cNvCxnSpPr>
          <p:nvPr>
            <p:custDataLst>
              <p:tags r:id="rId12"/>
            </p:custDataLst>
          </p:nvPr>
        </p:nvCxnSpPr>
        <p:spPr bwMode="gray">
          <a:xfrm rot="10800000">
            <a:off x="2538413" y="3219450"/>
            <a:ext cx="674687" cy="261938"/>
          </a:xfrm>
          <a:prstGeom prst="bentConnector3">
            <a:avLst>
              <a:gd name="adj1" fmla="val 49884"/>
            </a:avLst>
          </a:prstGeom>
          <a:noFill/>
          <a:ln w="9525">
            <a:solidFill>
              <a:schemeClr val="tx1"/>
            </a:solidFill>
            <a:miter lim="800000"/>
            <a:headEnd type="none" w="lg" len="lg"/>
            <a:tailEnd type="none" w="lg" len="lg"/>
          </a:ln>
          <a:extLst>
            <a:ext uri="{909E8E84-426E-40dd-AFC4-6F175D3DCCD1}">
              <a14:hiddenFill xmlns:a14="http://schemas.microsoft.com/office/drawing/2010/main">
                <a:noFill/>
              </a14:hiddenFill>
            </a:ext>
          </a:extLst>
        </p:spPr>
      </p:cxnSp>
      <p:cxnSp>
        <p:nvCxnSpPr>
          <p:cNvPr id="9230" name="AutoShape 192"/>
          <p:cNvCxnSpPr>
            <a:cxnSpLocks noChangeShapeType="1"/>
            <a:stCxn id="9301" idx="2"/>
            <a:endCxn id="9221" idx="2"/>
          </p:cNvCxnSpPr>
          <p:nvPr>
            <p:custDataLst>
              <p:tags r:id="rId13"/>
            </p:custDataLst>
          </p:nvPr>
        </p:nvCxnSpPr>
        <p:spPr bwMode="gray">
          <a:xfrm rot="16200000" flipH="1">
            <a:off x="505619" y="2066131"/>
            <a:ext cx="1206500" cy="420688"/>
          </a:xfrm>
          <a:prstGeom prst="bentConnector2">
            <a:avLst/>
          </a:prstGeom>
          <a:noFill/>
          <a:ln w="9525">
            <a:solidFill>
              <a:schemeClr val="tx1"/>
            </a:solidFill>
            <a:miter lim="800000"/>
            <a:headEnd type="none" w="lg" len="lg"/>
            <a:tailEnd type="none" w="lg" len="lg"/>
          </a:ln>
          <a:extLst>
            <a:ext uri="{909E8E84-426E-40dd-AFC4-6F175D3DCCD1}">
              <a14:hiddenFill xmlns:a14="http://schemas.microsoft.com/office/drawing/2010/main">
                <a:noFill/>
              </a14:hiddenFill>
            </a:ext>
          </a:extLst>
        </p:spPr>
      </p:cxnSp>
      <p:cxnSp>
        <p:nvCxnSpPr>
          <p:cNvPr id="9231" name="AutoShape 193"/>
          <p:cNvCxnSpPr>
            <a:cxnSpLocks noChangeShapeType="1"/>
          </p:cNvCxnSpPr>
          <p:nvPr>
            <p:custDataLst>
              <p:tags r:id="rId14"/>
            </p:custDataLst>
          </p:nvPr>
        </p:nvCxnSpPr>
        <p:spPr bwMode="gray">
          <a:xfrm rot="-5400000">
            <a:off x="1189832" y="3372644"/>
            <a:ext cx="279400" cy="306387"/>
          </a:xfrm>
          <a:prstGeom prst="bentConnector2">
            <a:avLst/>
          </a:prstGeom>
          <a:noFill/>
          <a:ln w="9525">
            <a:solidFill>
              <a:schemeClr val="tx1"/>
            </a:solidFill>
            <a:miter lim="800000"/>
            <a:headEnd type="none" w="lg" len="lg"/>
            <a:tailEnd type="none" w="lg" len="lg"/>
          </a:ln>
          <a:extLst>
            <a:ext uri="{909E8E84-426E-40dd-AFC4-6F175D3DCCD1}">
              <a14:hiddenFill xmlns:a14="http://schemas.microsoft.com/office/drawing/2010/main">
                <a:noFill/>
              </a14:hiddenFill>
            </a:ext>
          </a:extLst>
        </p:spPr>
      </p:cxnSp>
      <p:sp>
        <p:nvSpPr>
          <p:cNvPr id="9232" name="AutoShape 194"/>
          <p:cNvSpPr>
            <a:spLocks noChangeArrowheads="1"/>
          </p:cNvSpPr>
          <p:nvPr>
            <p:custDataLst>
              <p:tags r:id="rId15"/>
            </p:custDataLst>
          </p:nvPr>
        </p:nvSpPr>
        <p:spPr bwMode="auto">
          <a:xfrm>
            <a:off x="3076575" y="2354263"/>
            <a:ext cx="1325563" cy="2535237"/>
          </a:xfrm>
          <a:prstGeom prst="roundRect">
            <a:avLst>
              <a:gd name="adj" fmla="val 16667"/>
            </a:avLst>
          </a:prstGeom>
          <a:solidFill>
            <a:schemeClr val="bg1"/>
          </a:solidFill>
          <a:ln w="9525" algn="ctr">
            <a:solidFill>
              <a:srgbClr val="C0C0C0"/>
            </a:solidFill>
            <a:round/>
            <a:headEnd/>
            <a:tailEnd type="none" w="lg" len="lg"/>
          </a:ln>
        </p:spPr>
        <p:txBody>
          <a:bodyPr lIns="0" tIns="0" rIns="0" bIns="0"/>
          <a:lstStyle>
            <a:lvl1pPr defTabSz="912813" eaLnBrk="0" hangingPunct="0">
              <a:spcBef>
                <a:spcPct val="20000"/>
              </a:spcBef>
              <a:buFont typeface="Arial" charset="0"/>
              <a:buChar char="•"/>
              <a:defRPr sz="3200">
                <a:solidFill>
                  <a:schemeClr val="tx1"/>
                </a:solidFill>
                <a:latin typeface="Calibri" pitchFamily="34" charset="0"/>
              </a:defRPr>
            </a:lvl1pPr>
            <a:lvl2pPr marL="742950" indent="-285750" defTabSz="912813" eaLnBrk="0" hangingPunct="0">
              <a:spcBef>
                <a:spcPct val="20000"/>
              </a:spcBef>
              <a:buFont typeface="Arial" charset="0"/>
              <a:buChar char="–"/>
              <a:defRPr sz="2800">
                <a:solidFill>
                  <a:schemeClr val="tx1"/>
                </a:solidFill>
                <a:latin typeface="Calibri" pitchFamily="34" charset="0"/>
              </a:defRPr>
            </a:lvl2pPr>
            <a:lvl3pPr marL="1143000" indent="-228600" defTabSz="912813" eaLnBrk="0" hangingPunct="0">
              <a:spcBef>
                <a:spcPct val="20000"/>
              </a:spcBef>
              <a:buFont typeface="Arial" charset="0"/>
              <a:buChar char="•"/>
              <a:defRPr sz="2400">
                <a:solidFill>
                  <a:schemeClr val="tx1"/>
                </a:solidFill>
                <a:latin typeface="Calibri" pitchFamily="34" charset="0"/>
              </a:defRPr>
            </a:lvl3pPr>
            <a:lvl4pPr marL="1600200" indent="-228600" defTabSz="912813" eaLnBrk="0" hangingPunct="0">
              <a:spcBef>
                <a:spcPct val="20000"/>
              </a:spcBef>
              <a:buFont typeface="Arial" charset="0"/>
              <a:buChar char="–"/>
              <a:defRPr sz="2000">
                <a:solidFill>
                  <a:schemeClr val="tx1"/>
                </a:solidFill>
                <a:latin typeface="Calibri" pitchFamily="34" charset="0"/>
              </a:defRPr>
            </a:lvl4pPr>
            <a:lvl5pPr marL="2057400" indent="-228600" defTabSz="912813" eaLnBrk="0" hangingPunct="0">
              <a:spcBef>
                <a:spcPct val="20000"/>
              </a:spcBef>
              <a:buFont typeface="Arial" charset="0"/>
              <a:buChar char="»"/>
              <a:defRPr sz="2000">
                <a:solidFill>
                  <a:schemeClr val="tx1"/>
                </a:solidFill>
                <a:latin typeface="Calibri" pitchFamily="34" charset="0"/>
              </a:defRPr>
            </a:lvl5pPr>
            <a:lvl6pPr marL="25146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000">
                <a:latin typeface="Arial" charset="0"/>
                <a:cs typeface="Arial" charset="0"/>
              </a:rPr>
              <a:t>Massachusetts</a:t>
            </a:r>
          </a:p>
        </p:txBody>
      </p:sp>
      <p:pic>
        <p:nvPicPr>
          <p:cNvPr id="9233" name="Picture 195" descr="Dana-Farber Cancer Institute Logo">
            <a:hlinkClick r:id="rId99"/>
          </p:cNvPr>
          <p:cNvPicPr>
            <a:picLocks noChangeAspect="1" noChangeArrowheads="1"/>
          </p:cNvPicPr>
          <p:nvPr>
            <p:custDataLst>
              <p:tags r:id="rId16"/>
            </p:custDataLst>
          </p:nvPr>
        </p:nvPicPr>
        <p:blipFill>
          <a:blip r:embed="rId100">
            <a:extLst>
              <a:ext uri="{28A0092B-C50C-407E-A947-70E740481C1C}">
                <a14:useLocalDpi xmlns:a14="http://schemas.microsoft.com/office/drawing/2010/main" val="0"/>
              </a:ext>
            </a:extLst>
          </a:blip>
          <a:srcRect/>
          <a:stretch>
            <a:fillRect/>
          </a:stretch>
        </p:blipFill>
        <p:spPr bwMode="gray">
          <a:xfrm>
            <a:off x="3238500" y="3833813"/>
            <a:ext cx="917575"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34" name="Picture 196" descr="Brigham and Women's Hospital: A Teaching Affiliate of Harvard Medical School">
            <a:hlinkClick r:id="rId101"/>
          </p:cNvPr>
          <p:cNvPicPr>
            <a:picLocks noChangeAspect="1" noChangeArrowheads="1"/>
          </p:cNvPicPr>
          <p:nvPr>
            <p:custDataLst>
              <p:tags r:id="rId17"/>
            </p:custDataLst>
          </p:nvPr>
        </p:nvPicPr>
        <p:blipFill>
          <a:blip r:embed="rId102" cstate="print">
            <a:extLst>
              <a:ext uri="{28A0092B-C50C-407E-A947-70E740481C1C}">
                <a14:useLocalDpi xmlns:a14="http://schemas.microsoft.com/office/drawing/2010/main" val="0"/>
              </a:ext>
            </a:extLst>
          </a:blip>
          <a:srcRect/>
          <a:stretch>
            <a:fillRect/>
          </a:stretch>
        </p:blipFill>
        <p:spPr bwMode="gray">
          <a:xfrm>
            <a:off x="3095625" y="3538538"/>
            <a:ext cx="1270000"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35" name="Picture 197" descr="harvard_logo"/>
          <p:cNvPicPr>
            <a:picLocks noChangeAspect="1" noChangeArrowheads="1"/>
          </p:cNvPicPr>
          <p:nvPr>
            <p:custDataLst>
              <p:tags r:id="rId18"/>
            </p:custDataLst>
          </p:nvPr>
        </p:nvPicPr>
        <p:blipFill>
          <a:blip r:embed="rId103">
            <a:extLst>
              <a:ext uri="{28A0092B-C50C-407E-A947-70E740481C1C}">
                <a14:useLocalDpi xmlns:a14="http://schemas.microsoft.com/office/drawing/2010/main" val="0"/>
              </a:ext>
            </a:extLst>
          </a:blip>
          <a:srcRect l="1500" t="4791" r="6500" b="5208"/>
          <a:stretch>
            <a:fillRect/>
          </a:stretch>
        </p:blipFill>
        <p:spPr bwMode="gray">
          <a:xfrm>
            <a:off x="3316288" y="3114675"/>
            <a:ext cx="7937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236" name="Group 198"/>
          <p:cNvGrpSpPr>
            <a:grpSpLocks/>
          </p:cNvGrpSpPr>
          <p:nvPr>
            <p:custDataLst>
              <p:tags r:id="rId19"/>
            </p:custDataLst>
          </p:nvPr>
        </p:nvGrpSpPr>
        <p:grpSpPr bwMode="auto">
          <a:xfrm>
            <a:off x="3270250" y="2644775"/>
            <a:ext cx="963613" cy="450850"/>
            <a:chOff x="5052" y="1108"/>
            <a:chExt cx="637" cy="284"/>
          </a:xfrm>
        </p:grpSpPr>
        <p:pic>
          <p:nvPicPr>
            <p:cNvPr id="9303" name="Picture 199" descr="mghlogo"/>
            <p:cNvPicPr>
              <a:picLocks noChangeAspect="1" noChangeArrowheads="1"/>
            </p:cNvPicPr>
            <p:nvPr>
              <p:custDataLst>
                <p:tags r:id="rId83"/>
              </p:custDataLst>
            </p:nvPr>
          </p:nvPicPr>
          <p:blipFill>
            <a:blip r:embed="rId104" cstate="print">
              <a:extLst>
                <a:ext uri="{28A0092B-C50C-407E-A947-70E740481C1C}">
                  <a14:useLocalDpi xmlns:a14="http://schemas.microsoft.com/office/drawing/2010/main" val="0"/>
                </a:ext>
              </a:extLst>
            </a:blip>
            <a:srcRect/>
            <a:stretch>
              <a:fillRect/>
            </a:stretch>
          </p:blipFill>
          <p:spPr bwMode="gray">
            <a:xfrm>
              <a:off x="5446" y="1108"/>
              <a:ext cx="243" cy="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04" name="Picture 200"/>
            <p:cNvPicPr>
              <a:picLocks noChangeAspect="1" noChangeArrowheads="1"/>
            </p:cNvPicPr>
            <p:nvPr>
              <p:custDataLst>
                <p:tags r:id="rId84"/>
              </p:custDataLst>
            </p:nvPr>
          </p:nvPicPr>
          <p:blipFill>
            <a:blip r:embed="rId105">
              <a:extLst>
                <a:ext uri="{28A0092B-C50C-407E-A947-70E740481C1C}">
                  <a14:useLocalDpi xmlns:a14="http://schemas.microsoft.com/office/drawing/2010/main" val="0"/>
                </a:ext>
              </a:extLst>
            </a:blip>
            <a:srcRect l="-7501" t="-14993" b="-14993"/>
            <a:stretch>
              <a:fillRect/>
            </a:stretch>
          </p:blipFill>
          <p:spPr bwMode="gray">
            <a:xfrm>
              <a:off x="5052" y="1184"/>
              <a:ext cx="227" cy="13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grpSp>
      <p:pic>
        <p:nvPicPr>
          <p:cNvPr id="9237" name="Picture 201" descr="mersana"/>
          <p:cNvPicPr>
            <a:picLocks noChangeAspect="1" noChangeArrowheads="1"/>
          </p:cNvPicPr>
          <p:nvPr>
            <p:custDataLst>
              <p:tags r:id="rId20"/>
            </p:custDataLst>
          </p:nvPr>
        </p:nvPicPr>
        <p:blipFill>
          <a:blip r:embed="rId106">
            <a:extLst>
              <a:ext uri="{28A0092B-C50C-407E-A947-70E740481C1C}">
                <a14:useLocalDpi xmlns:a14="http://schemas.microsoft.com/office/drawing/2010/main" val="0"/>
              </a:ext>
            </a:extLst>
          </a:blip>
          <a:srcRect/>
          <a:stretch>
            <a:fillRect/>
          </a:stretch>
        </p:blipFill>
        <p:spPr bwMode="auto">
          <a:xfrm>
            <a:off x="3149600" y="4592638"/>
            <a:ext cx="536575"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38" name="Picture 202" descr="raindance"/>
          <p:cNvPicPr>
            <a:picLocks noChangeAspect="1" noChangeArrowheads="1"/>
          </p:cNvPicPr>
          <p:nvPr>
            <p:custDataLst>
              <p:tags r:id="rId21"/>
            </p:custDataLst>
          </p:nvPr>
        </p:nvPicPr>
        <p:blipFill>
          <a:blip r:embed="rId107" cstate="print">
            <a:extLst>
              <a:ext uri="{28A0092B-C50C-407E-A947-70E740481C1C}">
                <a14:useLocalDpi xmlns:a14="http://schemas.microsoft.com/office/drawing/2010/main" val="0"/>
              </a:ext>
            </a:extLst>
          </a:blip>
          <a:srcRect/>
          <a:stretch>
            <a:fillRect/>
          </a:stretch>
        </p:blipFill>
        <p:spPr bwMode="auto">
          <a:xfrm>
            <a:off x="3314700" y="4225925"/>
            <a:ext cx="7445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239" name="Group 203"/>
          <p:cNvGrpSpPr>
            <a:grpSpLocks/>
          </p:cNvGrpSpPr>
          <p:nvPr>
            <p:custDataLst>
              <p:tags r:id="rId22"/>
            </p:custDataLst>
          </p:nvPr>
        </p:nvGrpSpPr>
        <p:grpSpPr bwMode="auto">
          <a:xfrm>
            <a:off x="179388" y="1122363"/>
            <a:ext cx="1436687" cy="550862"/>
            <a:chOff x="175" y="1195"/>
            <a:chExt cx="950" cy="347"/>
          </a:xfrm>
        </p:grpSpPr>
        <p:sp>
          <p:nvSpPr>
            <p:cNvPr id="9301" name="AutoShape 204"/>
            <p:cNvSpPr>
              <a:spLocks noChangeArrowheads="1"/>
            </p:cNvSpPr>
            <p:nvPr>
              <p:custDataLst>
                <p:tags r:id="rId81"/>
              </p:custDataLst>
            </p:nvPr>
          </p:nvSpPr>
          <p:spPr bwMode="auto">
            <a:xfrm>
              <a:off x="175" y="1195"/>
              <a:ext cx="950" cy="347"/>
            </a:xfrm>
            <a:prstGeom prst="roundRect">
              <a:avLst>
                <a:gd name="adj" fmla="val 16667"/>
              </a:avLst>
            </a:prstGeom>
            <a:solidFill>
              <a:schemeClr val="bg1"/>
            </a:solidFill>
            <a:ln w="9525" algn="ctr">
              <a:solidFill>
                <a:srgbClr val="C0C0C0"/>
              </a:solidFill>
              <a:round/>
              <a:headEnd/>
              <a:tailEnd type="none" w="lg" len="lg"/>
            </a:ln>
          </p:spPr>
          <p:txBody>
            <a:bodyPr lIns="0" tIns="0" rIns="0" bIns="0"/>
            <a:lstStyle>
              <a:lvl1pPr defTabSz="912813" eaLnBrk="0" hangingPunct="0">
                <a:spcBef>
                  <a:spcPct val="20000"/>
                </a:spcBef>
                <a:buFont typeface="Arial" charset="0"/>
                <a:buChar char="•"/>
                <a:defRPr sz="3200">
                  <a:solidFill>
                    <a:schemeClr val="tx1"/>
                  </a:solidFill>
                  <a:latin typeface="Calibri" pitchFamily="34" charset="0"/>
                </a:defRPr>
              </a:lvl1pPr>
              <a:lvl2pPr marL="742950" indent="-285750" defTabSz="912813" eaLnBrk="0" hangingPunct="0">
                <a:spcBef>
                  <a:spcPct val="20000"/>
                </a:spcBef>
                <a:buFont typeface="Arial" charset="0"/>
                <a:buChar char="–"/>
                <a:defRPr sz="2800">
                  <a:solidFill>
                    <a:schemeClr val="tx1"/>
                  </a:solidFill>
                  <a:latin typeface="Calibri" pitchFamily="34" charset="0"/>
                </a:defRPr>
              </a:lvl2pPr>
              <a:lvl3pPr marL="1143000" indent="-228600" defTabSz="912813" eaLnBrk="0" hangingPunct="0">
                <a:spcBef>
                  <a:spcPct val="20000"/>
                </a:spcBef>
                <a:buFont typeface="Arial" charset="0"/>
                <a:buChar char="•"/>
                <a:defRPr sz="2400">
                  <a:solidFill>
                    <a:schemeClr val="tx1"/>
                  </a:solidFill>
                  <a:latin typeface="Calibri" pitchFamily="34" charset="0"/>
                </a:defRPr>
              </a:lvl3pPr>
              <a:lvl4pPr marL="1600200" indent="-228600" defTabSz="912813" eaLnBrk="0" hangingPunct="0">
                <a:spcBef>
                  <a:spcPct val="20000"/>
                </a:spcBef>
                <a:buFont typeface="Arial" charset="0"/>
                <a:buChar char="–"/>
                <a:defRPr sz="2000">
                  <a:solidFill>
                    <a:schemeClr val="tx1"/>
                  </a:solidFill>
                  <a:latin typeface="Calibri" pitchFamily="34" charset="0"/>
                </a:defRPr>
              </a:lvl4pPr>
              <a:lvl5pPr marL="2057400" indent="-228600" defTabSz="912813" eaLnBrk="0" hangingPunct="0">
                <a:spcBef>
                  <a:spcPct val="20000"/>
                </a:spcBef>
                <a:buFont typeface="Arial" charset="0"/>
                <a:buChar char="»"/>
                <a:defRPr sz="2000">
                  <a:solidFill>
                    <a:schemeClr val="tx1"/>
                  </a:solidFill>
                  <a:latin typeface="Calibri" pitchFamily="34" charset="0"/>
                </a:defRPr>
              </a:lvl5pPr>
              <a:lvl6pPr marL="25146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000">
                  <a:latin typeface="Arial" charset="0"/>
                  <a:cs typeface="Arial" charset="0"/>
                </a:rPr>
                <a:t>Washington</a:t>
              </a:r>
            </a:p>
            <a:p>
              <a:pPr eaLnBrk="1" hangingPunct="1">
                <a:spcBef>
                  <a:spcPct val="0"/>
                </a:spcBef>
                <a:buFontTx/>
                <a:buNone/>
              </a:pPr>
              <a:endParaRPr lang="en-US" altLang="en-US" sz="1000">
                <a:latin typeface="Arial" charset="0"/>
                <a:cs typeface="Arial" charset="0"/>
              </a:endParaRPr>
            </a:p>
          </p:txBody>
        </p:sp>
        <p:pic>
          <p:nvPicPr>
            <p:cNvPr id="9302" name="Picture 205" descr="Trubion"/>
            <p:cNvPicPr>
              <a:picLocks noChangeAspect="1" noChangeArrowheads="1"/>
            </p:cNvPicPr>
            <p:nvPr>
              <p:custDataLst>
                <p:tags r:id="rId82"/>
              </p:custDataLst>
            </p:nvPr>
          </p:nvPicPr>
          <p:blipFill>
            <a:blip r:embed="rId108">
              <a:extLst>
                <a:ext uri="{28A0092B-C50C-407E-A947-70E740481C1C}">
                  <a14:useLocalDpi xmlns:a14="http://schemas.microsoft.com/office/drawing/2010/main" val="0"/>
                </a:ext>
              </a:extLst>
            </a:blip>
            <a:srcRect/>
            <a:stretch>
              <a:fillRect/>
            </a:stretch>
          </p:blipFill>
          <p:spPr bwMode="auto">
            <a:xfrm>
              <a:off x="285" y="1328"/>
              <a:ext cx="712"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240" name="Oval 206"/>
          <p:cNvSpPr>
            <a:spLocks noChangeArrowheads="1"/>
          </p:cNvSpPr>
          <p:nvPr>
            <p:custDataLst>
              <p:tags r:id="rId23"/>
            </p:custDataLst>
          </p:nvPr>
        </p:nvSpPr>
        <p:spPr bwMode="auto">
          <a:xfrm>
            <a:off x="2365375" y="3363913"/>
            <a:ext cx="73025" cy="63500"/>
          </a:xfrm>
          <a:prstGeom prst="ellipse">
            <a:avLst/>
          </a:prstGeom>
          <a:solidFill>
            <a:schemeClr val="tx1"/>
          </a:solidFill>
          <a:ln w="9525">
            <a:solidFill>
              <a:schemeClr val="tx1"/>
            </a:solidFill>
            <a:round/>
            <a:headEnd/>
            <a:tailEnd/>
          </a:ln>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endParaRPr lang="de-CH" altLang="en-US" sz="1400">
              <a:latin typeface="Arial" charset="0"/>
              <a:cs typeface="Arial" charset="0"/>
            </a:endParaRPr>
          </a:p>
        </p:txBody>
      </p:sp>
      <p:sp>
        <p:nvSpPr>
          <p:cNvPr id="9241" name="Oval 207"/>
          <p:cNvSpPr>
            <a:spLocks noChangeArrowheads="1"/>
          </p:cNvSpPr>
          <p:nvPr>
            <p:custDataLst>
              <p:tags r:id="rId24"/>
            </p:custDataLst>
          </p:nvPr>
        </p:nvSpPr>
        <p:spPr bwMode="auto">
          <a:xfrm>
            <a:off x="2393950" y="3216275"/>
            <a:ext cx="69850" cy="63500"/>
          </a:xfrm>
          <a:prstGeom prst="ellipse">
            <a:avLst/>
          </a:prstGeom>
          <a:solidFill>
            <a:schemeClr val="tx1"/>
          </a:solidFill>
          <a:ln w="9525">
            <a:solidFill>
              <a:schemeClr val="tx1"/>
            </a:solidFill>
            <a:round/>
            <a:headEnd/>
            <a:tailEnd/>
          </a:ln>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endParaRPr lang="de-CH" altLang="en-US" sz="1400">
              <a:latin typeface="Arial" charset="0"/>
              <a:cs typeface="Arial" charset="0"/>
            </a:endParaRPr>
          </a:p>
        </p:txBody>
      </p:sp>
      <p:grpSp>
        <p:nvGrpSpPr>
          <p:cNvPr id="9242" name="Group 208"/>
          <p:cNvGrpSpPr>
            <a:grpSpLocks/>
          </p:cNvGrpSpPr>
          <p:nvPr>
            <p:custDataLst>
              <p:tags r:id="rId25"/>
            </p:custDataLst>
          </p:nvPr>
        </p:nvGrpSpPr>
        <p:grpSpPr bwMode="auto">
          <a:xfrm>
            <a:off x="250825" y="3571875"/>
            <a:ext cx="1617663" cy="3052763"/>
            <a:chOff x="150" y="1858"/>
            <a:chExt cx="1070" cy="2053"/>
          </a:xfrm>
        </p:grpSpPr>
        <p:sp>
          <p:nvSpPr>
            <p:cNvPr id="9286" name="AutoShape 209"/>
            <p:cNvSpPr>
              <a:spLocks noChangeArrowheads="1"/>
            </p:cNvSpPr>
            <p:nvPr>
              <p:custDataLst>
                <p:tags r:id="rId66"/>
              </p:custDataLst>
            </p:nvPr>
          </p:nvSpPr>
          <p:spPr bwMode="auto">
            <a:xfrm>
              <a:off x="150" y="1858"/>
              <a:ext cx="1070" cy="2053"/>
            </a:xfrm>
            <a:prstGeom prst="roundRect">
              <a:avLst>
                <a:gd name="adj" fmla="val 16667"/>
              </a:avLst>
            </a:prstGeom>
            <a:solidFill>
              <a:schemeClr val="bg1"/>
            </a:solidFill>
            <a:ln w="9525" algn="ctr">
              <a:solidFill>
                <a:srgbClr val="C0C0C0"/>
              </a:solidFill>
              <a:round/>
              <a:headEnd/>
              <a:tailEnd type="none" w="lg" len="lg"/>
            </a:ln>
          </p:spPr>
          <p:txBody>
            <a:bodyPr lIns="0" tIns="0" rIns="0" bIns="0"/>
            <a:lstStyle>
              <a:lvl1pPr defTabSz="912813" eaLnBrk="0" hangingPunct="0">
                <a:spcBef>
                  <a:spcPct val="20000"/>
                </a:spcBef>
                <a:buFont typeface="Arial" charset="0"/>
                <a:buChar char="•"/>
                <a:defRPr sz="3200">
                  <a:solidFill>
                    <a:schemeClr val="tx1"/>
                  </a:solidFill>
                  <a:latin typeface="Calibri" pitchFamily="34" charset="0"/>
                </a:defRPr>
              </a:lvl1pPr>
              <a:lvl2pPr marL="742950" indent="-285750" defTabSz="912813" eaLnBrk="0" hangingPunct="0">
                <a:spcBef>
                  <a:spcPct val="20000"/>
                </a:spcBef>
                <a:buFont typeface="Arial" charset="0"/>
                <a:buChar char="–"/>
                <a:defRPr sz="2800">
                  <a:solidFill>
                    <a:schemeClr val="tx1"/>
                  </a:solidFill>
                  <a:latin typeface="Calibri" pitchFamily="34" charset="0"/>
                </a:defRPr>
              </a:lvl2pPr>
              <a:lvl3pPr marL="1143000" indent="-228600" defTabSz="912813" eaLnBrk="0" hangingPunct="0">
                <a:spcBef>
                  <a:spcPct val="20000"/>
                </a:spcBef>
                <a:buFont typeface="Arial" charset="0"/>
                <a:buChar char="•"/>
                <a:defRPr sz="2400">
                  <a:solidFill>
                    <a:schemeClr val="tx1"/>
                  </a:solidFill>
                  <a:latin typeface="Calibri" pitchFamily="34" charset="0"/>
                </a:defRPr>
              </a:lvl3pPr>
              <a:lvl4pPr marL="1600200" indent="-228600" defTabSz="912813" eaLnBrk="0" hangingPunct="0">
                <a:spcBef>
                  <a:spcPct val="20000"/>
                </a:spcBef>
                <a:buFont typeface="Arial" charset="0"/>
                <a:buChar char="–"/>
                <a:defRPr sz="2000">
                  <a:solidFill>
                    <a:schemeClr val="tx1"/>
                  </a:solidFill>
                  <a:latin typeface="Calibri" pitchFamily="34" charset="0"/>
                </a:defRPr>
              </a:lvl4pPr>
              <a:lvl5pPr marL="2057400" indent="-228600" defTabSz="912813" eaLnBrk="0" hangingPunct="0">
                <a:spcBef>
                  <a:spcPct val="20000"/>
                </a:spcBef>
                <a:buFont typeface="Arial" charset="0"/>
                <a:buChar char="»"/>
                <a:defRPr sz="2000">
                  <a:solidFill>
                    <a:schemeClr val="tx1"/>
                  </a:solidFill>
                  <a:latin typeface="Calibri" pitchFamily="34" charset="0"/>
                </a:defRPr>
              </a:lvl5pPr>
              <a:lvl6pPr marL="25146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000">
                  <a:latin typeface="Arial" charset="0"/>
                  <a:cs typeface="Arial" charset="0"/>
                </a:rPr>
                <a:t>California</a:t>
              </a:r>
            </a:p>
          </p:txBody>
        </p:sp>
        <p:pic>
          <p:nvPicPr>
            <p:cNvPr id="9287" name="Picture 210" descr="The Scripps Research Institute"/>
            <p:cNvPicPr>
              <a:picLocks noChangeAspect="1" noChangeArrowheads="1"/>
            </p:cNvPicPr>
            <p:nvPr>
              <p:custDataLst>
                <p:tags r:id="rId67"/>
              </p:custDataLst>
            </p:nvPr>
          </p:nvPicPr>
          <p:blipFill>
            <a:blip r:embed="rId109" cstate="print">
              <a:extLst>
                <a:ext uri="{28A0092B-C50C-407E-A947-70E740481C1C}">
                  <a14:useLocalDpi xmlns:a14="http://schemas.microsoft.com/office/drawing/2010/main" val="0"/>
                </a:ext>
              </a:extLst>
            </a:blip>
            <a:srcRect/>
            <a:stretch>
              <a:fillRect/>
            </a:stretch>
          </p:blipFill>
          <p:spPr bwMode="gray">
            <a:xfrm>
              <a:off x="282" y="3025"/>
              <a:ext cx="382" cy="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88" name="Picture 211" descr="UCSDa1"/>
            <p:cNvPicPr>
              <a:picLocks noChangeAspect="1" noChangeArrowheads="1"/>
            </p:cNvPicPr>
            <p:nvPr>
              <p:custDataLst>
                <p:tags r:id="rId68"/>
              </p:custDataLst>
            </p:nvPr>
          </p:nvPicPr>
          <p:blipFill>
            <a:blip r:embed="rId110">
              <a:extLst>
                <a:ext uri="{28A0092B-C50C-407E-A947-70E740481C1C}">
                  <a14:useLocalDpi xmlns:a14="http://schemas.microsoft.com/office/drawing/2010/main" val="0"/>
                </a:ext>
              </a:extLst>
            </a:blip>
            <a:srcRect/>
            <a:stretch>
              <a:fillRect/>
            </a:stretch>
          </p:blipFill>
          <p:spPr bwMode="gray">
            <a:xfrm>
              <a:off x="782" y="3051"/>
              <a:ext cx="321"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89" name="Picture 212" descr="Burnham Institute for Medical Research">
              <a:hlinkClick r:id="rId111"/>
            </p:cNvPr>
            <p:cNvPicPr>
              <a:picLocks noChangeAspect="1" noChangeArrowheads="1"/>
            </p:cNvPicPr>
            <p:nvPr>
              <p:custDataLst>
                <p:tags r:id="rId69"/>
              </p:custDataLst>
            </p:nvPr>
          </p:nvPicPr>
          <p:blipFill>
            <a:blip r:embed="rId112" cstate="print">
              <a:extLst>
                <a:ext uri="{28A0092B-C50C-407E-A947-70E740481C1C}">
                  <a14:useLocalDpi xmlns:a14="http://schemas.microsoft.com/office/drawing/2010/main" val="0"/>
                </a:ext>
              </a:extLst>
            </a:blip>
            <a:srcRect t="14436" r="13072" b="15617"/>
            <a:stretch>
              <a:fillRect/>
            </a:stretch>
          </p:blipFill>
          <p:spPr bwMode="gray">
            <a:xfrm>
              <a:off x="280" y="3323"/>
              <a:ext cx="831" cy="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90" name="Picture 213" descr="biosite"/>
            <p:cNvPicPr>
              <a:picLocks noChangeAspect="1" noChangeArrowheads="1"/>
            </p:cNvPicPr>
            <p:nvPr>
              <p:custDataLst>
                <p:tags r:id="rId70"/>
              </p:custDataLst>
            </p:nvPr>
          </p:nvPicPr>
          <p:blipFill>
            <a:blip r:embed="rId113">
              <a:extLst>
                <a:ext uri="{28A0092B-C50C-407E-A947-70E740481C1C}">
                  <a14:useLocalDpi xmlns:a14="http://schemas.microsoft.com/office/drawing/2010/main" val="0"/>
                </a:ext>
              </a:extLst>
            </a:blip>
            <a:srcRect/>
            <a:stretch>
              <a:fillRect/>
            </a:stretch>
          </p:blipFill>
          <p:spPr bwMode="auto">
            <a:xfrm>
              <a:off x="196" y="3576"/>
              <a:ext cx="483"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91" name="Picture 214" descr="fiveprime"/>
            <p:cNvPicPr>
              <a:picLocks noChangeAspect="1" noChangeArrowheads="1"/>
            </p:cNvPicPr>
            <p:nvPr>
              <p:custDataLst>
                <p:tags r:id="rId71"/>
              </p:custDataLst>
            </p:nvPr>
          </p:nvPicPr>
          <p:blipFill>
            <a:blip r:embed="rId114">
              <a:extLst>
                <a:ext uri="{28A0092B-C50C-407E-A947-70E740481C1C}">
                  <a14:useLocalDpi xmlns:a14="http://schemas.microsoft.com/office/drawing/2010/main" val="0"/>
                </a:ext>
              </a:extLst>
            </a:blip>
            <a:srcRect r="5217" b="56630"/>
            <a:stretch>
              <a:fillRect/>
            </a:stretch>
          </p:blipFill>
          <p:spPr bwMode="gray">
            <a:xfrm>
              <a:off x="643" y="2078"/>
              <a:ext cx="431"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92" name="Picture 215" descr="ucsf-logo"/>
            <p:cNvPicPr>
              <a:picLocks noChangeAspect="1" noChangeArrowheads="1"/>
            </p:cNvPicPr>
            <p:nvPr>
              <p:custDataLst>
                <p:tags r:id="rId72"/>
              </p:custDataLst>
            </p:nvPr>
          </p:nvPicPr>
          <p:blipFill>
            <a:blip r:embed="rId115">
              <a:extLst>
                <a:ext uri="{28A0092B-C50C-407E-A947-70E740481C1C}">
                  <a14:useLocalDpi xmlns:a14="http://schemas.microsoft.com/office/drawing/2010/main" val="0"/>
                </a:ext>
              </a:extLst>
            </a:blip>
            <a:srcRect/>
            <a:stretch>
              <a:fillRect/>
            </a:stretch>
          </p:blipFill>
          <p:spPr bwMode="gray">
            <a:xfrm>
              <a:off x="871" y="2483"/>
              <a:ext cx="327"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93" name="Picture 216" descr="stanford_logo%5B1%5D"/>
            <p:cNvPicPr>
              <a:picLocks noChangeAspect="1" noChangeArrowheads="1"/>
            </p:cNvPicPr>
            <p:nvPr>
              <p:custDataLst>
                <p:tags r:id="rId73"/>
              </p:custDataLst>
            </p:nvPr>
          </p:nvPicPr>
          <p:blipFill>
            <a:blip r:embed="rId116" cstate="print">
              <a:extLst>
                <a:ext uri="{28A0092B-C50C-407E-A947-70E740481C1C}">
                  <a14:useLocalDpi xmlns:a14="http://schemas.microsoft.com/office/drawing/2010/main" val="0"/>
                </a:ext>
              </a:extLst>
            </a:blip>
            <a:srcRect/>
            <a:stretch>
              <a:fillRect/>
            </a:stretch>
          </p:blipFill>
          <p:spPr bwMode="gray">
            <a:xfrm>
              <a:off x="181" y="2290"/>
              <a:ext cx="305" cy="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94" name="Picture 217" descr="UCBerkeley-text-logo"/>
            <p:cNvPicPr>
              <a:picLocks noChangeAspect="1" noChangeArrowheads="1"/>
            </p:cNvPicPr>
            <p:nvPr>
              <p:custDataLst>
                <p:tags r:id="rId74"/>
              </p:custDataLst>
            </p:nvPr>
          </p:nvPicPr>
          <p:blipFill>
            <a:blip r:embed="rId117">
              <a:extLst>
                <a:ext uri="{28A0092B-C50C-407E-A947-70E740481C1C}">
                  <a14:useLocalDpi xmlns:a14="http://schemas.microsoft.com/office/drawing/2010/main" val="0"/>
                </a:ext>
              </a:extLst>
            </a:blip>
            <a:srcRect/>
            <a:stretch>
              <a:fillRect/>
            </a:stretch>
          </p:blipFill>
          <p:spPr bwMode="gray">
            <a:xfrm>
              <a:off x="650" y="2263"/>
              <a:ext cx="388" cy="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95" name="Picture 218" descr="amunixlogo2_gd2y"/>
            <p:cNvPicPr>
              <a:picLocks noChangeAspect="1" noChangeArrowheads="1"/>
            </p:cNvPicPr>
            <p:nvPr>
              <p:custDataLst>
                <p:tags r:id="rId75"/>
              </p:custDataLst>
            </p:nvPr>
          </p:nvPicPr>
          <p:blipFill>
            <a:blip r:embed="rId118">
              <a:extLst>
                <a:ext uri="{28A0092B-C50C-407E-A947-70E740481C1C}">
                  <a14:useLocalDpi xmlns:a14="http://schemas.microsoft.com/office/drawing/2010/main" val="0"/>
                </a:ext>
              </a:extLst>
            </a:blip>
            <a:srcRect/>
            <a:stretch>
              <a:fillRect/>
            </a:stretch>
          </p:blipFill>
          <p:spPr bwMode="auto">
            <a:xfrm>
              <a:off x="204" y="2064"/>
              <a:ext cx="348"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96" name="Picture 219" descr="GNE_LH_Logo"/>
            <p:cNvPicPr>
              <a:picLocks noChangeAspect="1" noChangeArrowheads="1"/>
            </p:cNvPicPr>
            <p:nvPr>
              <p:custDataLst>
                <p:tags r:id="rId76"/>
              </p:custDataLst>
            </p:nvPr>
          </p:nvPicPr>
          <p:blipFill>
            <a:blip r:embed="rId119">
              <a:extLst>
                <a:ext uri="{28A0092B-C50C-407E-A947-70E740481C1C}">
                  <a14:useLocalDpi xmlns:a14="http://schemas.microsoft.com/office/drawing/2010/main" val="0"/>
                </a:ext>
              </a:extLst>
            </a:blip>
            <a:srcRect/>
            <a:stretch>
              <a:fillRect/>
            </a:stretch>
          </p:blipFill>
          <p:spPr bwMode="auto">
            <a:xfrm>
              <a:off x="471" y="2489"/>
              <a:ext cx="361"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97" name="Picture 220" descr="Medarex"/>
            <p:cNvPicPr>
              <a:picLocks noChangeAspect="1" noChangeArrowheads="1"/>
            </p:cNvPicPr>
            <p:nvPr>
              <p:custDataLst>
                <p:tags r:id="rId77"/>
              </p:custDataLst>
            </p:nvPr>
          </p:nvPicPr>
          <p:blipFill>
            <a:blip r:embed="rId120">
              <a:extLst>
                <a:ext uri="{28A0092B-C50C-407E-A947-70E740481C1C}">
                  <a14:useLocalDpi xmlns:a14="http://schemas.microsoft.com/office/drawing/2010/main" val="0"/>
                </a:ext>
              </a:extLst>
            </a:blip>
            <a:srcRect/>
            <a:stretch>
              <a:fillRect/>
            </a:stretch>
          </p:blipFill>
          <p:spPr bwMode="auto">
            <a:xfrm>
              <a:off x="230" y="2865"/>
              <a:ext cx="599"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98" name="Picture 221" descr="completeGenomicsLogo"/>
            <p:cNvPicPr>
              <a:picLocks noChangeAspect="1" noChangeArrowheads="1"/>
            </p:cNvPicPr>
            <p:nvPr>
              <p:custDataLst>
                <p:tags r:id="rId78"/>
              </p:custDataLst>
            </p:nvPr>
          </p:nvPicPr>
          <p:blipFill>
            <a:blip r:embed="rId121">
              <a:extLst>
                <a:ext uri="{28A0092B-C50C-407E-A947-70E740481C1C}">
                  <a14:useLocalDpi xmlns:a14="http://schemas.microsoft.com/office/drawing/2010/main" val="0"/>
                </a:ext>
              </a:extLst>
            </a:blip>
            <a:srcRect/>
            <a:stretch>
              <a:fillRect/>
            </a:stretch>
          </p:blipFill>
          <p:spPr bwMode="auto">
            <a:xfrm>
              <a:off x="198" y="2741"/>
              <a:ext cx="1003" cy="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99" name="Picture 222" descr="Ligand"/>
            <p:cNvPicPr>
              <a:picLocks noChangeAspect="1" noChangeArrowheads="1"/>
            </p:cNvPicPr>
            <p:nvPr>
              <p:custDataLst>
                <p:tags r:id="rId79"/>
              </p:custDataLst>
            </p:nvPr>
          </p:nvPicPr>
          <p:blipFill>
            <a:blip r:embed="rId122" cstate="print">
              <a:extLst>
                <a:ext uri="{28A0092B-C50C-407E-A947-70E740481C1C}">
                  <a14:useLocalDpi xmlns:a14="http://schemas.microsoft.com/office/drawing/2010/main" val="0"/>
                </a:ext>
              </a:extLst>
            </a:blip>
            <a:srcRect/>
            <a:stretch>
              <a:fillRect/>
            </a:stretch>
          </p:blipFill>
          <p:spPr bwMode="auto">
            <a:xfrm>
              <a:off x="738" y="2863"/>
              <a:ext cx="436"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00" name="Picture 223" descr="CatBio"/>
            <p:cNvPicPr>
              <a:picLocks noChangeAspect="1" noChangeArrowheads="1"/>
            </p:cNvPicPr>
            <p:nvPr>
              <p:custDataLst>
                <p:tags r:id="rId80"/>
              </p:custDataLst>
            </p:nvPr>
          </p:nvPicPr>
          <p:blipFill>
            <a:blip r:embed="rId123">
              <a:extLst>
                <a:ext uri="{28A0092B-C50C-407E-A947-70E740481C1C}">
                  <a14:useLocalDpi xmlns:a14="http://schemas.microsoft.com/office/drawing/2010/main" val="0"/>
                </a:ext>
              </a:extLst>
            </a:blip>
            <a:srcRect t="11794" r="18420"/>
            <a:stretch>
              <a:fillRect/>
            </a:stretch>
          </p:blipFill>
          <p:spPr bwMode="auto">
            <a:xfrm>
              <a:off x="680" y="3496"/>
              <a:ext cx="513"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243" name="Line 225"/>
          <p:cNvSpPr>
            <a:spLocks noChangeShapeType="1"/>
          </p:cNvSpPr>
          <p:nvPr>
            <p:custDataLst>
              <p:tags r:id="rId26"/>
            </p:custDataLst>
          </p:nvPr>
        </p:nvSpPr>
        <p:spPr bwMode="auto">
          <a:xfrm>
            <a:off x="2425700" y="2160588"/>
            <a:ext cx="0" cy="1090612"/>
          </a:xfrm>
          <a:prstGeom prst="line">
            <a:avLst/>
          </a:prstGeom>
          <a:noFill/>
          <a:ln w="9525">
            <a:solidFill>
              <a:schemeClr val="tx1"/>
            </a:solidFill>
            <a:round/>
            <a:headEnd type="none" w="lg" len="lg"/>
            <a:tailEnd type="none" w="lg" len="lg"/>
          </a:ln>
          <a:extLst>
            <a:ext uri="{909E8E84-426E-40dd-AFC4-6F175D3DCCD1}">
              <a14:hiddenFill xmlns:a14="http://schemas.microsoft.com/office/drawing/2010/main">
                <a:noFill/>
              </a14:hiddenFill>
            </a:ext>
          </a:extLst>
        </p:spPr>
        <p:txBody>
          <a:bodyPr wrap="none" tIns="91440" bIns="91440" anchor="ctr"/>
          <a:lstStyle/>
          <a:p>
            <a:endParaRPr lang="en-US"/>
          </a:p>
        </p:txBody>
      </p:sp>
      <p:cxnSp>
        <p:nvCxnSpPr>
          <p:cNvPr id="9244" name="AutoShape 226"/>
          <p:cNvCxnSpPr>
            <a:cxnSpLocks noChangeShapeType="1"/>
            <a:stCxn id="9253" idx="0"/>
            <a:endCxn id="9219" idx="6"/>
          </p:cNvCxnSpPr>
          <p:nvPr>
            <p:custDataLst>
              <p:tags r:id="rId27"/>
            </p:custDataLst>
          </p:nvPr>
        </p:nvCxnSpPr>
        <p:spPr bwMode="gray">
          <a:xfrm rot="5400000" flipH="1">
            <a:off x="4337050" y="3027363"/>
            <a:ext cx="1528763" cy="1068387"/>
          </a:xfrm>
          <a:prstGeom prst="bentConnector2">
            <a:avLst/>
          </a:prstGeom>
          <a:noFill/>
          <a:ln w="9525">
            <a:solidFill>
              <a:schemeClr val="tx1"/>
            </a:solidFill>
            <a:miter lim="800000"/>
            <a:headEnd type="none" w="lg" len="lg"/>
            <a:tailEnd type="none" w="lg" len="lg"/>
          </a:ln>
          <a:extLst>
            <a:ext uri="{909E8E84-426E-40dd-AFC4-6F175D3DCCD1}">
              <a14:hiddenFill xmlns:a14="http://schemas.microsoft.com/office/drawing/2010/main">
                <a:noFill/>
              </a14:hiddenFill>
            </a:ext>
          </a:extLst>
        </p:spPr>
      </p:cxnSp>
      <p:sp>
        <p:nvSpPr>
          <p:cNvPr id="9245" name="Oval 227"/>
          <p:cNvSpPr>
            <a:spLocks noChangeArrowheads="1"/>
          </p:cNvSpPr>
          <p:nvPr>
            <p:custDataLst>
              <p:tags r:id="rId28"/>
            </p:custDataLst>
          </p:nvPr>
        </p:nvSpPr>
        <p:spPr bwMode="auto">
          <a:xfrm>
            <a:off x="7007225" y="3125788"/>
            <a:ext cx="73025" cy="63500"/>
          </a:xfrm>
          <a:prstGeom prst="ellipse">
            <a:avLst/>
          </a:prstGeom>
          <a:solidFill>
            <a:schemeClr val="tx1"/>
          </a:solidFill>
          <a:ln w="9525">
            <a:solidFill>
              <a:schemeClr val="tx1"/>
            </a:solidFill>
            <a:round/>
            <a:headEnd/>
            <a:tailEnd/>
          </a:ln>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endParaRPr lang="de-CH" altLang="en-US" sz="1400">
              <a:latin typeface="Arial" charset="0"/>
              <a:cs typeface="Arial" charset="0"/>
            </a:endParaRPr>
          </a:p>
        </p:txBody>
      </p:sp>
      <p:sp>
        <p:nvSpPr>
          <p:cNvPr id="9246" name="Line 228"/>
          <p:cNvSpPr>
            <a:spLocks noChangeShapeType="1"/>
          </p:cNvSpPr>
          <p:nvPr>
            <p:custDataLst>
              <p:tags r:id="rId29"/>
            </p:custDataLst>
          </p:nvPr>
        </p:nvSpPr>
        <p:spPr bwMode="auto">
          <a:xfrm flipV="1">
            <a:off x="6596063" y="2900363"/>
            <a:ext cx="14287" cy="568325"/>
          </a:xfrm>
          <a:prstGeom prst="line">
            <a:avLst/>
          </a:prstGeom>
          <a:noFill/>
          <a:ln w="9525">
            <a:solidFill>
              <a:schemeClr val="tx1"/>
            </a:solidFill>
            <a:round/>
            <a:headEnd type="none" w="lg" len="lg"/>
            <a:tailEnd type="none" w="lg" len="lg"/>
          </a:ln>
          <a:extLst>
            <a:ext uri="{909E8E84-426E-40dd-AFC4-6F175D3DCCD1}">
              <a14:hiddenFill xmlns:a14="http://schemas.microsoft.com/office/drawing/2010/main">
                <a:noFill/>
              </a14:hiddenFill>
            </a:ext>
          </a:extLst>
        </p:spPr>
        <p:txBody>
          <a:bodyPr wrap="none" tIns="91440" bIns="91440" anchor="ctr"/>
          <a:lstStyle/>
          <a:p>
            <a:endParaRPr lang="en-US"/>
          </a:p>
        </p:txBody>
      </p:sp>
      <p:sp>
        <p:nvSpPr>
          <p:cNvPr id="9247" name="Oval 229"/>
          <p:cNvSpPr>
            <a:spLocks noChangeArrowheads="1"/>
          </p:cNvSpPr>
          <p:nvPr>
            <p:custDataLst>
              <p:tags r:id="rId30"/>
            </p:custDataLst>
          </p:nvPr>
        </p:nvSpPr>
        <p:spPr bwMode="auto">
          <a:xfrm>
            <a:off x="7115175" y="3449638"/>
            <a:ext cx="73025" cy="63500"/>
          </a:xfrm>
          <a:prstGeom prst="ellipse">
            <a:avLst/>
          </a:prstGeom>
          <a:solidFill>
            <a:schemeClr val="tx1"/>
          </a:solidFill>
          <a:ln w="9525">
            <a:solidFill>
              <a:schemeClr val="tx1"/>
            </a:solidFill>
            <a:round/>
            <a:headEnd/>
            <a:tailEnd/>
          </a:ln>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endParaRPr lang="de-CH" altLang="en-US" sz="1400">
              <a:latin typeface="Arial" charset="0"/>
              <a:cs typeface="Arial" charset="0"/>
            </a:endParaRPr>
          </a:p>
        </p:txBody>
      </p:sp>
      <p:sp>
        <p:nvSpPr>
          <p:cNvPr id="9248" name="Line 230"/>
          <p:cNvSpPr>
            <a:spLocks noChangeShapeType="1"/>
          </p:cNvSpPr>
          <p:nvPr>
            <p:custDataLst>
              <p:tags r:id="rId31"/>
            </p:custDataLst>
          </p:nvPr>
        </p:nvSpPr>
        <p:spPr bwMode="auto">
          <a:xfrm flipH="1" flipV="1">
            <a:off x="6597650" y="3478213"/>
            <a:ext cx="573088" cy="0"/>
          </a:xfrm>
          <a:prstGeom prst="line">
            <a:avLst/>
          </a:prstGeom>
          <a:noFill/>
          <a:ln w="9525">
            <a:solidFill>
              <a:schemeClr val="tx1"/>
            </a:solidFill>
            <a:round/>
            <a:headEnd type="none" w="lg" len="lg"/>
            <a:tailEnd type="none" w="lg" len="lg"/>
          </a:ln>
          <a:extLst>
            <a:ext uri="{909E8E84-426E-40dd-AFC4-6F175D3DCCD1}">
              <a14:hiddenFill xmlns:a14="http://schemas.microsoft.com/office/drawing/2010/main">
                <a:noFill/>
              </a14:hiddenFill>
            </a:ext>
          </a:extLst>
        </p:spPr>
        <p:txBody>
          <a:bodyPr wrap="none" tIns="91440" bIns="91440" anchor="ctr"/>
          <a:lstStyle/>
          <a:p>
            <a:endParaRPr lang="en-US"/>
          </a:p>
        </p:txBody>
      </p:sp>
      <p:sp>
        <p:nvSpPr>
          <p:cNvPr id="9249" name="Oval 231"/>
          <p:cNvSpPr>
            <a:spLocks noChangeArrowheads="1"/>
          </p:cNvSpPr>
          <p:nvPr>
            <p:custDataLst>
              <p:tags r:id="rId32"/>
            </p:custDataLst>
          </p:nvPr>
        </p:nvSpPr>
        <p:spPr bwMode="auto">
          <a:xfrm>
            <a:off x="7542213" y="3284538"/>
            <a:ext cx="73025" cy="63500"/>
          </a:xfrm>
          <a:prstGeom prst="ellipse">
            <a:avLst/>
          </a:prstGeom>
          <a:solidFill>
            <a:schemeClr val="tx1"/>
          </a:solidFill>
          <a:ln w="9525">
            <a:solidFill>
              <a:schemeClr val="tx1"/>
            </a:solidFill>
            <a:round/>
            <a:headEnd/>
            <a:tailEnd/>
          </a:ln>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endParaRPr lang="de-CH" altLang="en-US" sz="1400">
              <a:latin typeface="Arial" charset="0"/>
              <a:cs typeface="Arial" charset="0"/>
            </a:endParaRPr>
          </a:p>
        </p:txBody>
      </p:sp>
      <p:sp>
        <p:nvSpPr>
          <p:cNvPr id="9250" name="Oval 232"/>
          <p:cNvSpPr>
            <a:spLocks noChangeArrowheads="1"/>
          </p:cNvSpPr>
          <p:nvPr>
            <p:custDataLst>
              <p:tags r:id="rId33"/>
            </p:custDataLst>
          </p:nvPr>
        </p:nvSpPr>
        <p:spPr bwMode="auto">
          <a:xfrm>
            <a:off x="6092825" y="4051300"/>
            <a:ext cx="73025" cy="63500"/>
          </a:xfrm>
          <a:prstGeom prst="ellipse">
            <a:avLst/>
          </a:prstGeom>
          <a:solidFill>
            <a:schemeClr val="tx1"/>
          </a:solidFill>
          <a:ln w="9525">
            <a:solidFill>
              <a:schemeClr val="tx1"/>
            </a:solidFill>
            <a:round/>
            <a:headEnd/>
            <a:tailEnd/>
          </a:ln>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endParaRPr lang="de-CH" altLang="en-US" sz="1400">
              <a:latin typeface="Arial" charset="0"/>
              <a:cs typeface="Arial" charset="0"/>
            </a:endParaRPr>
          </a:p>
        </p:txBody>
      </p:sp>
      <p:sp>
        <p:nvSpPr>
          <p:cNvPr id="9251" name="Line 233"/>
          <p:cNvSpPr>
            <a:spLocks noChangeShapeType="1"/>
          </p:cNvSpPr>
          <p:nvPr>
            <p:custDataLst>
              <p:tags r:id="rId34"/>
            </p:custDataLst>
          </p:nvPr>
        </p:nvSpPr>
        <p:spPr bwMode="auto">
          <a:xfrm flipV="1">
            <a:off x="6129338" y="2946400"/>
            <a:ext cx="1587" cy="1103313"/>
          </a:xfrm>
          <a:prstGeom prst="line">
            <a:avLst/>
          </a:prstGeom>
          <a:noFill/>
          <a:ln w="9525">
            <a:solidFill>
              <a:schemeClr val="tx1"/>
            </a:solidFill>
            <a:round/>
            <a:headEnd type="none" w="lg" len="lg"/>
            <a:tailEnd type="none" w="lg" len="lg"/>
          </a:ln>
          <a:extLst>
            <a:ext uri="{909E8E84-426E-40dd-AFC4-6F175D3DCCD1}">
              <a14:hiddenFill xmlns:a14="http://schemas.microsoft.com/office/drawing/2010/main">
                <a:noFill/>
              </a14:hiddenFill>
            </a:ext>
          </a:extLst>
        </p:spPr>
        <p:txBody>
          <a:bodyPr wrap="none" tIns="91440" bIns="91440" anchor="ctr"/>
          <a:lstStyle/>
          <a:p>
            <a:endParaRPr lang="en-US"/>
          </a:p>
        </p:txBody>
      </p:sp>
      <p:sp>
        <p:nvSpPr>
          <p:cNvPr id="9252" name="Line 234"/>
          <p:cNvSpPr>
            <a:spLocks noChangeShapeType="1"/>
          </p:cNvSpPr>
          <p:nvPr>
            <p:custDataLst>
              <p:tags r:id="rId35"/>
            </p:custDataLst>
          </p:nvPr>
        </p:nvSpPr>
        <p:spPr bwMode="auto">
          <a:xfrm flipH="1" flipV="1">
            <a:off x="7056438" y="2895600"/>
            <a:ext cx="0" cy="268288"/>
          </a:xfrm>
          <a:prstGeom prst="line">
            <a:avLst/>
          </a:prstGeom>
          <a:noFill/>
          <a:ln w="9525">
            <a:solidFill>
              <a:schemeClr val="tx1"/>
            </a:solidFill>
            <a:round/>
            <a:headEnd type="none" w="lg" len="lg"/>
            <a:tailEnd type="none" w="lg" len="lg"/>
          </a:ln>
          <a:extLst>
            <a:ext uri="{909E8E84-426E-40dd-AFC4-6F175D3DCCD1}">
              <a14:hiddenFill xmlns:a14="http://schemas.microsoft.com/office/drawing/2010/main">
                <a:noFill/>
              </a14:hiddenFill>
            </a:ext>
          </a:extLst>
        </p:spPr>
        <p:txBody>
          <a:bodyPr wrap="none" tIns="91440" bIns="91440" anchor="ctr"/>
          <a:lstStyle/>
          <a:p>
            <a:endParaRPr lang="en-US"/>
          </a:p>
        </p:txBody>
      </p:sp>
      <p:sp>
        <p:nvSpPr>
          <p:cNvPr id="9253" name="AutoShape 236"/>
          <p:cNvSpPr>
            <a:spLocks noChangeArrowheads="1"/>
          </p:cNvSpPr>
          <p:nvPr>
            <p:custDataLst>
              <p:tags r:id="rId36"/>
            </p:custDataLst>
          </p:nvPr>
        </p:nvSpPr>
        <p:spPr bwMode="auto">
          <a:xfrm>
            <a:off x="4629150" y="4325938"/>
            <a:ext cx="2011363" cy="2379662"/>
          </a:xfrm>
          <a:prstGeom prst="roundRect">
            <a:avLst>
              <a:gd name="adj" fmla="val 16667"/>
            </a:avLst>
          </a:prstGeom>
          <a:solidFill>
            <a:schemeClr val="bg1"/>
          </a:solidFill>
          <a:ln w="9525" algn="ctr">
            <a:solidFill>
              <a:srgbClr val="C0C0C0"/>
            </a:solidFill>
            <a:round/>
            <a:headEnd/>
            <a:tailEnd type="none" w="lg" len="lg"/>
          </a:ln>
        </p:spPr>
        <p:txBody>
          <a:bodyPr lIns="0" tIns="0" rIns="0" bIns="0"/>
          <a:lstStyle>
            <a:lvl1pPr defTabSz="912813" eaLnBrk="0" hangingPunct="0">
              <a:spcBef>
                <a:spcPct val="20000"/>
              </a:spcBef>
              <a:buFont typeface="Arial" charset="0"/>
              <a:buChar char="•"/>
              <a:defRPr sz="3200">
                <a:solidFill>
                  <a:schemeClr val="tx1"/>
                </a:solidFill>
                <a:latin typeface="Calibri" pitchFamily="34" charset="0"/>
              </a:defRPr>
            </a:lvl1pPr>
            <a:lvl2pPr marL="742950" indent="-285750" defTabSz="912813" eaLnBrk="0" hangingPunct="0">
              <a:spcBef>
                <a:spcPct val="20000"/>
              </a:spcBef>
              <a:buFont typeface="Arial" charset="0"/>
              <a:buChar char="–"/>
              <a:defRPr sz="2800">
                <a:solidFill>
                  <a:schemeClr val="tx1"/>
                </a:solidFill>
                <a:latin typeface="Calibri" pitchFamily="34" charset="0"/>
              </a:defRPr>
            </a:lvl2pPr>
            <a:lvl3pPr marL="1143000" indent="-228600" defTabSz="912813" eaLnBrk="0" hangingPunct="0">
              <a:spcBef>
                <a:spcPct val="20000"/>
              </a:spcBef>
              <a:buFont typeface="Arial" charset="0"/>
              <a:buChar char="•"/>
              <a:defRPr sz="2400">
                <a:solidFill>
                  <a:schemeClr val="tx1"/>
                </a:solidFill>
                <a:latin typeface="Calibri" pitchFamily="34" charset="0"/>
              </a:defRPr>
            </a:lvl3pPr>
            <a:lvl4pPr marL="1600200" indent="-228600" defTabSz="912813" eaLnBrk="0" hangingPunct="0">
              <a:spcBef>
                <a:spcPct val="20000"/>
              </a:spcBef>
              <a:buFont typeface="Arial" charset="0"/>
              <a:buChar char="–"/>
              <a:defRPr sz="2000">
                <a:solidFill>
                  <a:schemeClr val="tx1"/>
                </a:solidFill>
                <a:latin typeface="Calibri" pitchFamily="34" charset="0"/>
              </a:defRPr>
            </a:lvl4pPr>
            <a:lvl5pPr marL="2057400" indent="-228600" defTabSz="912813" eaLnBrk="0" hangingPunct="0">
              <a:spcBef>
                <a:spcPct val="20000"/>
              </a:spcBef>
              <a:buFont typeface="Arial" charset="0"/>
              <a:buChar char="»"/>
              <a:defRPr sz="2000">
                <a:solidFill>
                  <a:schemeClr val="tx1"/>
                </a:solidFill>
                <a:latin typeface="Calibri" pitchFamily="34" charset="0"/>
              </a:defRPr>
            </a:lvl5pPr>
            <a:lvl6pPr marL="25146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000">
                <a:latin typeface="Arial" charset="0"/>
                <a:cs typeface="Arial" charset="0"/>
              </a:rPr>
              <a:t> Europe</a:t>
            </a:r>
          </a:p>
        </p:txBody>
      </p:sp>
      <p:pic>
        <p:nvPicPr>
          <p:cNvPr id="9254" name="Picture 237" descr="qiagen"/>
          <p:cNvPicPr>
            <a:picLocks noChangeAspect="1" noChangeArrowheads="1"/>
          </p:cNvPicPr>
          <p:nvPr>
            <p:custDataLst>
              <p:tags r:id="rId37"/>
            </p:custDataLst>
          </p:nvPr>
        </p:nvPicPr>
        <p:blipFill>
          <a:blip r:embed="rId124" cstate="print">
            <a:extLst>
              <a:ext uri="{28A0092B-C50C-407E-A947-70E740481C1C}">
                <a14:useLocalDpi xmlns:a14="http://schemas.microsoft.com/office/drawing/2010/main" val="0"/>
              </a:ext>
            </a:extLst>
          </a:blip>
          <a:srcRect/>
          <a:stretch>
            <a:fillRect/>
          </a:stretch>
        </p:blipFill>
        <p:spPr bwMode="auto">
          <a:xfrm>
            <a:off x="4976813" y="4949825"/>
            <a:ext cx="44608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55" name="Picture 238" descr="biospring"/>
          <p:cNvPicPr>
            <a:picLocks noChangeAspect="1" noChangeArrowheads="1"/>
          </p:cNvPicPr>
          <p:nvPr>
            <p:custDataLst>
              <p:tags r:id="rId38"/>
            </p:custDataLst>
          </p:nvPr>
        </p:nvPicPr>
        <p:blipFill>
          <a:blip r:embed="rId125">
            <a:extLst>
              <a:ext uri="{28A0092B-C50C-407E-A947-70E740481C1C}">
                <a14:useLocalDpi xmlns:a14="http://schemas.microsoft.com/office/drawing/2010/main" val="0"/>
              </a:ext>
            </a:extLst>
          </a:blip>
          <a:srcRect/>
          <a:stretch>
            <a:fillRect/>
          </a:stretch>
        </p:blipFill>
        <p:spPr bwMode="auto">
          <a:xfrm>
            <a:off x="4865688" y="4560888"/>
            <a:ext cx="742950"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56" name="Picture 239" descr="Ablynx"/>
          <p:cNvPicPr>
            <a:picLocks noChangeAspect="1" noChangeArrowheads="1"/>
          </p:cNvPicPr>
          <p:nvPr>
            <p:custDataLst>
              <p:tags r:id="rId39"/>
            </p:custDataLst>
          </p:nvPr>
        </p:nvPicPr>
        <p:blipFill>
          <a:blip r:embed="rId126">
            <a:extLst>
              <a:ext uri="{28A0092B-C50C-407E-A947-70E740481C1C}">
                <a14:useLocalDpi xmlns:a14="http://schemas.microsoft.com/office/drawing/2010/main" val="0"/>
              </a:ext>
            </a:extLst>
          </a:blip>
          <a:srcRect/>
          <a:stretch>
            <a:fillRect/>
          </a:stretch>
        </p:blipFill>
        <p:spPr bwMode="auto">
          <a:xfrm>
            <a:off x="4694238" y="5421313"/>
            <a:ext cx="84137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57" name="Picture 240"/>
          <p:cNvPicPr>
            <a:picLocks noChangeAspect="1" noChangeArrowheads="1"/>
          </p:cNvPicPr>
          <p:nvPr>
            <p:custDataLst>
              <p:tags r:id="rId40"/>
            </p:custDataLst>
          </p:nvPr>
        </p:nvPicPr>
        <p:blipFill>
          <a:blip r:embed="rId127">
            <a:extLst>
              <a:ext uri="{28A0092B-C50C-407E-A947-70E740481C1C}">
                <a14:useLocalDpi xmlns:a14="http://schemas.microsoft.com/office/drawing/2010/main" val="0"/>
              </a:ext>
            </a:extLst>
          </a:blip>
          <a:srcRect l="4167" t="16203" r="75000" b="69908"/>
          <a:stretch>
            <a:fillRect/>
          </a:stretch>
        </p:blipFill>
        <p:spPr bwMode="auto">
          <a:xfrm>
            <a:off x="5799138" y="4641850"/>
            <a:ext cx="762000"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58" name="Picture 241" descr="Elan"/>
          <p:cNvPicPr>
            <a:picLocks noChangeAspect="1" noChangeArrowheads="1"/>
          </p:cNvPicPr>
          <p:nvPr>
            <p:custDataLst>
              <p:tags r:id="rId41"/>
            </p:custDataLst>
          </p:nvPr>
        </p:nvPicPr>
        <p:blipFill>
          <a:blip r:embed="rId128">
            <a:extLst>
              <a:ext uri="{28A0092B-C50C-407E-A947-70E740481C1C}">
                <a14:useLocalDpi xmlns:a14="http://schemas.microsoft.com/office/drawing/2010/main" val="0"/>
              </a:ext>
            </a:extLst>
          </a:blip>
          <a:srcRect/>
          <a:stretch>
            <a:fillRect/>
          </a:stretch>
        </p:blipFill>
        <p:spPr bwMode="auto">
          <a:xfrm>
            <a:off x="5597525" y="4960938"/>
            <a:ext cx="565150" cy="319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59" name="Picture 242" descr="Santaris"/>
          <p:cNvPicPr>
            <a:picLocks noChangeAspect="1" noChangeArrowheads="1"/>
          </p:cNvPicPr>
          <p:nvPr>
            <p:custDataLst>
              <p:tags r:id="rId42"/>
            </p:custDataLst>
          </p:nvPr>
        </p:nvPicPr>
        <p:blipFill>
          <a:blip r:embed="rId129">
            <a:extLst>
              <a:ext uri="{28A0092B-C50C-407E-A947-70E740481C1C}">
                <a14:useLocalDpi xmlns:a14="http://schemas.microsoft.com/office/drawing/2010/main" val="0"/>
              </a:ext>
            </a:extLst>
          </a:blip>
          <a:srcRect/>
          <a:stretch>
            <a:fillRect/>
          </a:stretch>
        </p:blipFill>
        <p:spPr bwMode="auto">
          <a:xfrm>
            <a:off x="5635625" y="5345113"/>
            <a:ext cx="839788"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60" name="Picture 243" descr="Siena"/>
          <p:cNvPicPr>
            <a:picLocks noChangeAspect="1" noChangeArrowheads="1"/>
          </p:cNvPicPr>
          <p:nvPr>
            <p:custDataLst>
              <p:tags r:id="rId43"/>
            </p:custDataLst>
          </p:nvPr>
        </p:nvPicPr>
        <p:blipFill>
          <a:blip r:embed="rId130">
            <a:extLst>
              <a:ext uri="{28A0092B-C50C-407E-A947-70E740481C1C}">
                <a14:useLocalDpi xmlns:a14="http://schemas.microsoft.com/office/drawing/2010/main" val="0"/>
              </a:ext>
            </a:extLst>
          </a:blip>
          <a:srcRect r="20000"/>
          <a:stretch>
            <a:fillRect/>
          </a:stretch>
        </p:blipFill>
        <p:spPr bwMode="auto">
          <a:xfrm>
            <a:off x="4683125" y="5829300"/>
            <a:ext cx="1898650"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61" name="Line 244"/>
          <p:cNvSpPr>
            <a:spLocks noChangeShapeType="1"/>
          </p:cNvSpPr>
          <p:nvPr>
            <p:custDataLst>
              <p:tags r:id="rId44"/>
            </p:custDataLst>
          </p:nvPr>
        </p:nvSpPr>
        <p:spPr bwMode="auto">
          <a:xfrm flipH="1" flipV="1">
            <a:off x="7391400" y="2827338"/>
            <a:ext cx="9525" cy="471487"/>
          </a:xfrm>
          <a:prstGeom prst="line">
            <a:avLst/>
          </a:prstGeom>
          <a:noFill/>
          <a:ln w="9525">
            <a:solidFill>
              <a:schemeClr val="tx1"/>
            </a:solidFill>
            <a:round/>
            <a:headEnd type="none" w="lg" len="lg"/>
            <a:tailEnd type="none" w="lg" len="lg"/>
          </a:ln>
          <a:extLst>
            <a:ext uri="{909E8E84-426E-40dd-AFC4-6F175D3DCCD1}">
              <a14:hiddenFill xmlns:a14="http://schemas.microsoft.com/office/drawing/2010/main">
                <a:noFill/>
              </a14:hiddenFill>
            </a:ext>
          </a:extLst>
        </p:spPr>
        <p:txBody>
          <a:bodyPr wrap="none" tIns="91440" bIns="91440" anchor="ctr"/>
          <a:lstStyle/>
          <a:p>
            <a:endParaRPr lang="en-US"/>
          </a:p>
        </p:txBody>
      </p:sp>
      <p:sp>
        <p:nvSpPr>
          <p:cNvPr id="9262" name="Line 245"/>
          <p:cNvSpPr>
            <a:spLocks noChangeShapeType="1"/>
          </p:cNvSpPr>
          <p:nvPr>
            <p:custDataLst>
              <p:tags r:id="rId45"/>
            </p:custDataLst>
          </p:nvPr>
        </p:nvSpPr>
        <p:spPr bwMode="auto">
          <a:xfrm flipH="1" flipV="1">
            <a:off x="7394575" y="3302000"/>
            <a:ext cx="168275" cy="4763"/>
          </a:xfrm>
          <a:prstGeom prst="line">
            <a:avLst/>
          </a:prstGeom>
          <a:noFill/>
          <a:ln w="9525">
            <a:solidFill>
              <a:schemeClr val="tx1"/>
            </a:solidFill>
            <a:round/>
            <a:headEnd type="none" w="lg" len="lg"/>
            <a:tailEnd type="none" w="lg" len="lg"/>
          </a:ln>
          <a:extLst>
            <a:ext uri="{909E8E84-426E-40dd-AFC4-6F175D3DCCD1}">
              <a14:hiddenFill xmlns:a14="http://schemas.microsoft.com/office/drawing/2010/main">
                <a:noFill/>
              </a14:hiddenFill>
            </a:ext>
          </a:extLst>
        </p:spPr>
        <p:txBody>
          <a:bodyPr wrap="none" tIns="91440" bIns="91440" anchor="ctr"/>
          <a:lstStyle/>
          <a:p>
            <a:endParaRPr lang="en-US"/>
          </a:p>
        </p:txBody>
      </p:sp>
      <p:sp>
        <p:nvSpPr>
          <p:cNvPr id="9263" name="Oval 246"/>
          <p:cNvSpPr>
            <a:spLocks noChangeArrowheads="1"/>
          </p:cNvSpPr>
          <p:nvPr>
            <p:custDataLst>
              <p:tags r:id="rId46"/>
            </p:custDataLst>
          </p:nvPr>
        </p:nvSpPr>
        <p:spPr bwMode="auto">
          <a:xfrm>
            <a:off x="2293938" y="3173413"/>
            <a:ext cx="71437" cy="63500"/>
          </a:xfrm>
          <a:prstGeom prst="ellipse">
            <a:avLst/>
          </a:prstGeom>
          <a:solidFill>
            <a:schemeClr val="tx1"/>
          </a:solidFill>
          <a:ln w="9525">
            <a:solidFill>
              <a:schemeClr val="tx1"/>
            </a:solidFill>
            <a:round/>
            <a:headEnd/>
            <a:tailEnd/>
          </a:ln>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endParaRPr lang="de-CH" altLang="en-US" sz="1400">
              <a:latin typeface="Arial" charset="0"/>
              <a:cs typeface="Arial" charset="0"/>
            </a:endParaRPr>
          </a:p>
        </p:txBody>
      </p:sp>
      <p:sp>
        <p:nvSpPr>
          <p:cNvPr id="9264" name="AutoShape 250"/>
          <p:cNvSpPr>
            <a:spLocks noChangeArrowheads="1"/>
          </p:cNvSpPr>
          <p:nvPr>
            <p:custDataLst>
              <p:tags r:id="rId47"/>
            </p:custDataLst>
          </p:nvPr>
        </p:nvSpPr>
        <p:spPr bwMode="auto">
          <a:xfrm>
            <a:off x="952500" y="1792288"/>
            <a:ext cx="1333500" cy="569912"/>
          </a:xfrm>
          <a:prstGeom prst="roundRect">
            <a:avLst>
              <a:gd name="adj" fmla="val 16667"/>
            </a:avLst>
          </a:prstGeom>
          <a:solidFill>
            <a:schemeClr val="bg1"/>
          </a:solidFill>
          <a:ln w="9525" algn="ctr">
            <a:solidFill>
              <a:srgbClr val="C0C0C0"/>
            </a:solidFill>
            <a:round/>
            <a:headEnd/>
            <a:tailEnd type="none" w="lg" len="lg"/>
          </a:ln>
        </p:spPr>
        <p:txBody>
          <a:bodyPr lIns="0" tIns="0" rIns="0" bIns="0"/>
          <a:lstStyle>
            <a:lvl1pPr defTabSz="912813" eaLnBrk="0" hangingPunct="0">
              <a:spcBef>
                <a:spcPct val="20000"/>
              </a:spcBef>
              <a:buFont typeface="Arial" charset="0"/>
              <a:buChar char="•"/>
              <a:defRPr sz="3200">
                <a:solidFill>
                  <a:schemeClr val="tx1"/>
                </a:solidFill>
                <a:latin typeface="Calibri" pitchFamily="34" charset="0"/>
              </a:defRPr>
            </a:lvl1pPr>
            <a:lvl2pPr marL="742950" indent="-285750" defTabSz="912813" eaLnBrk="0" hangingPunct="0">
              <a:spcBef>
                <a:spcPct val="20000"/>
              </a:spcBef>
              <a:buFont typeface="Arial" charset="0"/>
              <a:buChar char="–"/>
              <a:defRPr sz="2800">
                <a:solidFill>
                  <a:schemeClr val="tx1"/>
                </a:solidFill>
                <a:latin typeface="Calibri" pitchFamily="34" charset="0"/>
              </a:defRPr>
            </a:lvl2pPr>
            <a:lvl3pPr marL="1143000" indent="-228600" defTabSz="912813" eaLnBrk="0" hangingPunct="0">
              <a:spcBef>
                <a:spcPct val="20000"/>
              </a:spcBef>
              <a:buFont typeface="Arial" charset="0"/>
              <a:buChar char="•"/>
              <a:defRPr sz="2400">
                <a:solidFill>
                  <a:schemeClr val="tx1"/>
                </a:solidFill>
                <a:latin typeface="Calibri" pitchFamily="34" charset="0"/>
              </a:defRPr>
            </a:lvl3pPr>
            <a:lvl4pPr marL="1600200" indent="-228600" defTabSz="912813" eaLnBrk="0" hangingPunct="0">
              <a:spcBef>
                <a:spcPct val="20000"/>
              </a:spcBef>
              <a:buFont typeface="Arial" charset="0"/>
              <a:buChar char="–"/>
              <a:defRPr sz="2000">
                <a:solidFill>
                  <a:schemeClr val="tx1"/>
                </a:solidFill>
                <a:latin typeface="Calibri" pitchFamily="34" charset="0"/>
              </a:defRPr>
            </a:lvl4pPr>
            <a:lvl5pPr marL="2057400" indent="-228600" defTabSz="912813" eaLnBrk="0" hangingPunct="0">
              <a:spcBef>
                <a:spcPct val="20000"/>
              </a:spcBef>
              <a:buFont typeface="Arial" charset="0"/>
              <a:buChar char="»"/>
              <a:defRPr sz="2000">
                <a:solidFill>
                  <a:schemeClr val="tx1"/>
                </a:solidFill>
                <a:latin typeface="Calibri" pitchFamily="34" charset="0"/>
              </a:defRPr>
            </a:lvl5pPr>
            <a:lvl6pPr marL="25146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000">
                <a:latin typeface="Arial" charset="0"/>
                <a:cs typeface="Arial" charset="0"/>
              </a:rPr>
              <a:t>Pennsylvania</a:t>
            </a:r>
          </a:p>
        </p:txBody>
      </p:sp>
      <p:pic>
        <p:nvPicPr>
          <p:cNvPr id="9265" name="Picture 251" descr="UPenn"/>
          <p:cNvPicPr>
            <a:picLocks noChangeAspect="1" noChangeArrowheads="1"/>
          </p:cNvPicPr>
          <p:nvPr>
            <p:custDataLst>
              <p:tags r:id="rId48"/>
            </p:custDataLst>
          </p:nvPr>
        </p:nvPicPr>
        <p:blipFill>
          <a:blip r:embed="rId131">
            <a:extLst>
              <a:ext uri="{28A0092B-C50C-407E-A947-70E740481C1C}">
                <a14:useLocalDpi xmlns:a14="http://schemas.microsoft.com/office/drawing/2010/main" val="0"/>
              </a:ext>
            </a:extLst>
          </a:blip>
          <a:srcRect/>
          <a:stretch>
            <a:fillRect/>
          </a:stretch>
        </p:blipFill>
        <p:spPr bwMode="auto">
          <a:xfrm>
            <a:off x="1152525" y="1998663"/>
            <a:ext cx="9318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66" name="Picture 252" descr="University of Cambridge"/>
          <p:cNvPicPr>
            <a:picLocks noChangeAspect="1" noChangeArrowheads="1"/>
          </p:cNvPicPr>
          <p:nvPr>
            <p:custDataLst>
              <p:tags r:id="rId49"/>
            </p:custDataLst>
          </p:nvPr>
        </p:nvPicPr>
        <p:blipFill>
          <a:blip r:embed="rId132">
            <a:extLst>
              <a:ext uri="{28A0092B-C50C-407E-A947-70E740481C1C}">
                <a14:useLocalDpi xmlns:a14="http://schemas.microsoft.com/office/drawing/2010/main" val="0"/>
              </a:ext>
            </a:extLst>
          </a:blip>
          <a:srcRect/>
          <a:stretch>
            <a:fillRect/>
          </a:stretch>
        </p:blipFill>
        <p:spPr bwMode="auto">
          <a:xfrm>
            <a:off x="4716463" y="6248400"/>
            <a:ext cx="1016000" cy="25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67" name="Picture 253" descr="University of Ghent"/>
          <p:cNvPicPr>
            <a:picLocks noChangeAspect="1" noChangeArrowheads="1"/>
          </p:cNvPicPr>
          <p:nvPr>
            <p:custDataLst>
              <p:tags r:id="rId50"/>
            </p:custDataLst>
          </p:nvPr>
        </p:nvPicPr>
        <p:blipFill>
          <a:blip r:embed="rId133">
            <a:extLst>
              <a:ext uri="{28A0092B-C50C-407E-A947-70E740481C1C}">
                <a14:useLocalDpi xmlns:a14="http://schemas.microsoft.com/office/drawing/2010/main" val="0"/>
              </a:ext>
            </a:extLst>
          </a:blip>
          <a:srcRect/>
          <a:stretch>
            <a:fillRect/>
          </a:stretch>
        </p:blipFill>
        <p:spPr bwMode="auto">
          <a:xfrm>
            <a:off x="5805488" y="6172200"/>
            <a:ext cx="576262"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68" name="Oval 254"/>
          <p:cNvSpPr>
            <a:spLocks noChangeArrowheads="1"/>
          </p:cNvSpPr>
          <p:nvPr>
            <p:custDataLst>
              <p:tags r:id="rId51"/>
            </p:custDataLst>
          </p:nvPr>
        </p:nvSpPr>
        <p:spPr bwMode="auto">
          <a:xfrm>
            <a:off x="7740650" y="5765800"/>
            <a:ext cx="73025" cy="63500"/>
          </a:xfrm>
          <a:prstGeom prst="ellipse">
            <a:avLst/>
          </a:prstGeom>
          <a:solidFill>
            <a:schemeClr val="tx1"/>
          </a:solidFill>
          <a:ln w="9525">
            <a:solidFill>
              <a:schemeClr val="tx1"/>
            </a:solidFill>
            <a:round/>
            <a:headEnd/>
            <a:tailEnd/>
          </a:ln>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endParaRPr lang="de-CH" altLang="en-US" sz="1400">
              <a:latin typeface="Arial" charset="0"/>
              <a:cs typeface="Arial" charset="0"/>
            </a:endParaRPr>
          </a:p>
        </p:txBody>
      </p:sp>
      <p:sp>
        <p:nvSpPr>
          <p:cNvPr id="9269" name="Line 255"/>
          <p:cNvSpPr>
            <a:spLocks noChangeShapeType="1"/>
          </p:cNvSpPr>
          <p:nvPr>
            <p:custDataLst>
              <p:tags r:id="rId52"/>
            </p:custDataLst>
          </p:nvPr>
        </p:nvSpPr>
        <p:spPr bwMode="auto">
          <a:xfrm flipH="1" flipV="1">
            <a:off x="7764463" y="5341938"/>
            <a:ext cx="0" cy="425450"/>
          </a:xfrm>
          <a:prstGeom prst="line">
            <a:avLst/>
          </a:prstGeom>
          <a:noFill/>
          <a:ln w="9525">
            <a:solidFill>
              <a:schemeClr val="tx1"/>
            </a:solidFill>
            <a:round/>
            <a:headEnd type="none" w="lg" len="lg"/>
            <a:tailEnd type="none" w="lg" len="lg"/>
          </a:ln>
          <a:extLst>
            <a:ext uri="{909E8E84-426E-40dd-AFC4-6F175D3DCCD1}">
              <a14:hiddenFill xmlns:a14="http://schemas.microsoft.com/office/drawing/2010/main">
                <a:noFill/>
              </a14:hiddenFill>
            </a:ext>
          </a:extLst>
        </p:spPr>
        <p:txBody>
          <a:bodyPr wrap="none" tIns="91440" bIns="91440" anchor="ctr"/>
          <a:lstStyle/>
          <a:p>
            <a:endParaRPr lang="en-US"/>
          </a:p>
        </p:txBody>
      </p:sp>
      <p:sp>
        <p:nvSpPr>
          <p:cNvPr id="9270" name="AutoShape 256"/>
          <p:cNvSpPr>
            <a:spLocks noChangeArrowheads="1"/>
          </p:cNvSpPr>
          <p:nvPr>
            <p:custDataLst>
              <p:tags r:id="rId53"/>
            </p:custDataLst>
          </p:nvPr>
        </p:nvSpPr>
        <p:spPr bwMode="auto">
          <a:xfrm>
            <a:off x="7358063" y="4591050"/>
            <a:ext cx="1379537" cy="812800"/>
          </a:xfrm>
          <a:prstGeom prst="roundRect">
            <a:avLst>
              <a:gd name="adj" fmla="val 16667"/>
            </a:avLst>
          </a:prstGeom>
          <a:solidFill>
            <a:schemeClr val="bg1"/>
          </a:solidFill>
          <a:ln w="9525" algn="ctr">
            <a:solidFill>
              <a:srgbClr val="C0C0C0"/>
            </a:solidFill>
            <a:round/>
            <a:headEnd/>
            <a:tailEnd type="none" w="lg" len="lg"/>
          </a:ln>
        </p:spPr>
        <p:txBody>
          <a:bodyPr lIns="0" tIns="0" rIns="0" bIns="0"/>
          <a:lstStyle>
            <a:lvl1pPr defTabSz="912813" eaLnBrk="0" hangingPunct="0">
              <a:spcBef>
                <a:spcPct val="20000"/>
              </a:spcBef>
              <a:buFont typeface="Arial" charset="0"/>
              <a:buChar char="•"/>
              <a:defRPr sz="3200">
                <a:solidFill>
                  <a:schemeClr val="tx1"/>
                </a:solidFill>
                <a:latin typeface="Calibri" pitchFamily="34" charset="0"/>
              </a:defRPr>
            </a:lvl1pPr>
            <a:lvl2pPr marL="742950" indent="-285750" defTabSz="912813" eaLnBrk="0" hangingPunct="0">
              <a:spcBef>
                <a:spcPct val="20000"/>
              </a:spcBef>
              <a:buFont typeface="Arial" charset="0"/>
              <a:buChar char="–"/>
              <a:defRPr sz="2800">
                <a:solidFill>
                  <a:schemeClr val="tx1"/>
                </a:solidFill>
                <a:latin typeface="Calibri" pitchFamily="34" charset="0"/>
              </a:defRPr>
            </a:lvl2pPr>
            <a:lvl3pPr marL="1143000" indent="-228600" defTabSz="912813" eaLnBrk="0" hangingPunct="0">
              <a:spcBef>
                <a:spcPct val="20000"/>
              </a:spcBef>
              <a:buFont typeface="Arial" charset="0"/>
              <a:buChar char="•"/>
              <a:defRPr sz="2400">
                <a:solidFill>
                  <a:schemeClr val="tx1"/>
                </a:solidFill>
                <a:latin typeface="Calibri" pitchFamily="34" charset="0"/>
              </a:defRPr>
            </a:lvl3pPr>
            <a:lvl4pPr marL="1600200" indent="-228600" defTabSz="912813" eaLnBrk="0" hangingPunct="0">
              <a:spcBef>
                <a:spcPct val="20000"/>
              </a:spcBef>
              <a:buFont typeface="Arial" charset="0"/>
              <a:buChar char="–"/>
              <a:defRPr sz="2000">
                <a:solidFill>
                  <a:schemeClr val="tx1"/>
                </a:solidFill>
                <a:latin typeface="Calibri" pitchFamily="34" charset="0"/>
              </a:defRPr>
            </a:lvl4pPr>
            <a:lvl5pPr marL="2057400" indent="-228600" defTabSz="912813" eaLnBrk="0" hangingPunct="0">
              <a:spcBef>
                <a:spcPct val="20000"/>
              </a:spcBef>
              <a:buFont typeface="Arial" charset="0"/>
              <a:buChar char="»"/>
              <a:defRPr sz="2000">
                <a:solidFill>
                  <a:schemeClr val="tx1"/>
                </a:solidFill>
                <a:latin typeface="Calibri" pitchFamily="34" charset="0"/>
              </a:defRPr>
            </a:lvl5pPr>
            <a:lvl6pPr marL="25146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000">
                <a:latin typeface="Arial" charset="0"/>
                <a:cs typeface="Arial" charset="0"/>
              </a:rPr>
              <a:t>Australlia</a:t>
            </a:r>
          </a:p>
        </p:txBody>
      </p:sp>
      <p:pic>
        <p:nvPicPr>
          <p:cNvPr id="9271" name="Picture 257" descr="University of Tasmania"/>
          <p:cNvPicPr>
            <a:picLocks noChangeAspect="1" noChangeArrowheads="1"/>
          </p:cNvPicPr>
          <p:nvPr>
            <p:custDataLst>
              <p:tags r:id="rId54"/>
            </p:custDataLst>
          </p:nvPr>
        </p:nvPicPr>
        <p:blipFill>
          <a:blip r:embed="rId134">
            <a:extLst>
              <a:ext uri="{28A0092B-C50C-407E-A947-70E740481C1C}">
                <a14:useLocalDpi xmlns:a14="http://schemas.microsoft.com/office/drawing/2010/main" val="0"/>
              </a:ext>
            </a:extLst>
          </a:blip>
          <a:srcRect/>
          <a:stretch>
            <a:fillRect/>
          </a:stretch>
        </p:blipFill>
        <p:spPr bwMode="auto">
          <a:xfrm>
            <a:off x="7829550" y="4837113"/>
            <a:ext cx="508000" cy="528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72" name="Oval 258"/>
          <p:cNvSpPr>
            <a:spLocks noChangeArrowheads="1"/>
          </p:cNvSpPr>
          <p:nvPr>
            <p:custDataLst>
              <p:tags r:id="rId55"/>
            </p:custDataLst>
          </p:nvPr>
        </p:nvSpPr>
        <p:spPr bwMode="auto">
          <a:xfrm>
            <a:off x="7277100" y="3233738"/>
            <a:ext cx="73025" cy="63500"/>
          </a:xfrm>
          <a:prstGeom prst="ellipse">
            <a:avLst/>
          </a:prstGeom>
          <a:solidFill>
            <a:schemeClr val="tx1"/>
          </a:solidFill>
          <a:ln w="9525">
            <a:solidFill>
              <a:schemeClr val="tx1"/>
            </a:solidFill>
            <a:round/>
            <a:headEnd/>
            <a:tailEnd/>
          </a:ln>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endParaRPr lang="de-CH" altLang="en-US" sz="1400">
              <a:latin typeface="Arial" charset="0"/>
              <a:cs typeface="Arial" charset="0"/>
            </a:endParaRPr>
          </a:p>
        </p:txBody>
      </p:sp>
      <p:sp>
        <p:nvSpPr>
          <p:cNvPr id="9273" name="Line 259"/>
          <p:cNvSpPr>
            <a:spLocks noChangeShapeType="1"/>
          </p:cNvSpPr>
          <p:nvPr>
            <p:custDataLst>
              <p:tags r:id="rId56"/>
            </p:custDataLst>
          </p:nvPr>
        </p:nvSpPr>
        <p:spPr bwMode="auto">
          <a:xfrm flipH="1" flipV="1">
            <a:off x="7307263" y="2776538"/>
            <a:ext cx="9525" cy="471487"/>
          </a:xfrm>
          <a:prstGeom prst="line">
            <a:avLst/>
          </a:prstGeom>
          <a:noFill/>
          <a:ln w="9525">
            <a:solidFill>
              <a:schemeClr val="tx1"/>
            </a:solidFill>
            <a:round/>
            <a:headEnd type="none" w="lg" len="lg"/>
            <a:tailEnd type="none" w="lg" len="lg"/>
          </a:ln>
          <a:extLst>
            <a:ext uri="{909E8E84-426E-40dd-AFC4-6F175D3DCCD1}">
              <a14:hiddenFill xmlns:a14="http://schemas.microsoft.com/office/drawing/2010/main">
                <a:noFill/>
              </a14:hiddenFill>
            </a:ext>
          </a:extLst>
        </p:spPr>
        <p:txBody>
          <a:bodyPr wrap="none" tIns="91440" bIns="91440" anchor="ctr"/>
          <a:lstStyle/>
          <a:p>
            <a:endParaRPr lang="en-US"/>
          </a:p>
        </p:txBody>
      </p:sp>
      <p:sp>
        <p:nvSpPr>
          <p:cNvPr id="9274" name="AutoShape 260"/>
          <p:cNvSpPr>
            <a:spLocks noChangeArrowheads="1"/>
          </p:cNvSpPr>
          <p:nvPr>
            <p:custDataLst>
              <p:tags r:id="rId57"/>
            </p:custDataLst>
          </p:nvPr>
        </p:nvSpPr>
        <p:spPr bwMode="auto">
          <a:xfrm>
            <a:off x="5694363" y="1049338"/>
            <a:ext cx="1741487" cy="1916112"/>
          </a:xfrm>
          <a:prstGeom prst="roundRect">
            <a:avLst>
              <a:gd name="adj" fmla="val 16667"/>
            </a:avLst>
          </a:prstGeom>
          <a:solidFill>
            <a:schemeClr val="bg1"/>
          </a:solidFill>
          <a:ln w="9525" algn="ctr">
            <a:solidFill>
              <a:srgbClr val="C0C0C0"/>
            </a:solidFill>
            <a:round/>
            <a:headEnd/>
            <a:tailEnd type="none" w="lg" len="lg"/>
          </a:ln>
        </p:spPr>
        <p:txBody>
          <a:bodyPr lIns="0" tIns="0" rIns="0" bIns="0"/>
          <a:lstStyle>
            <a:lvl1pPr defTabSz="912813" eaLnBrk="0" hangingPunct="0">
              <a:spcBef>
                <a:spcPct val="20000"/>
              </a:spcBef>
              <a:buFont typeface="Arial" charset="0"/>
              <a:buChar char="•"/>
              <a:defRPr sz="3200">
                <a:solidFill>
                  <a:schemeClr val="tx1"/>
                </a:solidFill>
                <a:latin typeface="Calibri" pitchFamily="34" charset="0"/>
              </a:defRPr>
            </a:lvl1pPr>
            <a:lvl2pPr marL="742950" indent="-285750" defTabSz="912813" eaLnBrk="0" hangingPunct="0">
              <a:spcBef>
                <a:spcPct val="20000"/>
              </a:spcBef>
              <a:buFont typeface="Arial" charset="0"/>
              <a:buChar char="–"/>
              <a:defRPr sz="2800">
                <a:solidFill>
                  <a:schemeClr val="tx1"/>
                </a:solidFill>
                <a:latin typeface="Calibri" pitchFamily="34" charset="0"/>
              </a:defRPr>
            </a:lvl2pPr>
            <a:lvl3pPr marL="1143000" indent="-228600" defTabSz="912813" eaLnBrk="0" hangingPunct="0">
              <a:spcBef>
                <a:spcPct val="20000"/>
              </a:spcBef>
              <a:buFont typeface="Arial" charset="0"/>
              <a:buChar char="•"/>
              <a:defRPr sz="2400">
                <a:solidFill>
                  <a:schemeClr val="tx1"/>
                </a:solidFill>
                <a:latin typeface="Calibri" pitchFamily="34" charset="0"/>
              </a:defRPr>
            </a:lvl3pPr>
            <a:lvl4pPr marL="1600200" indent="-228600" defTabSz="912813" eaLnBrk="0" hangingPunct="0">
              <a:spcBef>
                <a:spcPct val="20000"/>
              </a:spcBef>
              <a:buFont typeface="Arial" charset="0"/>
              <a:buChar char="–"/>
              <a:defRPr sz="2000">
                <a:solidFill>
                  <a:schemeClr val="tx1"/>
                </a:solidFill>
                <a:latin typeface="Calibri" pitchFamily="34" charset="0"/>
              </a:defRPr>
            </a:lvl4pPr>
            <a:lvl5pPr marL="2057400" indent="-228600" defTabSz="912813" eaLnBrk="0" hangingPunct="0">
              <a:spcBef>
                <a:spcPct val="20000"/>
              </a:spcBef>
              <a:buFont typeface="Arial" charset="0"/>
              <a:buChar char="»"/>
              <a:defRPr sz="2000">
                <a:solidFill>
                  <a:schemeClr val="tx1"/>
                </a:solidFill>
                <a:latin typeface="Calibri" pitchFamily="34" charset="0"/>
              </a:defRPr>
            </a:lvl5pPr>
            <a:lvl6pPr marL="25146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912813"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000">
                <a:latin typeface="Arial" charset="0"/>
                <a:cs typeface="Arial" charset="0"/>
              </a:rPr>
              <a:t>Asia</a:t>
            </a:r>
          </a:p>
        </p:txBody>
      </p:sp>
      <p:pic>
        <p:nvPicPr>
          <p:cNvPr id="9275" name="Picture 261" descr="Mochida"/>
          <p:cNvPicPr>
            <a:picLocks noChangeAspect="1" noChangeArrowheads="1"/>
          </p:cNvPicPr>
          <p:nvPr>
            <p:custDataLst>
              <p:tags r:id="rId58"/>
            </p:custDataLst>
          </p:nvPr>
        </p:nvPicPr>
        <p:blipFill>
          <a:blip r:embed="rId135">
            <a:extLst>
              <a:ext uri="{28A0092B-C50C-407E-A947-70E740481C1C}">
                <a14:useLocalDpi xmlns:a14="http://schemas.microsoft.com/office/drawing/2010/main" val="0"/>
              </a:ext>
            </a:extLst>
          </a:blip>
          <a:srcRect/>
          <a:stretch>
            <a:fillRect/>
          </a:stretch>
        </p:blipFill>
        <p:spPr bwMode="auto">
          <a:xfrm>
            <a:off x="5730875" y="2043113"/>
            <a:ext cx="1639888" cy="20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76" name="Picture 262" descr="SIBS"/>
          <p:cNvPicPr>
            <a:picLocks noChangeAspect="1" noChangeArrowheads="1"/>
          </p:cNvPicPr>
          <p:nvPr>
            <p:custDataLst>
              <p:tags r:id="rId59"/>
            </p:custDataLst>
          </p:nvPr>
        </p:nvPicPr>
        <p:blipFill>
          <a:blip r:embed="rId136">
            <a:extLst>
              <a:ext uri="{28A0092B-C50C-407E-A947-70E740481C1C}">
                <a14:useLocalDpi xmlns:a14="http://schemas.microsoft.com/office/drawing/2010/main" val="0"/>
              </a:ext>
            </a:extLst>
          </a:blip>
          <a:srcRect/>
          <a:stretch>
            <a:fillRect/>
          </a:stretch>
        </p:blipFill>
        <p:spPr bwMode="auto">
          <a:xfrm>
            <a:off x="5705475" y="2268538"/>
            <a:ext cx="7143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77" name="Picture 263" descr="SHJTU"/>
          <p:cNvPicPr>
            <a:picLocks noChangeAspect="1" noChangeArrowheads="1"/>
          </p:cNvPicPr>
          <p:nvPr>
            <p:custDataLst>
              <p:tags r:id="rId60"/>
            </p:custDataLst>
          </p:nvPr>
        </p:nvPicPr>
        <p:blipFill>
          <a:blip r:embed="rId137">
            <a:extLst>
              <a:ext uri="{28A0092B-C50C-407E-A947-70E740481C1C}">
                <a14:useLocalDpi xmlns:a14="http://schemas.microsoft.com/office/drawing/2010/main" val="0"/>
              </a:ext>
            </a:extLst>
          </a:blip>
          <a:srcRect/>
          <a:stretch>
            <a:fillRect/>
          </a:stretch>
        </p:blipFill>
        <p:spPr bwMode="auto">
          <a:xfrm>
            <a:off x="5716588" y="1611313"/>
            <a:ext cx="1657350"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78" name="Picture 264" descr="Biocon"/>
          <p:cNvPicPr>
            <a:picLocks noChangeAspect="1" noChangeArrowheads="1"/>
          </p:cNvPicPr>
          <p:nvPr>
            <p:custDataLst>
              <p:tags r:id="rId61"/>
            </p:custDataLst>
          </p:nvPr>
        </p:nvPicPr>
        <p:blipFill>
          <a:blip r:embed="rId138">
            <a:extLst>
              <a:ext uri="{28A0092B-C50C-407E-A947-70E740481C1C}">
                <a14:useLocalDpi xmlns:a14="http://schemas.microsoft.com/office/drawing/2010/main" val="0"/>
              </a:ext>
            </a:extLst>
          </a:blip>
          <a:srcRect/>
          <a:stretch>
            <a:fillRect/>
          </a:stretch>
        </p:blipFill>
        <p:spPr bwMode="auto">
          <a:xfrm>
            <a:off x="6611938" y="2314575"/>
            <a:ext cx="6016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79" name="Picture 265" descr="China logo"/>
          <p:cNvPicPr>
            <a:picLocks noChangeAspect="1" noChangeArrowheads="1"/>
          </p:cNvPicPr>
          <p:nvPr>
            <p:custDataLst>
              <p:tags r:id="rId62"/>
            </p:custDataLst>
          </p:nvPr>
        </p:nvPicPr>
        <p:blipFill>
          <a:blip r:embed="rId139">
            <a:extLst>
              <a:ext uri="{28A0092B-C50C-407E-A947-70E740481C1C}">
                <a14:useLocalDpi xmlns:a14="http://schemas.microsoft.com/office/drawing/2010/main" val="0"/>
              </a:ext>
            </a:extLst>
          </a:blip>
          <a:srcRect/>
          <a:stretch>
            <a:fillRect/>
          </a:stretch>
        </p:blipFill>
        <p:spPr bwMode="auto">
          <a:xfrm>
            <a:off x="5857875" y="1160463"/>
            <a:ext cx="366713"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80" name="Picture 266" descr="China logo 2"/>
          <p:cNvPicPr>
            <a:picLocks noChangeAspect="1" noChangeArrowheads="1"/>
          </p:cNvPicPr>
          <p:nvPr>
            <p:custDataLst>
              <p:tags r:id="rId63"/>
            </p:custDataLst>
          </p:nvPr>
        </p:nvPicPr>
        <p:blipFill>
          <a:blip r:embed="rId140">
            <a:extLst>
              <a:ext uri="{28A0092B-C50C-407E-A947-70E740481C1C}">
                <a14:useLocalDpi xmlns:a14="http://schemas.microsoft.com/office/drawing/2010/main" val="0"/>
              </a:ext>
            </a:extLst>
          </a:blip>
          <a:srcRect/>
          <a:stretch>
            <a:fillRect/>
          </a:stretch>
        </p:blipFill>
        <p:spPr bwMode="auto">
          <a:xfrm>
            <a:off x="6904038" y="1146175"/>
            <a:ext cx="4413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81" name="Picture 267" descr="Kribb"/>
          <p:cNvPicPr>
            <a:picLocks noChangeAspect="1" noChangeArrowheads="1"/>
          </p:cNvPicPr>
          <p:nvPr>
            <p:custDataLst>
              <p:tags r:id="rId64"/>
            </p:custDataLst>
          </p:nvPr>
        </p:nvPicPr>
        <p:blipFill>
          <a:blip r:embed="rId141">
            <a:extLst>
              <a:ext uri="{28A0092B-C50C-407E-A947-70E740481C1C}">
                <a14:useLocalDpi xmlns:a14="http://schemas.microsoft.com/office/drawing/2010/main" val="0"/>
              </a:ext>
            </a:extLst>
          </a:blip>
          <a:srcRect/>
          <a:stretch>
            <a:fillRect/>
          </a:stretch>
        </p:blipFill>
        <p:spPr bwMode="auto">
          <a:xfrm>
            <a:off x="5805488" y="2630488"/>
            <a:ext cx="1541462"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82" name="Picture 269" descr="Crown Bio"/>
          <p:cNvPicPr>
            <a:picLocks noChangeAspect="1" noChangeArrowheads="1"/>
          </p:cNvPicPr>
          <p:nvPr/>
        </p:nvPicPr>
        <p:blipFill>
          <a:blip r:embed="rId142">
            <a:extLst>
              <a:ext uri="{28A0092B-C50C-407E-A947-70E740481C1C}">
                <a14:useLocalDpi xmlns:a14="http://schemas.microsoft.com/office/drawing/2010/main" val="0"/>
              </a:ext>
            </a:extLst>
          </a:blip>
          <a:srcRect/>
          <a:stretch>
            <a:fillRect/>
          </a:stretch>
        </p:blipFill>
        <p:spPr bwMode="auto">
          <a:xfrm>
            <a:off x="6262688" y="1331913"/>
            <a:ext cx="608012"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83" name="Picture 270"/>
          <p:cNvPicPr>
            <a:picLocks noChangeAspect="1" noChangeArrowheads="1"/>
          </p:cNvPicPr>
          <p:nvPr/>
        </p:nvPicPr>
        <p:blipFill>
          <a:blip r:embed="rId143">
            <a:extLst>
              <a:ext uri="{28A0092B-C50C-407E-A947-70E740481C1C}">
                <a14:useLocalDpi xmlns:a14="http://schemas.microsoft.com/office/drawing/2010/main" val="0"/>
              </a:ext>
            </a:extLst>
          </a:blip>
          <a:srcRect t="11792" r="78242" b="77396"/>
          <a:stretch>
            <a:fillRect/>
          </a:stretch>
        </p:blipFill>
        <p:spPr bwMode="auto">
          <a:xfrm>
            <a:off x="3773488" y="4584700"/>
            <a:ext cx="593725"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pic>
      <p:cxnSp>
        <p:nvCxnSpPr>
          <p:cNvPr id="9284" name="AutoShape 193"/>
          <p:cNvCxnSpPr>
            <a:cxnSpLocks noChangeShapeType="1"/>
            <a:stCxn id="9264" idx="2"/>
            <a:endCxn id="9263" idx="0"/>
          </p:cNvCxnSpPr>
          <p:nvPr>
            <p:custDataLst>
              <p:tags r:id="rId65"/>
            </p:custDataLst>
          </p:nvPr>
        </p:nvCxnSpPr>
        <p:spPr bwMode="gray">
          <a:xfrm rot="16200000" flipH="1">
            <a:off x="1569243" y="2412207"/>
            <a:ext cx="811213" cy="711200"/>
          </a:xfrm>
          <a:prstGeom prst="bentConnector3">
            <a:avLst>
              <a:gd name="adj1" fmla="val 49903"/>
            </a:avLst>
          </a:prstGeom>
          <a:noFill/>
          <a:ln w="9525">
            <a:solidFill>
              <a:schemeClr val="tx1"/>
            </a:solidFill>
            <a:miter lim="800000"/>
            <a:headEnd type="none" w="lg" len="lg"/>
            <a:tailEnd type="none" w="lg" len="lg"/>
          </a:ln>
          <a:extLst>
            <a:ext uri="{909E8E84-426E-40dd-AFC4-6F175D3DCCD1}">
              <a14:hiddenFill xmlns:a14="http://schemas.microsoft.com/office/drawing/2010/main">
                <a:noFill/>
              </a14:hiddenFill>
            </a:ext>
          </a:extLst>
        </p:spPr>
      </p:cxnSp>
      <p:sp>
        <p:nvSpPr>
          <p:cNvPr id="266" name="Rectangle 274"/>
          <p:cNvSpPr txBox="1">
            <a:spLocks noChangeArrowheads="1"/>
          </p:cNvSpPr>
          <p:nvPr/>
        </p:nvSpPr>
        <p:spPr>
          <a:xfrm>
            <a:off x="152400" y="165100"/>
            <a:ext cx="5715000" cy="676275"/>
          </a:xfrm>
          <a:prstGeom prst="rect">
            <a:avLst/>
          </a:prstGeom>
        </p:spPr>
        <p:txBody>
          <a:bodyPr/>
          <a:lstStyle/>
          <a:p>
            <a:pPr>
              <a:defRPr/>
            </a:pPr>
            <a:r>
              <a:rPr lang="en-US" sz="2400" dirty="0">
                <a:solidFill>
                  <a:schemeClr val="bg1"/>
                </a:solidFill>
                <a:latin typeface="Arial" pitchFamily="34" charset="0"/>
                <a:ea typeface="+mj-ea"/>
                <a:cs typeface="Arial" pitchFamily="34" charset="0"/>
              </a:rPr>
              <a:t>Collaborate with the Best Talent around the Globe </a:t>
            </a:r>
          </a:p>
        </p:txBody>
      </p:sp>
    </p:spTree>
    <p:extLst>
      <p:ext uri="{BB962C8B-B14F-4D97-AF65-F5344CB8AC3E}">
        <p14:creationId xmlns:p14="http://schemas.microsoft.com/office/powerpoint/2010/main" val="19245588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29"/>
          <p:cNvSpPr/>
          <p:nvPr/>
        </p:nvSpPr>
        <p:spPr bwMode="auto">
          <a:xfrm>
            <a:off x="2901950" y="1739900"/>
            <a:ext cx="5797550" cy="1852613"/>
          </a:xfrm>
          <a:custGeom>
            <a:avLst/>
            <a:gdLst>
              <a:gd name="connsiteX0" fmla="*/ 0 w 3425371"/>
              <a:gd name="connsiteY0" fmla="*/ 1146629 h 1146629"/>
              <a:gd name="connsiteX1" fmla="*/ 1161143 w 3425371"/>
              <a:gd name="connsiteY1" fmla="*/ 333829 h 1146629"/>
              <a:gd name="connsiteX2" fmla="*/ 3425371 w 3425371"/>
              <a:gd name="connsiteY2" fmla="*/ 0 h 1146629"/>
              <a:gd name="connsiteX0" fmla="*/ 0 w 3425371"/>
              <a:gd name="connsiteY0" fmla="*/ 1146629 h 1146629"/>
              <a:gd name="connsiteX1" fmla="*/ 1161143 w 3425371"/>
              <a:gd name="connsiteY1" fmla="*/ 333829 h 1146629"/>
              <a:gd name="connsiteX2" fmla="*/ 3425371 w 3425371"/>
              <a:gd name="connsiteY2" fmla="*/ 0 h 1146629"/>
              <a:gd name="connsiteX0" fmla="*/ 0 w 3425371"/>
              <a:gd name="connsiteY0" fmla="*/ 1146629 h 1146629"/>
              <a:gd name="connsiteX1" fmla="*/ 1161143 w 3425371"/>
              <a:gd name="connsiteY1" fmla="*/ 333829 h 1146629"/>
              <a:gd name="connsiteX2" fmla="*/ 3425371 w 3425371"/>
              <a:gd name="connsiteY2" fmla="*/ 0 h 1146629"/>
              <a:gd name="connsiteX0" fmla="*/ 498324 w 3923695"/>
              <a:gd name="connsiteY0" fmla="*/ 1146629 h 1267582"/>
              <a:gd name="connsiteX1" fmla="*/ 193524 w 3923695"/>
              <a:gd name="connsiteY1" fmla="*/ 1132115 h 1267582"/>
              <a:gd name="connsiteX2" fmla="*/ 1659467 w 3923695"/>
              <a:gd name="connsiteY2" fmla="*/ 333829 h 1267582"/>
              <a:gd name="connsiteX3" fmla="*/ 3923695 w 3923695"/>
              <a:gd name="connsiteY3" fmla="*/ 0 h 1267582"/>
              <a:gd name="connsiteX0" fmla="*/ 498324 w 3923695"/>
              <a:gd name="connsiteY0" fmla="*/ 1146629 h 1267582"/>
              <a:gd name="connsiteX1" fmla="*/ 193524 w 3923695"/>
              <a:gd name="connsiteY1" fmla="*/ 1132115 h 1267582"/>
              <a:gd name="connsiteX2" fmla="*/ 1659467 w 3923695"/>
              <a:gd name="connsiteY2" fmla="*/ 333829 h 1267582"/>
              <a:gd name="connsiteX3" fmla="*/ 3923695 w 3923695"/>
              <a:gd name="connsiteY3" fmla="*/ 0 h 1267582"/>
              <a:gd name="connsiteX0" fmla="*/ 193524 w 3618895"/>
              <a:gd name="connsiteY0" fmla="*/ 1146629 h 1209525"/>
              <a:gd name="connsiteX1" fmla="*/ 193524 w 3618895"/>
              <a:gd name="connsiteY1" fmla="*/ 1074058 h 1209525"/>
              <a:gd name="connsiteX2" fmla="*/ 1354667 w 3618895"/>
              <a:gd name="connsiteY2" fmla="*/ 333829 h 1209525"/>
              <a:gd name="connsiteX3" fmla="*/ 3618895 w 3618895"/>
              <a:gd name="connsiteY3" fmla="*/ 0 h 1209525"/>
              <a:gd name="connsiteX0" fmla="*/ 193524 w 3618895"/>
              <a:gd name="connsiteY0" fmla="*/ 1146629 h 1209525"/>
              <a:gd name="connsiteX1" fmla="*/ 193524 w 3618895"/>
              <a:gd name="connsiteY1" fmla="*/ 1074058 h 1209525"/>
              <a:gd name="connsiteX2" fmla="*/ 1354667 w 3618895"/>
              <a:gd name="connsiteY2" fmla="*/ 333829 h 1209525"/>
              <a:gd name="connsiteX3" fmla="*/ 3618895 w 3618895"/>
              <a:gd name="connsiteY3" fmla="*/ 0 h 1209525"/>
              <a:gd name="connsiteX0" fmla="*/ 193524 w 3618895"/>
              <a:gd name="connsiteY0" fmla="*/ 1146629 h 1209525"/>
              <a:gd name="connsiteX1" fmla="*/ 193524 w 3618895"/>
              <a:gd name="connsiteY1" fmla="*/ 1074058 h 1209525"/>
              <a:gd name="connsiteX2" fmla="*/ 1354667 w 3618895"/>
              <a:gd name="connsiteY2" fmla="*/ 333829 h 1209525"/>
              <a:gd name="connsiteX3" fmla="*/ 3618895 w 3618895"/>
              <a:gd name="connsiteY3" fmla="*/ 0 h 1209525"/>
              <a:gd name="connsiteX0" fmla="*/ 0 w 3425371"/>
              <a:gd name="connsiteY0" fmla="*/ 1074058 h 1074058"/>
              <a:gd name="connsiteX1" fmla="*/ 1161143 w 3425371"/>
              <a:gd name="connsiteY1" fmla="*/ 333829 h 1074058"/>
              <a:gd name="connsiteX2" fmla="*/ 3425371 w 3425371"/>
              <a:gd name="connsiteY2" fmla="*/ 0 h 1074058"/>
              <a:gd name="connsiteX0" fmla="*/ 0 w 3425371"/>
              <a:gd name="connsiteY0" fmla="*/ 1074058 h 1074058"/>
              <a:gd name="connsiteX1" fmla="*/ 3425371 w 3425371"/>
              <a:gd name="connsiteY1" fmla="*/ 0 h 1074058"/>
              <a:gd name="connsiteX0" fmla="*/ 0 w 3425371"/>
              <a:gd name="connsiteY0" fmla="*/ 1074058 h 1074058"/>
              <a:gd name="connsiteX1" fmla="*/ 3425371 w 3425371"/>
              <a:gd name="connsiteY1" fmla="*/ 0 h 1074058"/>
              <a:gd name="connsiteX0" fmla="*/ 0 w 3425371"/>
              <a:gd name="connsiteY0" fmla="*/ 1074058 h 1074058"/>
              <a:gd name="connsiteX1" fmla="*/ 3425371 w 3425371"/>
              <a:gd name="connsiteY1" fmla="*/ 0 h 1074058"/>
              <a:gd name="connsiteX0" fmla="*/ 0 w 3420389"/>
              <a:gd name="connsiteY0" fmla="*/ 2079773 h 2079773"/>
              <a:gd name="connsiteX1" fmla="*/ 3420389 w 3420389"/>
              <a:gd name="connsiteY1" fmla="*/ 0 h 2079773"/>
              <a:gd name="connsiteX0" fmla="*/ 0 w 3420389"/>
              <a:gd name="connsiteY0" fmla="*/ 2079773 h 2079773"/>
              <a:gd name="connsiteX1" fmla="*/ 3420389 w 3420389"/>
              <a:gd name="connsiteY1" fmla="*/ 0 h 2079773"/>
              <a:gd name="connsiteX0" fmla="*/ 0 w 3435335"/>
              <a:gd name="connsiteY0" fmla="*/ 3085488 h 3085488"/>
              <a:gd name="connsiteX1" fmla="*/ 3435335 w 3435335"/>
              <a:gd name="connsiteY1" fmla="*/ 0 h 3085488"/>
              <a:gd name="connsiteX0" fmla="*/ 167973 w 3603308"/>
              <a:gd name="connsiteY0" fmla="*/ 3085488 h 3085488"/>
              <a:gd name="connsiteX1" fmla="*/ 3603308 w 3603308"/>
              <a:gd name="connsiteY1" fmla="*/ 0 h 3085488"/>
              <a:gd name="connsiteX0" fmla="*/ 160682 w 3603308"/>
              <a:gd name="connsiteY0" fmla="*/ 3883740 h 3883740"/>
              <a:gd name="connsiteX1" fmla="*/ 3603308 w 3603308"/>
              <a:gd name="connsiteY1" fmla="*/ 0 h 3883740"/>
              <a:gd name="connsiteX0" fmla="*/ 167972 w 3603308"/>
              <a:gd name="connsiteY0" fmla="*/ 5131009 h 5131009"/>
              <a:gd name="connsiteX1" fmla="*/ 3603308 w 3603308"/>
              <a:gd name="connsiteY1" fmla="*/ 0 h 5131009"/>
              <a:gd name="connsiteX0" fmla="*/ 167972 w 3603308"/>
              <a:gd name="connsiteY0" fmla="*/ 5131009 h 5131009"/>
              <a:gd name="connsiteX1" fmla="*/ 3603308 w 3603308"/>
              <a:gd name="connsiteY1" fmla="*/ 0 h 5131009"/>
              <a:gd name="connsiteX0" fmla="*/ 0 w 3435336"/>
              <a:gd name="connsiteY0" fmla="*/ 5131009 h 5131009"/>
              <a:gd name="connsiteX1" fmla="*/ 3435336 w 3435336"/>
              <a:gd name="connsiteY1" fmla="*/ 0 h 5131009"/>
              <a:gd name="connsiteX0" fmla="*/ 5103 w 3440439"/>
              <a:gd name="connsiteY0" fmla="*/ 5131009 h 5131009"/>
              <a:gd name="connsiteX1" fmla="*/ 0 w 3440439"/>
              <a:gd name="connsiteY1" fmla="*/ 5068030 h 5131009"/>
              <a:gd name="connsiteX2" fmla="*/ 3440439 w 3440439"/>
              <a:gd name="connsiteY2" fmla="*/ 0 h 5131009"/>
              <a:gd name="connsiteX0" fmla="*/ 5103 w 3440439"/>
              <a:gd name="connsiteY0" fmla="*/ 5131009 h 5131009"/>
              <a:gd name="connsiteX1" fmla="*/ 0 w 3440439"/>
              <a:gd name="connsiteY1" fmla="*/ 5068030 h 5131009"/>
              <a:gd name="connsiteX2" fmla="*/ 3440439 w 3440439"/>
              <a:gd name="connsiteY2" fmla="*/ 0 h 5131009"/>
              <a:gd name="connsiteX0" fmla="*/ 56137 w 3491473"/>
              <a:gd name="connsiteY0" fmla="*/ 5131009 h 5131009"/>
              <a:gd name="connsiteX1" fmla="*/ 0 w 3491473"/>
              <a:gd name="connsiteY1" fmla="*/ 4319670 h 5131009"/>
              <a:gd name="connsiteX2" fmla="*/ 3491473 w 3491473"/>
              <a:gd name="connsiteY2" fmla="*/ 0 h 5131009"/>
              <a:gd name="connsiteX0" fmla="*/ 12394 w 3491473"/>
              <a:gd name="connsiteY0" fmla="*/ 4307812 h 4319670"/>
              <a:gd name="connsiteX1" fmla="*/ 0 w 3491473"/>
              <a:gd name="connsiteY1" fmla="*/ 4319670 h 4319670"/>
              <a:gd name="connsiteX2" fmla="*/ 3491473 w 3491473"/>
              <a:gd name="connsiteY2" fmla="*/ 0 h 4319670"/>
              <a:gd name="connsiteX0" fmla="*/ 12394 w 3790383"/>
              <a:gd name="connsiteY0" fmla="*/ 4133196 h 4145054"/>
              <a:gd name="connsiteX1" fmla="*/ 0 w 3790383"/>
              <a:gd name="connsiteY1" fmla="*/ 4145054 h 4145054"/>
              <a:gd name="connsiteX2" fmla="*/ 3790383 w 3790383"/>
              <a:gd name="connsiteY2" fmla="*/ 0 h 4145054"/>
              <a:gd name="connsiteX0" fmla="*/ 12394 w 3790383"/>
              <a:gd name="connsiteY0" fmla="*/ 4133196 h 4145054"/>
              <a:gd name="connsiteX1" fmla="*/ 0 w 3790383"/>
              <a:gd name="connsiteY1" fmla="*/ 4145054 h 4145054"/>
              <a:gd name="connsiteX2" fmla="*/ 3790383 w 3790383"/>
              <a:gd name="connsiteY2" fmla="*/ 0 h 4145054"/>
            </a:gdLst>
            <a:ahLst/>
            <a:cxnLst>
              <a:cxn ang="0">
                <a:pos x="connsiteX0" y="connsiteY0"/>
              </a:cxn>
              <a:cxn ang="0">
                <a:pos x="connsiteX1" y="connsiteY1"/>
              </a:cxn>
              <a:cxn ang="0">
                <a:pos x="connsiteX2" y="connsiteY2"/>
              </a:cxn>
            </a:cxnLst>
            <a:rect l="l" t="t" r="r" b="b"/>
            <a:pathLst>
              <a:path w="3790383" h="4145054">
                <a:moveTo>
                  <a:pt x="12394" y="4133196"/>
                </a:moveTo>
                <a:lnTo>
                  <a:pt x="0" y="4145054"/>
                </a:lnTo>
                <a:cubicBezTo>
                  <a:pt x="147723" y="3547415"/>
                  <a:pt x="289142" y="272461"/>
                  <a:pt x="3790383" y="0"/>
                </a:cubicBezTo>
              </a:path>
            </a:pathLst>
          </a:custGeom>
          <a:noFill/>
          <a:ln w="28575" cap="flat" cmpd="sng" algn="ctr">
            <a:solidFill>
              <a:schemeClr val="accent2">
                <a:lumMod val="20000"/>
                <a:lumOff val="80000"/>
              </a:schemeClr>
            </a:solidFill>
            <a:prstDash val="solid"/>
            <a:round/>
            <a:headEnd type="none" w="med" len="med"/>
            <a:tailEnd type="none" w="med" len="med"/>
          </a:ln>
          <a:effectLst/>
        </p:spPr>
        <p:txBody>
          <a:bodyPr anchor="ctr">
            <a:spAutoFit/>
          </a:bodyPr>
          <a:lstStyle/>
          <a:p>
            <a:pPr algn="ctr">
              <a:lnSpc>
                <a:spcPct val="90000"/>
              </a:lnSpc>
              <a:spcBef>
                <a:spcPct val="50000"/>
              </a:spcBef>
              <a:defRPr/>
            </a:pPr>
            <a:endParaRPr lang="en-US" dirty="0">
              <a:latin typeface="Arial" charset="0"/>
              <a:cs typeface="+mn-cs"/>
            </a:endParaRPr>
          </a:p>
        </p:txBody>
      </p:sp>
      <p:sp>
        <p:nvSpPr>
          <p:cNvPr id="38915" name="Rectangle 19"/>
          <p:cNvSpPr>
            <a:spLocks noChangeArrowheads="1"/>
          </p:cNvSpPr>
          <p:nvPr/>
        </p:nvSpPr>
        <p:spPr bwMode="white">
          <a:xfrm>
            <a:off x="7059613" y="5632450"/>
            <a:ext cx="2084387" cy="1225550"/>
          </a:xfrm>
          <a:prstGeom prst="rect">
            <a:avLst/>
          </a:prstGeom>
          <a:solidFill>
            <a:srgbClr val="FFFFFF"/>
          </a:solidFill>
          <a:ln>
            <a:noFill/>
          </a:ln>
          <a:extLst>
            <a:ext uri="{91240B29-F687-4f45-9708-019B960494DF}">
              <a14:hiddenLine xmlns:a14="http://schemas.microsoft.com/office/drawing/2010/main" w="28575" algn="ctr">
                <a:solidFill>
                  <a:srgbClr val="000000"/>
                </a:solidFill>
                <a:miter lim="800000"/>
                <a:headEnd/>
                <a:tailEnd/>
              </a14:hiddenLine>
            </a:ext>
          </a:extLst>
        </p:spPr>
        <p:txBody>
          <a:bodyPr lIns="0" tIns="0" rIns="0" bIns="0" anchor="ctr">
            <a:spAutoFit/>
          </a:bodyPr>
          <a:lstStyle>
            <a:lvl1pPr eaLnBrk="0" hangingPunct="0">
              <a:lnSpc>
                <a:spcPct val="95000"/>
              </a:lnSpc>
              <a:spcBef>
                <a:spcPct val="60000"/>
              </a:spcBef>
              <a:buClr>
                <a:schemeClr val="accent2"/>
              </a:buClr>
              <a:buSzPct val="85000"/>
              <a:buFont typeface="Arial" pitchFamily="34" charset="0"/>
              <a:buChar char="●"/>
              <a:defRPr sz="2800">
                <a:solidFill>
                  <a:schemeClr val="tx1"/>
                </a:solidFill>
                <a:latin typeface="Arial" pitchFamily="34" charset="0"/>
              </a:defRPr>
            </a:lvl1pPr>
            <a:lvl2pPr marL="742950" indent="-285750" eaLnBrk="0" hangingPunct="0">
              <a:lnSpc>
                <a:spcPct val="95000"/>
              </a:lnSpc>
              <a:spcBef>
                <a:spcPct val="20000"/>
              </a:spcBef>
              <a:buClr>
                <a:schemeClr val="tx1"/>
              </a:buClr>
              <a:buFont typeface="Arial" pitchFamily="34" charset="0"/>
              <a:buChar char="–"/>
              <a:defRPr sz="2400">
                <a:solidFill>
                  <a:schemeClr val="tx1"/>
                </a:solidFill>
                <a:latin typeface="Arial" pitchFamily="34" charset="0"/>
              </a:defRPr>
            </a:lvl2pPr>
            <a:lvl3pPr marL="1143000" indent="-228600" eaLnBrk="0" hangingPunct="0">
              <a:lnSpc>
                <a:spcPct val="95000"/>
              </a:lnSpc>
              <a:spcBef>
                <a:spcPct val="20000"/>
              </a:spcBef>
              <a:buClr>
                <a:schemeClr val="accent2"/>
              </a:buClr>
              <a:buSzPct val="85000"/>
              <a:buFont typeface="Arial" pitchFamily="34" charset="0"/>
              <a:buChar char="●"/>
              <a:defRPr sz="2000">
                <a:solidFill>
                  <a:schemeClr val="tx1"/>
                </a:solidFill>
                <a:latin typeface="Arial" pitchFamily="34" charset="0"/>
              </a:defRPr>
            </a:lvl3pPr>
            <a:lvl4pPr marL="1600200" indent="-228600" eaLnBrk="0" hangingPunct="0">
              <a:lnSpc>
                <a:spcPct val="95000"/>
              </a:lnSpc>
              <a:spcBef>
                <a:spcPct val="20000"/>
              </a:spcBef>
              <a:buClr>
                <a:schemeClr val="tx1"/>
              </a:buClr>
              <a:buFont typeface="Arial" pitchFamily="34" charset="0"/>
              <a:buChar char="–"/>
              <a:defRPr sz="2000">
                <a:solidFill>
                  <a:schemeClr val="tx1"/>
                </a:solidFill>
                <a:latin typeface="Arial" pitchFamily="34" charset="0"/>
              </a:defRPr>
            </a:lvl4pPr>
            <a:lvl5pPr marL="2057400" indent="-228600" eaLnBrk="0" hangingPunct="0">
              <a:lnSpc>
                <a:spcPct val="95000"/>
              </a:lnSpc>
              <a:spcBef>
                <a:spcPct val="20000"/>
              </a:spcBef>
              <a:buClr>
                <a:schemeClr val="accent2"/>
              </a:buClr>
              <a:buSzPct val="85000"/>
              <a:buFont typeface="Arial" pitchFamily="34" charset="0"/>
              <a:buChar char="●"/>
              <a:defRPr sz="2000">
                <a:solidFill>
                  <a:schemeClr val="tx1"/>
                </a:solidFill>
                <a:latin typeface="Arial" pitchFamily="34" charset="0"/>
              </a:defRPr>
            </a:lvl5pPr>
            <a:lvl6pPr marL="2514600" indent="-228600" eaLnBrk="0" fontAlgn="base" hangingPunct="0">
              <a:lnSpc>
                <a:spcPct val="95000"/>
              </a:lnSpc>
              <a:spcBef>
                <a:spcPct val="20000"/>
              </a:spcBef>
              <a:spcAft>
                <a:spcPct val="0"/>
              </a:spcAft>
              <a:buClr>
                <a:schemeClr val="accent2"/>
              </a:buClr>
              <a:buSzPct val="85000"/>
              <a:buFont typeface="Arial" pitchFamily="34" charset="0"/>
              <a:buChar char="●"/>
              <a:defRPr sz="2000">
                <a:solidFill>
                  <a:schemeClr val="tx1"/>
                </a:solidFill>
                <a:latin typeface="Arial" pitchFamily="34" charset="0"/>
              </a:defRPr>
            </a:lvl6pPr>
            <a:lvl7pPr marL="2971800" indent="-228600" eaLnBrk="0" fontAlgn="base" hangingPunct="0">
              <a:lnSpc>
                <a:spcPct val="95000"/>
              </a:lnSpc>
              <a:spcBef>
                <a:spcPct val="20000"/>
              </a:spcBef>
              <a:spcAft>
                <a:spcPct val="0"/>
              </a:spcAft>
              <a:buClr>
                <a:schemeClr val="accent2"/>
              </a:buClr>
              <a:buSzPct val="85000"/>
              <a:buFont typeface="Arial" pitchFamily="34" charset="0"/>
              <a:buChar char="●"/>
              <a:defRPr sz="2000">
                <a:solidFill>
                  <a:schemeClr val="tx1"/>
                </a:solidFill>
                <a:latin typeface="Arial" pitchFamily="34" charset="0"/>
              </a:defRPr>
            </a:lvl7pPr>
            <a:lvl8pPr marL="3429000" indent="-228600" eaLnBrk="0" fontAlgn="base" hangingPunct="0">
              <a:lnSpc>
                <a:spcPct val="95000"/>
              </a:lnSpc>
              <a:spcBef>
                <a:spcPct val="20000"/>
              </a:spcBef>
              <a:spcAft>
                <a:spcPct val="0"/>
              </a:spcAft>
              <a:buClr>
                <a:schemeClr val="accent2"/>
              </a:buClr>
              <a:buSzPct val="85000"/>
              <a:buFont typeface="Arial" pitchFamily="34" charset="0"/>
              <a:buChar char="●"/>
              <a:defRPr sz="2000">
                <a:solidFill>
                  <a:schemeClr val="tx1"/>
                </a:solidFill>
                <a:latin typeface="Arial" pitchFamily="34" charset="0"/>
              </a:defRPr>
            </a:lvl8pPr>
            <a:lvl9pPr marL="3886200" indent="-228600" eaLnBrk="0" fontAlgn="base" hangingPunct="0">
              <a:lnSpc>
                <a:spcPct val="95000"/>
              </a:lnSpc>
              <a:spcBef>
                <a:spcPct val="20000"/>
              </a:spcBef>
              <a:spcAft>
                <a:spcPct val="0"/>
              </a:spcAft>
              <a:buClr>
                <a:schemeClr val="accent2"/>
              </a:buClr>
              <a:buSzPct val="85000"/>
              <a:buFont typeface="Arial" pitchFamily="34" charset="0"/>
              <a:buChar char="●"/>
              <a:defRPr sz="2000">
                <a:solidFill>
                  <a:schemeClr val="tx1"/>
                </a:solidFill>
                <a:latin typeface="Arial" pitchFamily="34" charset="0"/>
              </a:defRPr>
            </a:lvl9pPr>
          </a:lstStyle>
          <a:p>
            <a:pPr algn="ctr" eaLnBrk="1" hangingPunct="1">
              <a:lnSpc>
                <a:spcPct val="90000"/>
              </a:lnSpc>
              <a:spcBef>
                <a:spcPct val="50000"/>
              </a:spcBef>
              <a:buClrTx/>
              <a:buSzTx/>
              <a:buFontTx/>
              <a:buNone/>
            </a:pPr>
            <a:endParaRPr lang="en-US" altLang="en-US"/>
          </a:p>
        </p:txBody>
      </p:sp>
      <p:sp>
        <p:nvSpPr>
          <p:cNvPr id="31" name="Freeform 30"/>
          <p:cNvSpPr/>
          <p:nvPr/>
        </p:nvSpPr>
        <p:spPr bwMode="auto">
          <a:xfrm>
            <a:off x="455613" y="4076700"/>
            <a:ext cx="5830887" cy="2344738"/>
          </a:xfrm>
          <a:custGeom>
            <a:avLst/>
            <a:gdLst>
              <a:gd name="connsiteX0" fmla="*/ 0 w 3425371"/>
              <a:gd name="connsiteY0" fmla="*/ 1146629 h 1146629"/>
              <a:gd name="connsiteX1" fmla="*/ 1161143 w 3425371"/>
              <a:gd name="connsiteY1" fmla="*/ 333829 h 1146629"/>
              <a:gd name="connsiteX2" fmla="*/ 3425371 w 3425371"/>
              <a:gd name="connsiteY2" fmla="*/ 0 h 1146629"/>
              <a:gd name="connsiteX0" fmla="*/ 0 w 3425371"/>
              <a:gd name="connsiteY0" fmla="*/ 1146629 h 1146629"/>
              <a:gd name="connsiteX1" fmla="*/ 1161143 w 3425371"/>
              <a:gd name="connsiteY1" fmla="*/ 333829 h 1146629"/>
              <a:gd name="connsiteX2" fmla="*/ 3425371 w 3425371"/>
              <a:gd name="connsiteY2" fmla="*/ 0 h 1146629"/>
              <a:gd name="connsiteX0" fmla="*/ 0 w 3425371"/>
              <a:gd name="connsiteY0" fmla="*/ 1146629 h 1146629"/>
              <a:gd name="connsiteX1" fmla="*/ 1161143 w 3425371"/>
              <a:gd name="connsiteY1" fmla="*/ 333829 h 1146629"/>
              <a:gd name="connsiteX2" fmla="*/ 3425371 w 3425371"/>
              <a:gd name="connsiteY2" fmla="*/ 0 h 1146629"/>
              <a:gd name="connsiteX0" fmla="*/ 498324 w 3923695"/>
              <a:gd name="connsiteY0" fmla="*/ 1146629 h 1267582"/>
              <a:gd name="connsiteX1" fmla="*/ 193524 w 3923695"/>
              <a:gd name="connsiteY1" fmla="*/ 1132115 h 1267582"/>
              <a:gd name="connsiteX2" fmla="*/ 1659467 w 3923695"/>
              <a:gd name="connsiteY2" fmla="*/ 333829 h 1267582"/>
              <a:gd name="connsiteX3" fmla="*/ 3923695 w 3923695"/>
              <a:gd name="connsiteY3" fmla="*/ 0 h 1267582"/>
              <a:gd name="connsiteX0" fmla="*/ 498324 w 3923695"/>
              <a:gd name="connsiteY0" fmla="*/ 1146629 h 1267582"/>
              <a:gd name="connsiteX1" fmla="*/ 193524 w 3923695"/>
              <a:gd name="connsiteY1" fmla="*/ 1132115 h 1267582"/>
              <a:gd name="connsiteX2" fmla="*/ 1659467 w 3923695"/>
              <a:gd name="connsiteY2" fmla="*/ 333829 h 1267582"/>
              <a:gd name="connsiteX3" fmla="*/ 3923695 w 3923695"/>
              <a:gd name="connsiteY3" fmla="*/ 0 h 1267582"/>
              <a:gd name="connsiteX0" fmla="*/ 193524 w 3618895"/>
              <a:gd name="connsiteY0" fmla="*/ 1146629 h 1209525"/>
              <a:gd name="connsiteX1" fmla="*/ 193524 w 3618895"/>
              <a:gd name="connsiteY1" fmla="*/ 1074058 h 1209525"/>
              <a:gd name="connsiteX2" fmla="*/ 1354667 w 3618895"/>
              <a:gd name="connsiteY2" fmla="*/ 333829 h 1209525"/>
              <a:gd name="connsiteX3" fmla="*/ 3618895 w 3618895"/>
              <a:gd name="connsiteY3" fmla="*/ 0 h 1209525"/>
              <a:gd name="connsiteX0" fmla="*/ 193524 w 3618895"/>
              <a:gd name="connsiteY0" fmla="*/ 1146629 h 1209525"/>
              <a:gd name="connsiteX1" fmla="*/ 193524 w 3618895"/>
              <a:gd name="connsiteY1" fmla="*/ 1074058 h 1209525"/>
              <a:gd name="connsiteX2" fmla="*/ 1354667 w 3618895"/>
              <a:gd name="connsiteY2" fmla="*/ 333829 h 1209525"/>
              <a:gd name="connsiteX3" fmla="*/ 3618895 w 3618895"/>
              <a:gd name="connsiteY3" fmla="*/ 0 h 1209525"/>
              <a:gd name="connsiteX0" fmla="*/ 193524 w 3618895"/>
              <a:gd name="connsiteY0" fmla="*/ 1146629 h 1209525"/>
              <a:gd name="connsiteX1" fmla="*/ 193524 w 3618895"/>
              <a:gd name="connsiteY1" fmla="*/ 1074058 h 1209525"/>
              <a:gd name="connsiteX2" fmla="*/ 1354667 w 3618895"/>
              <a:gd name="connsiteY2" fmla="*/ 333829 h 1209525"/>
              <a:gd name="connsiteX3" fmla="*/ 3618895 w 3618895"/>
              <a:gd name="connsiteY3" fmla="*/ 0 h 1209525"/>
              <a:gd name="connsiteX0" fmla="*/ 0 w 3425371"/>
              <a:gd name="connsiteY0" fmla="*/ 1074058 h 1074058"/>
              <a:gd name="connsiteX1" fmla="*/ 1161143 w 3425371"/>
              <a:gd name="connsiteY1" fmla="*/ 333829 h 1074058"/>
              <a:gd name="connsiteX2" fmla="*/ 3425371 w 3425371"/>
              <a:gd name="connsiteY2" fmla="*/ 0 h 1074058"/>
              <a:gd name="connsiteX0" fmla="*/ 0 w 3425371"/>
              <a:gd name="connsiteY0" fmla="*/ 1074058 h 1074058"/>
              <a:gd name="connsiteX1" fmla="*/ 3425371 w 3425371"/>
              <a:gd name="connsiteY1" fmla="*/ 0 h 1074058"/>
              <a:gd name="connsiteX0" fmla="*/ 0 w 3425371"/>
              <a:gd name="connsiteY0" fmla="*/ 1074058 h 1074058"/>
              <a:gd name="connsiteX1" fmla="*/ 3425371 w 3425371"/>
              <a:gd name="connsiteY1" fmla="*/ 0 h 1074058"/>
              <a:gd name="connsiteX0" fmla="*/ 0 w 3425371"/>
              <a:gd name="connsiteY0" fmla="*/ 1074058 h 1074058"/>
              <a:gd name="connsiteX1" fmla="*/ 3425371 w 3425371"/>
              <a:gd name="connsiteY1" fmla="*/ 0 h 1074058"/>
              <a:gd name="connsiteX0" fmla="*/ 0 w 3420389"/>
              <a:gd name="connsiteY0" fmla="*/ 2079773 h 2079773"/>
              <a:gd name="connsiteX1" fmla="*/ 3420389 w 3420389"/>
              <a:gd name="connsiteY1" fmla="*/ 0 h 2079773"/>
              <a:gd name="connsiteX0" fmla="*/ 0 w 3420389"/>
              <a:gd name="connsiteY0" fmla="*/ 2079773 h 2079773"/>
              <a:gd name="connsiteX1" fmla="*/ 3420389 w 3420389"/>
              <a:gd name="connsiteY1" fmla="*/ 0 h 2079773"/>
              <a:gd name="connsiteX0" fmla="*/ 0 w 3435335"/>
              <a:gd name="connsiteY0" fmla="*/ 3085488 h 3085488"/>
              <a:gd name="connsiteX1" fmla="*/ 3435335 w 3435335"/>
              <a:gd name="connsiteY1" fmla="*/ 0 h 3085488"/>
              <a:gd name="connsiteX0" fmla="*/ 167973 w 3603308"/>
              <a:gd name="connsiteY0" fmla="*/ 3085488 h 3085488"/>
              <a:gd name="connsiteX1" fmla="*/ 3603308 w 3603308"/>
              <a:gd name="connsiteY1" fmla="*/ 0 h 3085488"/>
              <a:gd name="connsiteX0" fmla="*/ 160682 w 3603308"/>
              <a:gd name="connsiteY0" fmla="*/ 3883740 h 3883740"/>
              <a:gd name="connsiteX1" fmla="*/ 3603308 w 3603308"/>
              <a:gd name="connsiteY1" fmla="*/ 0 h 3883740"/>
              <a:gd name="connsiteX0" fmla="*/ 167972 w 3603308"/>
              <a:gd name="connsiteY0" fmla="*/ 5131009 h 5131009"/>
              <a:gd name="connsiteX1" fmla="*/ 3603308 w 3603308"/>
              <a:gd name="connsiteY1" fmla="*/ 0 h 5131009"/>
              <a:gd name="connsiteX0" fmla="*/ 167972 w 3603308"/>
              <a:gd name="connsiteY0" fmla="*/ 5131009 h 5131009"/>
              <a:gd name="connsiteX1" fmla="*/ 3603308 w 3603308"/>
              <a:gd name="connsiteY1" fmla="*/ 0 h 5131009"/>
              <a:gd name="connsiteX0" fmla="*/ 0 w 3435336"/>
              <a:gd name="connsiteY0" fmla="*/ 5131009 h 5131009"/>
              <a:gd name="connsiteX1" fmla="*/ 3435336 w 3435336"/>
              <a:gd name="connsiteY1" fmla="*/ 0 h 5131009"/>
              <a:gd name="connsiteX0" fmla="*/ 5103 w 3440439"/>
              <a:gd name="connsiteY0" fmla="*/ 5131009 h 5131009"/>
              <a:gd name="connsiteX1" fmla="*/ 0 w 3440439"/>
              <a:gd name="connsiteY1" fmla="*/ 5068030 h 5131009"/>
              <a:gd name="connsiteX2" fmla="*/ 3440439 w 3440439"/>
              <a:gd name="connsiteY2" fmla="*/ 0 h 5131009"/>
              <a:gd name="connsiteX0" fmla="*/ 5103 w 3440439"/>
              <a:gd name="connsiteY0" fmla="*/ 5131009 h 5131009"/>
              <a:gd name="connsiteX1" fmla="*/ 0 w 3440439"/>
              <a:gd name="connsiteY1" fmla="*/ 5068030 h 5131009"/>
              <a:gd name="connsiteX2" fmla="*/ 3440439 w 3440439"/>
              <a:gd name="connsiteY2" fmla="*/ 0 h 5131009"/>
              <a:gd name="connsiteX0" fmla="*/ 56137 w 3491473"/>
              <a:gd name="connsiteY0" fmla="*/ 5131009 h 5131009"/>
              <a:gd name="connsiteX1" fmla="*/ 0 w 3491473"/>
              <a:gd name="connsiteY1" fmla="*/ 4319670 h 5131009"/>
              <a:gd name="connsiteX2" fmla="*/ 3491473 w 3491473"/>
              <a:gd name="connsiteY2" fmla="*/ 0 h 5131009"/>
              <a:gd name="connsiteX0" fmla="*/ 12394 w 3491473"/>
              <a:gd name="connsiteY0" fmla="*/ 4307812 h 4319670"/>
              <a:gd name="connsiteX1" fmla="*/ 0 w 3491473"/>
              <a:gd name="connsiteY1" fmla="*/ 4319670 h 4319670"/>
              <a:gd name="connsiteX2" fmla="*/ 3491473 w 3491473"/>
              <a:gd name="connsiteY2" fmla="*/ 0 h 4319670"/>
              <a:gd name="connsiteX0" fmla="*/ 12394 w 3790383"/>
              <a:gd name="connsiteY0" fmla="*/ 4133196 h 4145054"/>
              <a:gd name="connsiteX1" fmla="*/ 0 w 3790383"/>
              <a:gd name="connsiteY1" fmla="*/ 4145054 h 4145054"/>
              <a:gd name="connsiteX2" fmla="*/ 3790383 w 3790383"/>
              <a:gd name="connsiteY2" fmla="*/ 0 h 4145054"/>
              <a:gd name="connsiteX0" fmla="*/ 12394 w 3790383"/>
              <a:gd name="connsiteY0" fmla="*/ 4133196 h 4145054"/>
              <a:gd name="connsiteX1" fmla="*/ 0 w 3790383"/>
              <a:gd name="connsiteY1" fmla="*/ 4145054 h 4145054"/>
              <a:gd name="connsiteX2" fmla="*/ 3790383 w 3790383"/>
              <a:gd name="connsiteY2" fmla="*/ 0 h 4145054"/>
              <a:gd name="connsiteX0" fmla="*/ 12394 w 3812255"/>
              <a:gd name="connsiteY0" fmla="*/ 4756832 h 4768690"/>
              <a:gd name="connsiteX1" fmla="*/ 0 w 3812255"/>
              <a:gd name="connsiteY1" fmla="*/ 4768690 h 4768690"/>
              <a:gd name="connsiteX2" fmla="*/ 3812255 w 3812255"/>
              <a:gd name="connsiteY2" fmla="*/ 0 h 4768690"/>
              <a:gd name="connsiteX0" fmla="*/ 12394 w 3812255"/>
              <a:gd name="connsiteY0" fmla="*/ 5232731 h 5244589"/>
              <a:gd name="connsiteX1" fmla="*/ 0 w 3812255"/>
              <a:gd name="connsiteY1" fmla="*/ 5244589 h 5244589"/>
              <a:gd name="connsiteX2" fmla="*/ 3812255 w 3812255"/>
              <a:gd name="connsiteY2" fmla="*/ 475899 h 5244589"/>
            </a:gdLst>
            <a:ahLst/>
            <a:cxnLst>
              <a:cxn ang="0">
                <a:pos x="connsiteX0" y="connsiteY0"/>
              </a:cxn>
              <a:cxn ang="0">
                <a:pos x="connsiteX1" y="connsiteY1"/>
              </a:cxn>
              <a:cxn ang="0">
                <a:pos x="connsiteX2" y="connsiteY2"/>
              </a:cxn>
            </a:cxnLst>
            <a:rect l="l" t="t" r="r" b="b"/>
            <a:pathLst>
              <a:path w="3812255" h="5244589">
                <a:moveTo>
                  <a:pt x="12394" y="5232731"/>
                </a:moveTo>
                <a:lnTo>
                  <a:pt x="0" y="5244589"/>
                </a:lnTo>
                <a:cubicBezTo>
                  <a:pt x="147723" y="4646950"/>
                  <a:pt x="945287" y="0"/>
                  <a:pt x="3812255" y="475899"/>
                </a:cubicBezTo>
              </a:path>
            </a:pathLst>
          </a:custGeom>
          <a:noFill/>
          <a:ln w="28575" cap="flat" cmpd="sng" algn="ctr">
            <a:solidFill>
              <a:schemeClr val="bg1">
                <a:lumMod val="60000"/>
                <a:lumOff val="40000"/>
              </a:schemeClr>
            </a:solidFill>
            <a:prstDash val="solid"/>
            <a:round/>
            <a:headEnd type="none" w="med" len="med"/>
            <a:tailEnd type="none" w="med" len="med"/>
          </a:ln>
          <a:effectLst/>
        </p:spPr>
        <p:txBody>
          <a:bodyPr anchor="ctr">
            <a:spAutoFit/>
          </a:bodyPr>
          <a:lstStyle/>
          <a:p>
            <a:pPr algn="ctr">
              <a:lnSpc>
                <a:spcPct val="90000"/>
              </a:lnSpc>
              <a:spcBef>
                <a:spcPct val="50000"/>
              </a:spcBef>
              <a:defRPr/>
            </a:pPr>
            <a:endParaRPr lang="en-US" dirty="0">
              <a:latin typeface="Arial" charset="0"/>
              <a:cs typeface="+mn-cs"/>
            </a:endParaRPr>
          </a:p>
        </p:txBody>
      </p:sp>
      <p:sp>
        <p:nvSpPr>
          <p:cNvPr id="37" name="AutoShape 35"/>
          <p:cNvSpPr>
            <a:spLocks noChangeArrowheads="1"/>
          </p:cNvSpPr>
          <p:nvPr/>
        </p:nvSpPr>
        <p:spPr bwMode="gray">
          <a:xfrm>
            <a:off x="360363" y="2330604"/>
            <a:ext cx="8431212" cy="2831690"/>
          </a:xfrm>
          <a:prstGeom prst="roundRect">
            <a:avLst>
              <a:gd name="adj" fmla="val 8827"/>
            </a:avLst>
          </a:prstGeom>
          <a:solidFill>
            <a:schemeClr val="bg1">
              <a:lumMod val="60000"/>
              <a:lumOff val="40000"/>
              <a:alpha val="50196"/>
            </a:schemeClr>
          </a:solidFill>
          <a:ln>
            <a:noFill/>
            <a:headEnd/>
            <a:tailEnd/>
          </a:ln>
          <a:effectLst/>
          <a:scene3d>
            <a:camera prst="orthographicFront">
              <a:rot lat="0" lon="0" rev="0"/>
            </a:camera>
            <a:lightRig rig="soft" dir="t">
              <a:rot lat="0" lon="0" rev="0"/>
            </a:lightRig>
          </a:scene3d>
          <a:sp3d prstMaterial="matte">
            <a:bevelT w="63500" h="63500" prst="artDeco"/>
            <a:contourClr>
              <a:srgbClr val="FFFFFF"/>
            </a:contourClr>
          </a:sp3d>
        </p:spPr>
        <p:style>
          <a:lnRef idx="0">
            <a:schemeClr val="dk1"/>
          </a:lnRef>
          <a:fillRef idx="3">
            <a:schemeClr val="dk1"/>
          </a:fillRef>
          <a:effectRef idx="3">
            <a:schemeClr val="dk1"/>
          </a:effectRef>
          <a:fontRef idx="minor">
            <a:schemeClr val="lt1"/>
          </a:fontRef>
        </p:style>
        <p:txBody>
          <a:bodyPr anchor="ctr"/>
          <a:lstStyle/>
          <a:p>
            <a:pPr algn="ctr">
              <a:spcBef>
                <a:spcPct val="50000"/>
              </a:spcBef>
              <a:buClr>
                <a:srgbClr val="009900"/>
              </a:buClr>
              <a:defRPr/>
            </a:pPr>
            <a:endParaRPr lang="en-US" sz="2200" dirty="0">
              <a:solidFill>
                <a:srgbClr val="FFFFFF"/>
              </a:solidFill>
              <a:effectLst>
                <a:outerShdw blurRad="38100" dist="38100" dir="2700000" algn="tl">
                  <a:srgbClr val="000000">
                    <a:alpha val="43137"/>
                  </a:srgbClr>
                </a:outerShdw>
              </a:effectLst>
            </a:endParaRPr>
          </a:p>
        </p:txBody>
      </p:sp>
      <p:sp>
        <p:nvSpPr>
          <p:cNvPr id="48" name="AutoShape 34"/>
          <p:cNvSpPr>
            <a:spLocks noChangeArrowheads="1"/>
          </p:cNvSpPr>
          <p:nvPr/>
        </p:nvSpPr>
        <p:spPr bwMode="gray">
          <a:xfrm>
            <a:off x="360363" y="3668751"/>
            <a:ext cx="8431212" cy="2920962"/>
          </a:xfrm>
          <a:prstGeom prst="roundRect">
            <a:avLst>
              <a:gd name="adj" fmla="val 11146"/>
            </a:avLst>
          </a:prstGeom>
          <a:solidFill>
            <a:srgbClr val="008080">
              <a:alpha val="50196"/>
            </a:srgbClr>
          </a:solidFill>
          <a:ln>
            <a:noFill/>
            <a:headEnd/>
            <a:tailEnd/>
          </a:ln>
          <a:effectLst/>
          <a:scene3d>
            <a:camera prst="orthographicFront">
              <a:rot lat="0" lon="0" rev="0"/>
            </a:camera>
            <a:lightRig rig="soft" dir="t">
              <a:rot lat="0" lon="0" rev="0"/>
            </a:lightRig>
          </a:scene3d>
          <a:sp3d prstMaterial="matte">
            <a:bevelT w="63500" h="63500" prst="artDeco"/>
            <a:contourClr>
              <a:srgbClr val="FFFFFF"/>
            </a:contourClr>
          </a:sp3d>
        </p:spPr>
        <p:style>
          <a:lnRef idx="0">
            <a:schemeClr val="dk1"/>
          </a:lnRef>
          <a:fillRef idx="3">
            <a:schemeClr val="dk1"/>
          </a:fillRef>
          <a:effectRef idx="3">
            <a:schemeClr val="dk1"/>
          </a:effectRef>
          <a:fontRef idx="minor">
            <a:schemeClr val="lt1"/>
          </a:fontRef>
        </p:style>
        <p:txBody>
          <a:bodyPr anchor="ctr"/>
          <a:lstStyle/>
          <a:p>
            <a:pPr algn="ctr">
              <a:spcBef>
                <a:spcPct val="50000"/>
              </a:spcBef>
              <a:buClr>
                <a:srgbClr val="009900"/>
              </a:buClr>
              <a:defRPr/>
            </a:pPr>
            <a:endParaRPr lang="en-US" sz="2200" dirty="0">
              <a:solidFill>
                <a:srgbClr val="FFFFFF"/>
              </a:solidFill>
              <a:effectLst>
                <a:outerShdw blurRad="38100" dist="38100" dir="2700000" algn="tl">
                  <a:srgbClr val="000000">
                    <a:alpha val="43137"/>
                  </a:srgbClr>
                </a:outerShdw>
              </a:effectLst>
            </a:endParaRPr>
          </a:p>
        </p:txBody>
      </p:sp>
      <p:sp>
        <p:nvSpPr>
          <p:cNvPr id="38923" name="Freeform 92"/>
          <p:cNvSpPr>
            <a:spLocks/>
          </p:cNvSpPr>
          <p:nvPr/>
        </p:nvSpPr>
        <p:spPr bwMode="auto">
          <a:xfrm>
            <a:off x="1668463" y="2797175"/>
            <a:ext cx="5262562" cy="2293938"/>
          </a:xfrm>
          <a:custGeom>
            <a:avLst/>
            <a:gdLst>
              <a:gd name="T0" fmla="*/ 2996067 w 3440439"/>
              <a:gd name="T1" fmla="*/ 29 h 5131009"/>
              <a:gd name="T2" fmla="*/ 0 w 3440439"/>
              <a:gd name="T3" fmla="*/ 29 h 5131009"/>
              <a:gd name="T4" fmla="*/ 2019975766 w 3440439"/>
              <a:gd name="T5" fmla="*/ 0 h 5131009"/>
              <a:gd name="T6" fmla="*/ 0 60000 65536"/>
              <a:gd name="T7" fmla="*/ 0 60000 65536"/>
              <a:gd name="T8" fmla="*/ 0 60000 65536"/>
              <a:gd name="T9" fmla="*/ 0 w 3440439"/>
              <a:gd name="T10" fmla="*/ 0 h 5131009"/>
              <a:gd name="T11" fmla="*/ 3440439 w 3440439"/>
              <a:gd name="T12" fmla="*/ 5131009 h 5131009"/>
            </a:gdLst>
            <a:ahLst/>
            <a:cxnLst>
              <a:cxn ang="T6">
                <a:pos x="T0" y="T1"/>
              </a:cxn>
              <a:cxn ang="T7">
                <a:pos x="T2" y="T3"/>
              </a:cxn>
              <a:cxn ang="T8">
                <a:pos x="T4" y="T5"/>
              </a:cxn>
            </a:cxnLst>
            <a:rect l="T9" t="T10" r="T11" b="T12"/>
            <a:pathLst>
              <a:path w="3440439" h="5131009">
                <a:moveTo>
                  <a:pt x="5103" y="5131009"/>
                </a:moveTo>
                <a:lnTo>
                  <a:pt x="0" y="5068030"/>
                </a:lnTo>
                <a:cubicBezTo>
                  <a:pt x="147723" y="4470391"/>
                  <a:pt x="376628" y="1469838"/>
                  <a:pt x="3440439" y="0"/>
                </a:cubicBezTo>
              </a:path>
            </a:pathLst>
          </a:custGeom>
          <a:noFill/>
          <a:ln w="28575" algn="ctr">
            <a:solidFill>
              <a:srgbClr val="3BB5BB"/>
            </a:solidFill>
            <a:round/>
            <a:headEnd/>
            <a:tailEnd/>
          </a:ln>
          <a:extLst>
            <a:ext uri="{909E8E84-426E-40dd-AFC4-6F175D3DCCD1}">
              <a14:hiddenFill xmlns:a14="http://schemas.microsoft.com/office/drawing/2010/main">
                <a:solidFill>
                  <a:srgbClr val="FFFFFF"/>
                </a:solidFill>
              </a14:hiddenFill>
            </a:ext>
          </a:extLst>
        </p:spPr>
        <p:txBody>
          <a:bodyPr anchor="ctr">
            <a:spAutoFit/>
          </a:bodyPr>
          <a:lstStyle/>
          <a:p>
            <a:endParaRPr lang="en-US"/>
          </a:p>
        </p:txBody>
      </p:sp>
      <p:sp>
        <p:nvSpPr>
          <p:cNvPr id="38924" name="Rectangle 45"/>
          <p:cNvSpPr>
            <a:spLocks noGrp="1" noChangeArrowheads="1"/>
          </p:cNvSpPr>
          <p:nvPr>
            <p:ph type="title"/>
          </p:nvPr>
        </p:nvSpPr>
        <p:spPr>
          <a:xfrm>
            <a:off x="225198" y="188640"/>
            <a:ext cx="7547429" cy="711200"/>
          </a:xfrm>
        </p:spPr>
        <p:txBody>
          <a:bodyPr>
            <a:noAutofit/>
          </a:bodyPr>
          <a:lstStyle/>
          <a:p>
            <a:pPr algn="l" eaLnBrk="1" hangingPunct="1"/>
            <a:r>
              <a:rPr lang="en-US" altLang="en-US" sz="2800" b="0" dirty="0" smtClean="0">
                <a:solidFill>
                  <a:schemeClr val="bg1"/>
                </a:solidFill>
              </a:rPr>
              <a:t>A Comprehensive Turn-Around</a:t>
            </a:r>
            <a:br>
              <a:rPr lang="en-US" altLang="en-US" sz="2800" b="0" dirty="0" smtClean="0">
                <a:solidFill>
                  <a:schemeClr val="bg1"/>
                </a:solidFill>
              </a:rPr>
            </a:br>
            <a:r>
              <a:rPr lang="en-US" altLang="en-US" sz="2800" b="0" dirty="0" smtClean="0">
                <a:solidFill>
                  <a:schemeClr val="bg1"/>
                </a:solidFill>
              </a:rPr>
              <a:t>Strategy is Underway</a:t>
            </a:r>
          </a:p>
        </p:txBody>
      </p:sp>
      <p:sp>
        <p:nvSpPr>
          <p:cNvPr id="38925" name="Line 19"/>
          <p:cNvSpPr>
            <a:spLocks noChangeShapeType="1"/>
          </p:cNvSpPr>
          <p:nvPr/>
        </p:nvSpPr>
        <p:spPr bwMode="auto">
          <a:xfrm>
            <a:off x="360363" y="1485900"/>
            <a:ext cx="8431212" cy="0"/>
          </a:xfrm>
          <a:prstGeom prst="line">
            <a:avLst/>
          </a:prstGeom>
          <a:noFill/>
          <a:ln w="95250">
            <a:solidFill>
              <a:schemeClr val="tx2"/>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51" name="Text Box 21"/>
          <p:cNvSpPr txBox="1">
            <a:spLocks noChangeArrowheads="1"/>
          </p:cNvSpPr>
          <p:nvPr/>
        </p:nvSpPr>
        <p:spPr bwMode="gray">
          <a:xfrm>
            <a:off x="477838" y="1608138"/>
            <a:ext cx="3690937" cy="657225"/>
          </a:xfrm>
          <a:prstGeom prst="rect">
            <a:avLst/>
          </a:prstGeom>
          <a:noFill/>
          <a:ln w="9525">
            <a:noFill/>
            <a:miter lim="800000"/>
            <a:headEnd/>
            <a:tailEnd/>
          </a:ln>
          <a:effectLst/>
        </p:spPr>
        <p:txBody>
          <a:bodyPr lIns="0" tIns="51183" rIns="0" bIns="51183">
            <a:spAutoFit/>
          </a:bodyPr>
          <a:lstStyle/>
          <a:p>
            <a:pPr marL="284163" indent="-284163" defTabSz="1023938">
              <a:lnSpc>
                <a:spcPct val="90000"/>
              </a:lnSpc>
              <a:spcBef>
                <a:spcPts val="0"/>
              </a:spcBef>
              <a:buClr>
                <a:schemeClr val="accent2"/>
              </a:buClr>
              <a:buSzPct val="85000"/>
              <a:defRPr/>
            </a:pPr>
            <a:r>
              <a:rPr lang="en-US" sz="2000" b="1" i="1" kern="0" dirty="0">
                <a:latin typeface="+mn-lt"/>
                <a:cs typeface="+mn-cs"/>
              </a:rPr>
              <a:t>Focused on Three Horizons </a:t>
            </a:r>
          </a:p>
          <a:p>
            <a:pPr marL="284163" indent="-284163" defTabSz="1023938">
              <a:lnSpc>
                <a:spcPct val="90000"/>
              </a:lnSpc>
              <a:spcBef>
                <a:spcPts val="0"/>
              </a:spcBef>
              <a:buClr>
                <a:schemeClr val="accent2"/>
              </a:buClr>
              <a:buSzPct val="85000"/>
              <a:defRPr/>
            </a:pPr>
            <a:r>
              <a:rPr lang="en-US" sz="2000" b="1" i="1" kern="0" dirty="0">
                <a:latin typeface="+mn-lt"/>
                <a:cs typeface="+mn-cs"/>
              </a:rPr>
              <a:t>to Drive Sustained Progress</a:t>
            </a:r>
          </a:p>
        </p:txBody>
      </p:sp>
      <p:grpSp>
        <p:nvGrpSpPr>
          <p:cNvPr id="3" name="2 Grupo"/>
          <p:cNvGrpSpPr/>
          <p:nvPr/>
        </p:nvGrpSpPr>
        <p:grpSpPr>
          <a:xfrm>
            <a:off x="1025525" y="3822700"/>
            <a:ext cx="7566025" cy="1143000"/>
            <a:chOff x="1025525" y="3822700"/>
            <a:chExt cx="7566025" cy="1143000"/>
          </a:xfrm>
        </p:grpSpPr>
        <p:sp>
          <p:nvSpPr>
            <p:cNvPr id="58" name="Text Box 30"/>
            <p:cNvSpPr txBox="1">
              <a:spLocks noChangeArrowheads="1"/>
            </p:cNvSpPr>
            <p:nvPr/>
          </p:nvSpPr>
          <p:spPr bwMode="gray">
            <a:xfrm>
              <a:off x="5157788" y="3822700"/>
              <a:ext cx="3433762" cy="1143000"/>
            </a:xfrm>
            <a:prstGeom prst="rect">
              <a:avLst/>
            </a:prstGeom>
            <a:noFill/>
            <a:ln w="9525">
              <a:noFill/>
              <a:miter lim="800000"/>
              <a:headEnd/>
              <a:tailEnd/>
            </a:ln>
            <a:effectLst/>
          </p:spPr>
          <p:txBody>
            <a:bodyPr lIns="0" tIns="51183" rIns="0" bIns="51183">
              <a:spAutoFit/>
            </a:bodyPr>
            <a:lstStyle/>
            <a:p>
              <a:pPr marL="176213" indent="-176213" defTabSz="1023938">
                <a:lnSpc>
                  <a:spcPct val="90000"/>
                </a:lnSpc>
                <a:spcBef>
                  <a:spcPts val="600"/>
                </a:spcBef>
                <a:buSzPct val="85000"/>
                <a:buFont typeface="Arial" pitchFamily="34" charset="0"/>
                <a:buChar char="●"/>
                <a:defRPr/>
              </a:pPr>
              <a:r>
                <a:rPr lang="en-US" sz="1600" kern="0" dirty="0">
                  <a:solidFill>
                    <a:srgbClr val="00425C"/>
                  </a:solidFill>
                  <a:latin typeface="+mn-lt"/>
                  <a:cs typeface="+mn-cs"/>
                </a:rPr>
                <a:t>Next generation therapeutics</a:t>
              </a:r>
            </a:p>
            <a:p>
              <a:pPr marL="176213" indent="-176213" defTabSz="1023938">
                <a:lnSpc>
                  <a:spcPct val="90000"/>
                </a:lnSpc>
                <a:spcBef>
                  <a:spcPts val="600"/>
                </a:spcBef>
                <a:buSzPct val="85000"/>
                <a:buFont typeface="Arial" pitchFamily="34" charset="0"/>
                <a:buChar char="●"/>
                <a:defRPr/>
              </a:pPr>
              <a:r>
                <a:rPr lang="en-US" sz="1600" kern="0" dirty="0">
                  <a:solidFill>
                    <a:srgbClr val="00425C"/>
                  </a:solidFill>
                  <a:latin typeface="+mn-lt"/>
                  <a:cs typeface="+mn-cs"/>
                </a:rPr>
                <a:t>Open and external innovation</a:t>
              </a:r>
            </a:p>
            <a:p>
              <a:pPr marL="176213" indent="-176213" defTabSz="1023938">
                <a:lnSpc>
                  <a:spcPct val="90000"/>
                </a:lnSpc>
                <a:spcBef>
                  <a:spcPts val="600"/>
                </a:spcBef>
                <a:buSzPct val="85000"/>
                <a:buFont typeface="Arial" pitchFamily="34" charset="0"/>
                <a:buChar char="●"/>
                <a:defRPr/>
              </a:pPr>
              <a:r>
                <a:rPr lang="en-US" sz="1600" kern="0" dirty="0">
                  <a:solidFill>
                    <a:srgbClr val="00425C"/>
                  </a:solidFill>
                  <a:latin typeface="+mn-lt"/>
                  <a:cs typeface="+mn-cs"/>
                </a:rPr>
                <a:t>Vaccines for all ages and geographies</a:t>
              </a:r>
            </a:p>
          </p:txBody>
        </p:sp>
        <p:grpSp>
          <p:nvGrpSpPr>
            <p:cNvPr id="38929" name="Group 32"/>
            <p:cNvGrpSpPr>
              <a:grpSpLocks/>
            </p:cNvGrpSpPr>
            <p:nvPr/>
          </p:nvGrpSpPr>
          <p:grpSpPr bwMode="auto">
            <a:xfrm>
              <a:off x="1025525" y="4052888"/>
              <a:ext cx="3944938" cy="587375"/>
              <a:chOff x="1025151" y="4052406"/>
              <a:chExt cx="3946079" cy="588157"/>
            </a:xfrm>
          </p:grpSpPr>
          <p:sp>
            <p:nvSpPr>
              <p:cNvPr id="78" name="Rounded Rectangle 77"/>
              <p:cNvSpPr/>
              <p:nvPr/>
            </p:nvSpPr>
            <p:spPr bwMode="auto">
              <a:xfrm>
                <a:off x="1191502" y="4052406"/>
                <a:ext cx="3779728" cy="588157"/>
              </a:xfrm>
              <a:prstGeom prst="roundRect">
                <a:avLst/>
              </a:prstGeom>
              <a:solidFill>
                <a:schemeClr val="bg2">
                  <a:lumMod val="40000"/>
                  <a:lumOff val="60000"/>
                </a:schemeClr>
              </a:solidFill>
              <a:ln>
                <a:noFill/>
                <a:headEnd/>
                <a:tailEnd/>
              </a:ln>
              <a:effectLst>
                <a:glow rad="101600">
                  <a:schemeClr val="bg1">
                    <a:lumMod val="75000"/>
                    <a:alpha val="40000"/>
                  </a:scheme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38100" h="38100" prst="artDeco"/>
                <a:contourClr>
                  <a:srgbClr val="FFFFFF"/>
                </a:contourClr>
              </a:sp3d>
            </p:spPr>
            <p:style>
              <a:lnRef idx="0">
                <a:schemeClr val="dk1"/>
              </a:lnRef>
              <a:fillRef idx="3">
                <a:schemeClr val="dk1"/>
              </a:fillRef>
              <a:effectRef idx="3">
                <a:schemeClr val="dk1"/>
              </a:effectRef>
              <a:fontRef idx="minor">
                <a:schemeClr val="lt1"/>
              </a:fontRef>
            </p:style>
            <p:txBody>
              <a:bodyPr anchor="ctr"/>
              <a:lstStyle/>
              <a:p>
                <a:pPr algn="ctr">
                  <a:spcBef>
                    <a:spcPct val="50000"/>
                  </a:spcBef>
                  <a:buClr>
                    <a:srgbClr val="009900"/>
                  </a:buClr>
                  <a:defRPr/>
                </a:pPr>
                <a:endParaRPr lang="en-US" sz="2200" dirty="0">
                  <a:solidFill>
                    <a:srgbClr val="002060"/>
                  </a:solidFill>
                  <a:effectLst>
                    <a:outerShdw blurRad="38100" dist="38100" dir="2700000" algn="tl">
                      <a:srgbClr val="000000">
                        <a:alpha val="43137"/>
                      </a:srgbClr>
                    </a:outerShdw>
                  </a:effectLst>
                </a:endParaRPr>
              </a:p>
            </p:txBody>
          </p:sp>
          <p:sp>
            <p:nvSpPr>
              <p:cNvPr id="80" name="Text Box 24"/>
              <p:cNvSpPr txBox="1">
                <a:spLocks noChangeArrowheads="1"/>
              </p:cNvSpPr>
              <p:nvPr/>
            </p:nvSpPr>
            <p:spPr bwMode="gray">
              <a:xfrm>
                <a:off x="1025151" y="4096915"/>
                <a:ext cx="2974248" cy="502318"/>
              </a:xfrm>
              <a:prstGeom prst="rect">
                <a:avLst/>
              </a:prstGeom>
              <a:noFill/>
              <a:ln w="9525">
                <a:noFill/>
                <a:miter lim="800000"/>
                <a:headEnd/>
                <a:tailEnd/>
              </a:ln>
            </p:spPr>
            <p:txBody>
              <a:bodyPr wrap="none" anchor="ctr"/>
              <a:lstStyle/>
              <a:p>
                <a:pPr marL="176213" indent="-176213" algn="r" defTabSz="1023938">
                  <a:lnSpc>
                    <a:spcPct val="90000"/>
                  </a:lnSpc>
                  <a:spcBef>
                    <a:spcPts val="300"/>
                  </a:spcBef>
                  <a:buClr>
                    <a:schemeClr val="accent2"/>
                  </a:buClr>
                  <a:buSzPct val="85000"/>
                  <a:defRPr/>
                </a:pPr>
                <a:r>
                  <a:rPr lang="en-US" sz="1400" b="1" kern="0" dirty="0">
                    <a:solidFill>
                      <a:srgbClr val="002060"/>
                    </a:solidFill>
                    <a:latin typeface="+mn-lt"/>
                    <a:cs typeface="+mn-cs"/>
                  </a:rPr>
                  <a:t>Horizon 2</a:t>
                </a:r>
              </a:p>
              <a:p>
                <a:pPr marL="176213" indent="-176213" algn="r" defTabSz="1023938">
                  <a:lnSpc>
                    <a:spcPct val="90000"/>
                  </a:lnSpc>
                  <a:spcBef>
                    <a:spcPts val="300"/>
                  </a:spcBef>
                  <a:buClr>
                    <a:schemeClr val="accent2"/>
                  </a:buClr>
                  <a:buSzPct val="85000"/>
                  <a:defRPr/>
                </a:pPr>
                <a:r>
                  <a:rPr lang="en-US" sz="1400" kern="0" dirty="0">
                    <a:solidFill>
                      <a:srgbClr val="002060"/>
                    </a:solidFill>
                    <a:latin typeface="+mn-lt"/>
                    <a:cs typeface="+mn-cs"/>
                  </a:rPr>
                  <a:t>Innovate New Capabilities</a:t>
                </a:r>
              </a:p>
            </p:txBody>
          </p:sp>
          <p:pic>
            <p:nvPicPr>
              <p:cNvPr id="81" name="Picture 9" descr="Layer 16"/>
              <p:cNvPicPr>
                <a:picLocks noChangeArrowheads="1"/>
              </p:cNvPicPr>
              <p:nvPr>
                <p:custDataLst>
                  <p:tags r:id="rId3"/>
                </p:custDataLst>
              </p:nvPr>
            </p:nvPicPr>
            <p:blipFill>
              <a:blip r:embed="rId6" cstate="print"/>
              <a:stretch>
                <a:fillRect/>
              </a:stretch>
            </p:blipFill>
            <p:spPr bwMode="ltGray">
              <a:xfrm>
                <a:off x="4020550" y="4066193"/>
                <a:ext cx="932688" cy="557784"/>
              </a:xfrm>
              <a:prstGeom prst="roundRect">
                <a:avLst>
                  <a:gd name="adj" fmla="val 13865"/>
                </a:avLst>
              </a:prstGeom>
              <a:solidFill>
                <a:srgbClr val="FFFFFF">
                  <a:shade val="85000"/>
                </a:srgbClr>
              </a:solidFill>
              <a:ln>
                <a:noFill/>
              </a:ln>
              <a:effectLst/>
            </p:spPr>
          </p:pic>
        </p:grpSp>
      </p:grpSp>
      <p:grpSp>
        <p:nvGrpSpPr>
          <p:cNvPr id="2" name="1 Grupo"/>
          <p:cNvGrpSpPr/>
          <p:nvPr/>
        </p:nvGrpSpPr>
        <p:grpSpPr>
          <a:xfrm>
            <a:off x="477838" y="5373688"/>
            <a:ext cx="8145462" cy="920750"/>
            <a:chOff x="477838" y="5373688"/>
            <a:chExt cx="8145462" cy="920750"/>
          </a:xfrm>
        </p:grpSpPr>
        <p:sp>
          <p:nvSpPr>
            <p:cNvPr id="59" name="Text Box 29"/>
            <p:cNvSpPr txBox="1">
              <a:spLocks noChangeArrowheads="1"/>
            </p:cNvSpPr>
            <p:nvPr/>
          </p:nvSpPr>
          <p:spPr bwMode="gray">
            <a:xfrm>
              <a:off x="4460875" y="5373688"/>
              <a:ext cx="4162425" cy="920750"/>
            </a:xfrm>
            <a:prstGeom prst="rect">
              <a:avLst/>
            </a:prstGeom>
            <a:noFill/>
            <a:ln w="9525">
              <a:noFill/>
              <a:miter lim="800000"/>
              <a:headEnd/>
              <a:tailEnd/>
            </a:ln>
            <a:effectLst/>
          </p:spPr>
          <p:txBody>
            <a:bodyPr lIns="0" tIns="51183" rIns="0" bIns="51183">
              <a:spAutoFit/>
            </a:bodyPr>
            <a:lstStyle/>
            <a:p>
              <a:pPr marL="176213" indent="-176213" defTabSz="1023938">
                <a:lnSpc>
                  <a:spcPct val="90000"/>
                </a:lnSpc>
                <a:spcBef>
                  <a:spcPts val="600"/>
                </a:spcBef>
                <a:buSzPct val="85000"/>
                <a:buFont typeface="Arial" pitchFamily="34" charset="0"/>
                <a:buChar char="●"/>
                <a:defRPr/>
              </a:pPr>
              <a:r>
                <a:rPr lang="en-US" sz="1600" kern="0" dirty="0">
                  <a:solidFill>
                    <a:srgbClr val="00425C"/>
                  </a:solidFill>
                  <a:latin typeface="+mn-lt"/>
                  <a:cs typeface="+mn-cs"/>
                </a:rPr>
                <a:t>Maximize productivity and ROI</a:t>
              </a:r>
            </a:p>
            <a:p>
              <a:pPr marL="176213" indent="-176213" defTabSz="1023938">
                <a:lnSpc>
                  <a:spcPct val="90000"/>
                </a:lnSpc>
                <a:spcBef>
                  <a:spcPts val="600"/>
                </a:spcBef>
                <a:buSzPct val="85000"/>
                <a:buFont typeface="Arial" pitchFamily="34" charset="0"/>
                <a:buChar char="●"/>
                <a:defRPr/>
              </a:pPr>
              <a:r>
                <a:rPr lang="en-US" sz="1600" kern="0" dirty="0">
                  <a:solidFill>
                    <a:srgbClr val="00425C"/>
                  </a:solidFill>
                  <a:latin typeface="+mn-lt"/>
                  <a:cs typeface="+mn-cs"/>
                </a:rPr>
                <a:t>Deep knowledge of pathogenic mechanisms</a:t>
              </a:r>
            </a:p>
            <a:p>
              <a:pPr marL="176213" indent="-176213" defTabSz="1023938">
                <a:lnSpc>
                  <a:spcPct val="90000"/>
                </a:lnSpc>
                <a:spcBef>
                  <a:spcPts val="600"/>
                </a:spcBef>
                <a:buSzPct val="85000"/>
                <a:buFont typeface="Arial" pitchFamily="34" charset="0"/>
                <a:buChar char="●"/>
                <a:defRPr/>
              </a:pPr>
              <a:r>
                <a:rPr lang="en-US" sz="1600" kern="0" dirty="0">
                  <a:solidFill>
                    <a:srgbClr val="00425C"/>
                  </a:solidFill>
                  <a:latin typeface="+mn-lt"/>
                  <a:cs typeface="+mn-cs"/>
                </a:rPr>
                <a:t>Medically differentiated products</a:t>
              </a:r>
            </a:p>
          </p:txBody>
        </p:sp>
        <p:grpSp>
          <p:nvGrpSpPr>
            <p:cNvPr id="38930" name="Group 33"/>
            <p:cNvGrpSpPr>
              <a:grpSpLocks/>
            </p:cNvGrpSpPr>
            <p:nvPr/>
          </p:nvGrpSpPr>
          <p:grpSpPr bwMode="auto">
            <a:xfrm>
              <a:off x="477838" y="5476875"/>
              <a:ext cx="3946525" cy="588963"/>
              <a:chOff x="335458" y="5518516"/>
              <a:chExt cx="3946079" cy="588157"/>
            </a:xfrm>
          </p:grpSpPr>
          <p:sp>
            <p:nvSpPr>
              <p:cNvPr id="84" name="Rounded Rectangle 83"/>
              <p:cNvSpPr/>
              <p:nvPr/>
            </p:nvSpPr>
            <p:spPr bwMode="auto">
              <a:xfrm>
                <a:off x="501809" y="5518516"/>
                <a:ext cx="3779728" cy="588157"/>
              </a:xfrm>
              <a:prstGeom prst="roundRect">
                <a:avLst/>
              </a:prstGeom>
              <a:solidFill>
                <a:schemeClr val="bg2">
                  <a:lumMod val="40000"/>
                  <a:lumOff val="60000"/>
                </a:schemeClr>
              </a:solidFill>
              <a:ln>
                <a:noFill/>
                <a:headEnd/>
                <a:tailEnd/>
              </a:ln>
              <a:effectLst>
                <a:glow rad="101600">
                  <a:schemeClr val="bg1">
                    <a:lumMod val="75000"/>
                    <a:alpha val="40000"/>
                  </a:scheme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38100" h="38100" prst="artDeco"/>
                <a:contourClr>
                  <a:srgbClr val="FFFFFF"/>
                </a:contourClr>
              </a:sp3d>
            </p:spPr>
            <p:style>
              <a:lnRef idx="0">
                <a:schemeClr val="dk1"/>
              </a:lnRef>
              <a:fillRef idx="3">
                <a:schemeClr val="dk1"/>
              </a:fillRef>
              <a:effectRef idx="3">
                <a:schemeClr val="dk1"/>
              </a:effectRef>
              <a:fontRef idx="minor">
                <a:schemeClr val="lt1"/>
              </a:fontRef>
            </p:style>
            <p:txBody>
              <a:bodyPr anchor="ctr"/>
              <a:lstStyle/>
              <a:p>
                <a:pPr algn="ctr">
                  <a:spcBef>
                    <a:spcPct val="50000"/>
                  </a:spcBef>
                  <a:buClr>
                    <a:srgbClr val="009900"/>
                  </a:buClr>
                  <a:defRPr/>
                </a:pPr>
                <a:endParaRPr lang="en-US" sz="2200" dirty="0">
                  <a:solidFill>
                    <a:srgbClr val="002060"/>
                  </a:solidFill>
                  <a:effectLst>
                    <a:outerShdw blurRad="38100" dist="38100" dir="2700000" algn="tl">
                      <a:srgbClr val="000000">
                        <a:alpha val="43137"/>
                      </a:srgbClr>
                    </a:outerShdw>
                  </a:effectLst>
                </a:endParaRPr>
              </a:p>
            </p:txBody>
          </p:sp>
          <p:sp>
            <p:nvSpPr>
              <p:cNvPr id="85" name="Text Box 24"/>
              <p:cNvSpPr txBox="1">
                <a:spLocks noChangeArrowheads="1"/>
              </p:cNvSpPr>
              <p:nvPr/>
            </p:nvSpPr>
            <p:spPr bwMode="gray">
              <a:xfrm>
                <a:off x="335458" y="5564491"/>
                <a:ext cx="2974639" cy="500963"/>
              </a:xfrm>
              <a:prstGeom prst="rect">
                <a:avLst/>
              </a:prstGeom>
              <a:noFill/>
              <a:ln w="9525">
                <a:noFill/>
                <a:miter lim="800000"/>
                <a:headEnd/>
                <a:tailEnd/>
              </a:ln>
            </p:spPr>
            <p:txBody>
              <a:bodyPr wrap="none" anchor="ctr"/>
              <a:lstStyle/>
              <a:p>
                <a:pPr marL="176213" indent="-176213" algn="r" defTabSz="1023938">
                  <a:lnSpc>
                    <a:spcPct val="90000"/>
                  </a:lnSpc>
                  <a:spcBef>
                    <a:spcPts val="300"/>
                  </a:spcBef>
                  <a:buClr>
                    <a:schemeClr val="accent2"/>
                  </a:buClr>
                  <a:buSzPct val="85000"/>
                  <a:defRPr/>
                </a:pPr>
                <a:r>
                  <a:rPr lang="en-US" sz="1400" b="1" kern="0" dirty="0">
                    <a:solidFill>
                      <a:srgbClr val="002060"/>
                    </a:solidFill>
                    <a:latin typeface="+mn-lt"/>
                    <a:cs typeface="+mn-cs"/>
                  </a:rPr>
                  <a:t>Horizon 1</a:t>
                </a:r>
              </a:p>
              <a:p>
                <a:pPr marL="176213" indent="-176213" algn="r" defTabSz="1023938">
                  <a:lnSpc>
                    <a:spcPct val="90000"/>
                  </a:lnSpc>
                  <a:spcBef>
                    <a:spcPts val="300"/>
                  </a:spcBef>
                  <a:buClr>
                    <a:schemeClr val="accent2"/>
                  </a:buClr>
                  <a:buSzPct val="85000"/>
                  <a:defRPr/>
                </a:pPr>
                <a:r>
                  <a:rPr lang="en-US" sz="1400" kern="0" dirty="0">
                    <a:solidFill>
                      <a:srgbClr val="002060"/>
                    </a:solidFill>
                    <a:latin typeface="+mn-lt"/>
                    <a:cs typeface="+mn-cs"/>
                  </a:rPr>
                  <a:t>Deliver the Portfolio</a:t>
                </a:r>
              </a:p>
            </p:txBody>
          </p:sp>
          <p:pic>
            <p:nvPicPr>
              <p:cNvPr id="87" name="Picture 5" descr="Layer 18"/>
              <p:cNvPicPr>
                <a:picLocks noChangeArrowheads="1"/>
              </p:cNvPicPr>
              <p:nvPr>
                <p:custDataLst>
                  <p:tags r:id="rId2"/>
                </p:custDataLst>
              </p:nvPr>
            </p:nvPicPr>
            <p:blipFill>
              <a:blip r:embed="rId7" cstate="print"/>
              <a:stretch>
                <a:fillRect/>
              </a:stretch>
            </p:blipFill>
            <p:spPr bwMode="ltGray">
              <a:xfrm>
                <a:off x="3330857" y="5537066"/>
                <a:ext cx="932688" cy="557784"/>
              </a:xfrm>
              <a:prstGeom prst="roundRect">
                <a:avLst>
                  <a:gd name="adj" fmla="val 13865"/>
                </a:avLst>
              </a:prstGeom>
              <a:solidFill>
                <a:srgbClr val="FFFFFF">
                  <a:shade val="85000"/>
                </a:srgbClr>
              </a:solidFill>
              <a:ln>
                <a:noFill/>
              </a:ln>
              <a:effectLst/>
            </p:spPr>
          </p:pic>
        </p:grpSp>
      </p:grpSp>
      <p:grpSp>
        <p:nvGrpSpPr>
          <p:cNvPr id="4" name="3 Grupo"/>
          <p:cNvGrpSpPr/>
          <p:nvPr/>
        </p:nvGrpSpPr>
        <p:grpSpPr>
          <a:xfrm>
            <a:off x="1714500" y="2559050"/>
            <a:ext cx="6786563" cy="922338"/>
            <a:chOff x="1714500" y="2559050"/>
            <a:chExt cx="6786563" cy="922338"/>
          </a:xfrm>
        </p:grpSpPr>
        <p:sp>
          <p:nvSpPr>
            <p:cNvPr id="45" name="Text Box 30"/>
            <p:cNvSpPr txBox="1">
              <a:spLocks noChangeArrowheads="1"/>
            </p:cNvSpPr>
            <p:nvPr/>
          </p:nvSpPr>
          <p:spPr bwMode="gray">
            <a:xfrm>
              <a:off x="5807075" y="2559050"/>
              <a:ext cx="2693988" cy="922338"/>
            </a:xfrm>
            <a:prstGeom prst="rect">
              <a:avLst/>
            </a:prstGeom>
            <a:noFill/>
            <a:ln w="9525">
              <a:noFill/>
              <a:miter lim="800000"/>
              <a:headEnd/>
              <a:tailEnd/>
            </a:ln>
            <a:effectLst/>
          </p:spPr>
          <p:txBody>
            <a:bodyPr lIns="0" tIns="51183" rIns="0" bIns="51183">
              <a:spAutoFit/>
            </a:bodyPr>
            <a:lstStyle/>
            <a:p>
              <a:pPr marL="176213" indent="-176213" defTabSz="1023938">
                <a:lnSpc>
                  <a:spcPct val="90000"/>
                </a:lnSpc>
                <a:spcBef>
                  <a:spcPts val="600"/>
                </a:spcBef>
                <a:buSzPct val="85000"/>
                <a:buFont typeface="Arial" pitchFamily="34" charset="0"/>
                <a:buChar char="●"/>
                <a:defRPr/>
              </a:pPr>
              <a:r>
                <a:rPr lang="en-US" sz="1600" kern="0" dirty="0">
                  <a:solidFill>
                    <a:srgbClr val="00425C"/>
                  </a:solidFill>
                  <a:latin typeface="+mn-lt"/>
                  <a:cs typeface="+mn-cs"/>
                </a:rPr>
                <a:t>Precision Medicine</a:t>
              </a:r>
            </a:p>
            <a:p>
              <a:pPr marL="176213" indent="-176213" defTabSz="1023938">
                <a:lnSpc>
                  <a:spcPct val="90000"/>
                </a:lnSpc>
                <a:spcBef>
                  <a:spcPts val="600"/>
                </a:spcBef>
                <a:buSzPct val="85000"/>
                <a:buFont typeface="Arial" pitchFamily="34" charset="0"/>
                <a:buChar char="●"/>
                <a:defRPr/>
              </a:pPr>
              <a:r>
                <a:rPr lang="en-US" sz="1600" kern="0" dirty="0">
                  <a:solidFill>
                    <a:srgbClr val="00425C"/>
                  </a:solidFill>
                  <a:latin typeface="+mn-lt"/>
                  <a:cs typeface="+mn-cs"/>
                </a:rPr>
                <a:t>Networked, interactive R&amp;D</a:t>
              </a:r>
            </a:p>
            <a:p>
              <a:pPr marL="176213" indent="-176213" defTabSz="1023938">
                <a:lnSpc>
                  <a:spcPct val="90000"/>
                </a:lnSpc>
                <a:spcBef>
                  <a:spcPts val="600"/>
                </a:spcBef>
                <a:buSzPct val="85000"/>
                <a:buFont typeface="Arial" pitchFamily="34" charset="0"/>
                <a:buChar char="●"/>
                <a:defRPr/>
              </a:pPr>
              <a:r>
                <a:rPr lang="en-US" sz="1600" kern="0" dirty="0">
                  <a:solidFill>
                    <a:srgbClr val="00425C"/>
                  </a:solidFill>
                  <a:latin typeface="+mn-lt"/>
                  <a:cs typeface="+mn-cs"/>
                </a:rPr>
                <a:t>Breakthrough productivity</a:t>
              </a:r>
            </a:p>
          </p:txBody>
        </p:sp>
        <p:grpSp>
          <p:nvGrpSpPr>
            <p:cNvPr id="38932" name="Group 31"/>
            <p:cNvGrpSpPr>
              <a:grpSpLocks/>
            </p:cNvGrpSpPr>
            <p:nvPr/>
          </p:nvGrpSpPr>
          <p:grpSpPr bwMode="auto">
            <a:xfrm>
              <a:off x="1714500" y="2725738"/>
              <a:ext cx="3946525" cy="588962"/>
              <a:chOff x="1714843" y="2726323"/>
              <a:chExt cx="3946079" cy="588157"/>
            </a:xfrm>
          </p:grpSpPr>
          <p:sp>
            <p:nvSpPr>
              <p:cNvPr id="69" name="Rounded Rectangle 68"/>
              <p:cNvSpPr/>
              <p:nvPr/>
            </p:nvSpPr>
            <p:spPr bwMode="auto">
              <a:xfrm>
                <a:off x="1881194" y="2726323"/>
                <a:ext cx="3779728" cy="588157"/>
              </a:xfrm>
              <a:prstGeom prst="roundRect">
                <a:avLst/>
              </a:prstGeom>
              <a:solidFill>
                <a:schemeClr val="bg2">
                  <a:lumMod val="40000"/>
                  <a:lumOff val="60000"/>
                </a:schemeClr>
              </a:solidFill>
              <a:ln>
                <a:noFill/>
                <a:headEnd/>
                <a:tailEnd/>
              </a:ln>
              <a:effectLst>
                <a:glow rad="101600">
                  <a:schemeClr val="bg1">
                    <a:lumMod val="75000"/>
                    <a:alpha val="40000"/>
                  </a:scheme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38100" h="38100" prst="artDeco"/>
                <a:contourClr>
                  <a:srgbClr val="FFFFFF"/>
                </a:contourClr>
              </a:sp3d>
            </p:spPr>
            <p:style>
              <a:lnRef idx="0">
                <a:schemeClr val="dk1"/>
              </a:lnRef>
              <a:fillRef idx="3">
                <a:schemeClr val="dk1"/>
              </a:fillRef>
              <a:effectRef idx="3">
                <a:schemeClr val="dk1"/>
              </a:effectRef>
              <a:fontRef idx="minor">
                <a:schemeClr val="lt1"/>
              </a:fontRef>
            </p:style>
            <p:txBody>
              <a:bodyPr anchor="ctr"/>
              <a:lstStyle/>
              <a:p>
                <a:pPr algn="ctr">
                  <a:spcBef>
                    <a:spcPct val="50000"/>
                  </a:spcBef>
                  <a:buClr>
                    <a:srgbClr val="009900"/>
                  </a:buClr>
                  <a:defRPr/>
                </a:pPr>
                <a:endParaRPr lang="en-US" sz="2200" dirty="0">
                  <a:solidFill>
                    <a:srgbClr val="002060"/>
                  </a:solidFill>
                  <a:effectLst>
                    <a:outerShdw blurRad="38100" dist="38100" dir="2700000" algn="tl">
                      <a:srgbClr val="000000">
                        <a:alpha val="43137"/>
                      </a:srgbClr>
                    </a:outerShdw>
                  </a:effectLst>
                </a:endParaRPr>
              </a:p>
            </p:txBody>
          </p:sp>
          <p:pic>
            <p:nvPicPr>
              <p:cNvPr id="74" name="Picture 7" descr="Layer 15"/>
              <p:cNvPicPr>
                <a:picLocks noChangeAspect="1" noChangeArrowheads="1"/>
              </p:cNvPicPr>
              <p:nvPr>
                <p:custDataLst>
                  <p:tags r:id="rId1"/>
                </p:custDataLst>
              </p:nvPr>
            </p:nvPicPr>
            <p:blipFill>
              <a:blip r:embed="rId8" cstate="print"/>
              <a:srcRect/>
              <a:stretch>
                <a:fillRect/>
              </a:stretch>
            </p:blipFill>
            <p:spPr bwMode="ltGray">
              <a:xfrm>
                <a:off x="4710242" y="2740110"/>
                <a:ext cx="933705" cy="554564"/>
              </a:xfrm>
              <a:prstGeom prst="roundRect">
                <a:avLst>
                  <a:gd name="adj" fmla="val 13865"/>
                </a:avLst>
              </a:prstGeom>
              <a:solidFill>
                <a:srgbClr val="FFFFFF">
                  <a:shade val="85000"/>
                </a:srgbClr>
              </a:solidFill>
              <a:ln>
                <a:noFill/>
              </a:ln>
              <a:effectLst/>
            </p:spPr>
          </p:pic>
          <p:sp>
            <p:nvSpPr>
              <p:cNvPr id="75" name="Text Box 24"/>
              <p:cNvSpPr txBox="1">
                <a:spLocks noChangeArrowheads="1"/>
              </p:cNvSpPr>
              <p:nvPr/>
            </p:nvSpPr>
            <p:spPr bwMode="gray">
              <a:xfrm>
                <a:off x="1714843" y="2772297"/>
                <a:ext cx="2974639" cy="500964"/>
              </a:xfrm>
              <a:prstGeom prst="rect">
                <a:avLst/>
              </a:prstGeom>
              <a:noFill/>
              <a:ln w="9525">
                <a:noFill/>
                <a:miter lim="800000"/>
                <a:headEnd/>
                <a:tailEnd/>
              </a:ln>
            </p:spPr>
            <p:txBody>
              <a:bodyPr wrap="none" anchor="ctr"/>
              <a:lstStyle/>
              <a:p>
                <a:pPr marL="176213" indent="-176213" algn="r" defTabSz="1023938">
                  <a:lnSpc>
                    <a:spcPct val="90000"/>
                  </a:lnSpc>
                  <a:spcBef>
                    <a:spcPts val="300"/>
                  </a:spcBef>
                  <a:buClr>
                    <a:schemeClr val="accent2"/>
                  </a:buClr>
                  <a:buSzPct val="85000"/>
                  <a:defRPr/>
                </a:pPr>
                <a:r>
                  <a:rPr lang="en-US" sz="1400" b="1" kern="0" dirty="0">
                    <a:solidFill>
                      <a:srgbClr val="002060"/>
                    </a:solidFill>
                    <a:latin typeface="+mn-lt"/>
                    <a:cs typeface="+mn-cs"/>
                  </a:rPr>
                  <a:t>Horizon 3</a:t>
                </a:r>
              </a:p>
              <a:p>
                <a:pPr marL="176213" indent="-176213" algn="r" defTabSz="1023938">
                  <a:lnSpc>
                    <a:spcPct val="90000"/>
                  </a:lnSpc>
                  <a:spcBef>
                    <a:spcPts val="300"/>
                  </a:spcBef>
                  <a:buClr>
                    <a:schemeClr val="accent2"/>
                  </a:buClr>
                  <a:buSzPct val="85000"/>
                  <a:defRPr/>
                </a:pPr>
                <a:r>
                  <a:rPr lang="en-US" sz="1400" kern="0" dirty="0">
                    <a:solidFill>
                      <a:srgbClr val="002060"/>
                    </a:solidFill>
                    <a:latin typeface="+mn-lt"/>
                    <a:cs typeface="+mn-cs"/>
                  </a:rPr>
                  <a:t>R&amp;D Ecosystem of the Future</a:t>
                </a:r>
              </a:p>
            </p:txBody>
          </p:sp>
        </p:grpSp>
      </p:grpSp>
    </p:spTree>
    <p:extLst>
      <p:ext uri="{BB962C8B-B14F-4D97-AF65-F5344CB8AC3E}">
        <p14:creationId xmlns:p14="http://schemas.microsoft.com/office/powerpoint/2010/main" val="33654182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1600" b="1">
                <a:solidFill>
                  <a:srgbClr val="007CC2"/>
                </a:solidFill>
                <a:latin typeface="Arial" pitchFamily="34" charset="0"/>
                <a:cs typeface="Arial" pitchFamily="34" charset="0"/>
              </a:defRPr>
            </a:lvl1pPr>
            <a:lvl2pPr marL="742950" indent="-285750" eaLnBrk="0" hangingPunct="0">
              <a:buClr>
                <a:schemeClr val="bg1"/>
              </a:buClr>
              <a:buFont typeface="Wingdings" pitchFamily="2" charset="2"/>
              <a:buChar char="§"/>
              <a:defRPr sz="1600">
                <a:solidFill>
                  <a:srgbClr val="007CC2"/>
                </a:solidFill>
                <a:latin typeface="Arial" pitchFamily="34" charset="0"/>
                <a:cs typeface="Arial" pitchFamily="34" charset="0"/>
              </a:defRPr>
            </a:lvl2pPr>
            <a:lvl3pPr marL="1143000" indent="-228600" eaLnBrk="0" hangingPunct="0">
              <a:buClr>
                <a:schemeClr val="bg1"/>
              </a:buClr>
              <a:buFont typeface="Wingdings" pitchFamily="2" charset="2"/>
              <a:buChar char="w"/>
              <a:defRPr sz="1600">
                <a:solidFill>
                  <a:srgbClr val="007CC2"/>
                </a:solidFill>
                <a:latin typeface="Arial" pitchFamily="34" charset="0"/>
                <a:cs typeface="Arial" pitchFamily="34" charset="0"/>
              </a:defRPr>
            </a:lvl3pPr>
            <a:lvl4pPr marL="16002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4pPr>
            <a:lvl5pPr marL="20574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5pPr>
            <a:lvl6pPr marL="25146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6pPr>
            <a:lvl7pPr marL="29718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7pPr>
            <a:lvl8pPr marL="34290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8pPr>
            <a:lvl9pPr marL="38862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9pPr>
          </a:lstStyle>
          <a:p>
            <a:pPr>
              <a:spcBef>
                <a:spcPct val="0"/>
              </a:spcBef>
              <a:buFontTx/>
              <a:buNone/>
            </a:pPr>
            <a:fld id="{80DA26D6-CEF9-42C6-8C5B-F1933CED2994}" type="slidenum">
              <a:rPr lang="en-US" altLang="en-US" sz="800" b="0" smtClean="0"/>
              <a:pPr>
                <a:spcBef>
                  <a:spcPct val="0"/>
                </a:spcBef>
                <a:buFontTx/>
                <a:buNone/>
              </a:pPr>
              <a:t>8</a:t>
            </a:fld>
            <a:endParaRPr lang="en-US" altLang="en-US" sz="800" b="0" smtClean="0"/>
          </a:p>
        </p:txBody>
      </p:sp>
      <p:sp>
        <p:nvSpPr>
          <p:cNvPr id="4" name="Title 4"/>
          <p:cNvSpPr txBox="1">
            <a:spLocks/>
          </p:cNvSpPr>
          <p:nvPr/>
        </p:nvSpPr>
        <p:spPr bwMode="gray">
          <a:xfrm>
            <a:off x="290285" y="225425"/>
            <a:ext cx="7547429" cy="711200"/>
          </a:xfrm>
          <a:prstGeom prst="rect">
            <a:avLst/>
          </a:prstGeom>
          <a:noFill/>
          <a:ln w="9525">
            <a:noFill/>
            <a:miter lim="800000"/>
            <a:headEnd/>
            <a:tailEnd/>
          </a:ln>
        </p:spPr>
        <p:txBody>
          <a:bodyPr lIns="0" tIns="45595" rIns="0" bIns="45595" anchor="b"/>
          <a:lstStyle/>
          <a:p>
            <a:pPr eaLnBrk="0" hangingPunct="0">
              <a:defRPr/>
            </a:pPr>
            <a:r>
              <a:rPr lang="en-US" sz="2400" kern="0" dirty="0">
                <a:solidFill>
                  <a:schemeClr val="bg1"/>
                </a:solidFill>
                <a:ea typeface="+mj-ea"/>
                <a:cs typeface="+mj-cs"/>
              </a:rPr>
              <a:t>Precision Medicine</a:t>
            </a:r>
            <a:br>
              <a:rPr lang="en-US" sz="2400" kern="0" dirty="0">
                <a:solidFill>
                  <a:schemeClr val="bg1"/>
                </a:solidFill>
                <a:ea typeface="+mj-ea"/>
                <a:cs typeface="+mj-cs"/>
              </a:rPr>
            </a:br>
            <a:r>
              <a:rPr lang="en-US" sz="2400" kern="0" dirty="0">
                <a:solidFill>
                  <a:schemeClr val="bg1"/>
                </a:solidFill>
                <a:ea typeface="+mj-ea"/>
                <a:cs typeface="+mj-cs"/>
              </a:rPr>
              <a:t>– Breast Cancer Segmentation</a:t>
            </a:r>
          </a:p>
        </p:txBody>
      </p:sp>
      <p:grpSp>
        <p:nvGrpSpPr>
          <p:cNvPr id="16388" name="Group 2"/>
          <p:cNvGrpSpPr>
            <a:grpSpLocks/>
          </p:cNvGrpSpPr>
          <p:nvPr/>
        </p:nvGrpSpPr>
        <p:grpSpPr bwMode="auto">
          <a:xfrm>
            <a:off x="607786" y="3230564"/>
            <a:ext cx="2730500" cy="662042"/>
            <a:chOff x="224" y="1205"/>
            <a:chExt cx="1993" cy="392"/>
          </a:xfrm>
        </p:grpSpPr>
        <p:sp>
          <p:nvSpPr>
            <p:cNvPr id="16475" name="Freeform 3"/>
            <p:cNvSpPr>
              <a:spLocks/>
            </p:cNvSpPr>
            <p:nvPr/>
          </p:nvSpPr>
          <p:spPr bwMode="auto">
            <a:xfrm>
              <a:off x="224" y="1205"/>
              <a:ext cx="257" cy="288"/>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00"/>
            </a:solidFill>
            <a:ln w="9525">
              <a:solidFill>
                <a:schemeClr val="tx1"/>
              </a:solidFill>
              <a:round/>
              <a:headEnd/>
              <a:tailEnd/>
            </a:ln>
          </p:spPr>
          <p:txBody>
            <a:bodyPr>
              <a:spAutoFit/>
            </a:bodyPr>
            <a:lstStyle/>
            <a:p>
              <a:endParaRPr lang="en-US"/>
            </a:p>
          </p:txBody>
        </p:sp>
        <p:sp>
          <p:nvSpPr>
            <p:cNvPr id="16476" name="Freeform 4"/>
            <p:cNvSpPr>
              <a:spLocks/>
            </p:cNvSpPr>
            <p:nvPr/>
          </p:nvSpPr>
          <p:spPr bwMode="auto">
            <a:xfrm>
              <a:off x="320" y="1301"/>
              <a:ext cx="257" cy="288"/>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00"/>
            </a:solidFill>
            <a:ln w="9525">
              <a:solidFill>
                <a:schemeClr val="tx1"/>
              </a:solidFill>
              <a:round/>
              <a:headEnd/>
              <a:tailEnd/>
            </a:ln>
          </p:spPr>
          <p:txBody>
            <a:bodyPr>
              <a:spAutoFit/>
            </a:bodyPr>
            <a:lstStyle/>
            <a:p>
              <a:endParaRPr lang="en-US"/>
            </a:p>
          </p:txBody>
        </p:sp>
        <p:sp>
          <p:nvSpPr>
            <p:cNvPr id="16477" name="Freeform 5"/>
            <p:cNvSpPr>
              <a:spLocks/>
            </p:cNvSpPr>
            <p:nvPr/>
          </p:nvSpPr>
          <p:spPr bwMode="auto">
            <a:xfrm>
              <a:off x="448" y="1205"/>
              <a:ext cx="257" cy="288"/>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00"/>
            </a:solidFill>
            <a:ln w="9525">
              <a:solidFill>
                <a:schemeClr val="tx1"/>
              </a:solidFill>
              <a:round/>
              <a:headEnd/>
              <a:tailEnd/>
            </a:ln>
          </p:spPr>
          <p:txBody>
            <a:bodyPr>
              <a:spAutoFit/>
            </a:bodyPr>
            <a:lstStyle/>
            <a:p>
              <a:endParaRPr lang="en-US"/>
            </a:p>
          </p:txBody>
        </p:sp>
        <p:sp>
          <p:nvSpPr>
            <p:cNvPr id="16478" name="Freeform 6"/>
            <p:cNvSpPr>
              <a:spLocks/>
            </p:cNvSpPr>
            <p:nvPr/>
          </p:nvSpPr>
          <p:spPr bwMode="auto">
            <a:xfrm>
              <a:off x="544" y="1301"/>
              <a:ext cx="257" cy="288"/>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00"/>
            </a:solidFill>
            <a:ln w="9525">
              <a:solidFill>
                <a:schemeClr val="tx1"/>
              </a:solidFill>
              <a:round/>
              <a:headEnd/>
              <a:tailEnd/>
            </a:ln>
          </p:spPr>
          <p:txBody>
            <a:bodyPr>
              <a:spAutoFit/>
            </a:bodyPr>
            <a:lstStyle/>
            <a:p>
              <a:endParaRPr lang="en-US"/>
            </a:p>
          </p:txBody>
        </p:sp>
        <p:sp>
          <p:nvSpPr>
            <p:cNvPr id="16479" name="Freeform 7"/>
            <p:cNvSpPr>
              <a:spLocks/>
            </p:cNvSpPr>
            <p:nvPr/>
          </p:nvSpPr>
          <p:spPr bwMode="auto">
            <a:xfrm>
              <a:off x="712" y="1205"/>
              <a:ext cx="257" cy="288"/>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00"/>
            </a:solidFill>
            <a:ln w="9525">
              <a:solidFill>
                <a:schemeClr val="tx1"/>
              </a:solidFill>
              <a:round/>
              <a:headEnd/>
              <a:tailEnd/>
            </a:ln>
          </p:spPr>
          <p:txBody>
            <a:bodyPr>
              <a:spAutoFit/>
            </a:bodyPr>
            <a:lstStyle/>
            <a:p>
              <a:endParaRPr lang="en-US"/>
            </a:p>
          </p:txBody>
        </p:sp>
        <p:sp>
          <p:nvSpPr>
            <p:cNvPr id="16480" name="Freeform 8"/>
            <p:cNvSpPr>
              <a:spLocks/>
            </p:cNvSpPr>
            <p:nvPr/>
          </p:nvSpPr>
          <p:spPr bwMode="auto">
            <a:xfrm>
              <a:off x="808" y="1301"/>
              <a:ext cx="257" cy="288"/>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00"/>
            </a:solidFill>
            <a:ln w="9525">
              <a:solidFill>
                <a:schemeClr val="tx1"/>
              </a:solidFill>
              <a:round/>
              <a:headEnd/>
              <a:tailEnd/>
            </a:ln>
          </p:spPr>
          <p:txBody>
            <a:bodyPr>
              <a:spAutoFit/>
            </a:bodyPr>
            <a:lstStyle/>
            <a:p>
              <a:endParaRPr lang="en-US"/>
            </a:p>
          </p:txBody>
        </p:sp>
        <p:sp>
          <p:nvSpPr>
            <p:cNvPr id="16481" name="Freeform 9"/>
            <p:cNvSpPr>
              <a:spLocks/>
            </p:cNvSpPr>
            <p:nvPr/>
          </p:nvSpPr>
          <p:spPr bwMode="auto">
            <a:xfrm>
              <a:off x="936" y="1205"/>
              <a:ext cx="257" cy="288"/>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00"/>
            </a:solidFill>
            <a:ln w="9525">
              <a:solidFill>
                <a:schemeClr val="tx1"/>
              </a:solidFill>
              <a:round/>
              <a:headEnd/>
              <a:tailEnd/>
            </a:ln>
          </p:spPr>
          <p:txBody>
            <a:bodyPr>
              <a:spAutoFit/>
            </a:bodyPr>
            <a:lstStyle/>
            <a:p>
              <a:endParaRPr lang="en-US"/>
            </a:p>
          </p:txBody>
        </p:sp>
        <p:sp>
          <p:nvSpPr>
            <p:cNvPr id="16482" name="Freeform 10"/>
            <p:cNvSpPr>
              <a:spLocks/>
            </p:cNvSpPr>
            <p:nvPr/>
          </p:nvSpPr>
          <p:spPr bwMode="auto">
            <a:xfrm>
              <a:off x="1032" y="1301"/>
              <a:ext cx="257" cy="288"/>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00"/>
            </a:solidFill>
            <a:ln w="9525">
              <a:solidFill>
                <a:schemeClr val="tx1"/>
              </a:solidFill>
              <a:round/>
              <a:headEnd/>
              <a:tailEnd/>
            </a:ln>
          </p:spPr>
          <p:txBody>
            <a:bodyPr>
              <a:spAutoFit/>
            </a:bodyPr>
            <a:lstStyle/>
            <a:p>
              <a:endParaRPr lang="en-US"/>
            </a:p>
          </p:txBody>
        </p:sp>
        <p:sp>
          <p:nvSpPr>
            <p:cNvPr id="16483" name="Freeform 11"/>
            <p:cNvSpPr>
              <a:spLocks/>
            </p:cNvSpPr>
            <p:nvPr/>
          </p:nvSpPr>
          <p:spPr bwMode="auto">
            <a:xfrm>
              <a:off x="1176" y="1205"/>
              <a:ext cx="257" cy="288"/>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00"/>
            </a:solidFill>
            <a:ln w="9525">
              <a:solidFill>
                <a:schemeClr val="tx1"/>
              </a:solidFill>
              <a:round/>
              <a:headEnd/>
              <a:tailEnd/>
            </a:ln>
          </p:spPr>
          <p:txBody>
            <a:bodyPr>
              <a:spAutoFit/>
            </a:bodyPr>
            <a:lstStyle/>
            <a:p>
              <a:endParaRPr lang="en-US"/>
            </a:p>
          </p:txBody>
        </p:sp>
        <p:sp>
          <p:nvSpPr>
            <p:cNvPr id="16484" name="Freeform 12"/>
            <p:cNvSpPr>
              <a:spLocks/>
            </p:cNvSpPr>
            <p:nvPr/>
          </p:nvSpPr>
          <p:spPr bwMode="auto">
            <a:xfrm>
              <a:off x="1272" y="1301"/>
              <a:ext cx="257" cy="288"/>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00"/>
            </a:solidFill>
            <a:ln w="9525">
              <a:solidFill>
                <a:schemeClr val="tx1"/>
              </a:solidFill>
              <a:round/>
              <a:headEnd/>
              <a:tailEnd/>
            </a:ln>
          </p:spPr>
          <p:txBody>
            <a:bodyPr>
              <a:spAutoFit/>
            </a:bodyPr>
            <a:lstStyle/>
            <a:p>
              <a:endParaRPr lang="en-US"/>
            </a:p>
          </p:txBody>
        </p:sp>
        <p:sp>
          <p:nvSpPr>
            <p:cNvPr id="16485" name="Freeform 13"/>
            <p:cNvSpPr>
              <a:spLocks/>
            </p:cNvSpPr>
            <p:nvPr/>
          </p:nvSpPr>
          <p:spPr bwMode="auto">
            <a:xfrm>
              <a:off x="1400" y="1205"/>
              <a:ext cx="257" cy="288"/>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00"/>
            </a:solidFill>
            <a:ln w="9525">
              <a:solidFill>
                <a:schemeClr val="tx1"/>
              </a:solidFill>
              <a:round/>
              <a:headEnd/>
              <a:tailEnd/>
            </a:ln>
          </p:spPr>
          <p:txBody>
            <a:bodyPr>
              <a:spAutoFit/>
            </a:bodyPr>
            <a:lstStyle/>
            <a:p>
              <a:endParaRPr lang="en-US"/>
            </a:p>
          </p:txBody>
        </p:sp>
        <p:sp>
          <p:nvSpPr>
            <p:cNvPr id="16486" name="Freeform 14"/>
            <p:cNvSpPr>
              <a:spLocks/>
            </p:cNvSpPr>
            <p:nvPr/>
          </p:nvSpPr>
          <p:spPr bwMode="auto">
            <a:xfrm>
              <a:off x="1496" y="1301"/>
              <a:ext cx="257" cy="288"/>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00"/>
            </a:solidFill>
            <a:ln w="9525">
              <a:solidFill>
                <a:schemeClr val="tx1"/>
              </a:solidFill>
              <a:round/>
              <a:headEnd/>
              <a:tailEnd/>
            </a:ln>
          </p:spPr>
          <p:txBody>
            <a:bodyPr>
              <a:spAutoFit/>
            </a:bodyPr>
            <a:lstStyle/>
            <a:p>
              <a:endParaRPr lang="en-US"/>
            </a:p>
          </p:txBody>
        </p:sp>
        <p:sp>
          <p:nvSpPr>
            <p:cNvPr id="16487" name="Freeform 15"/>
            <p:cNvSpPr>
              <a:spLocks/>
            </p:cNvSpPr>
            <p:nvPr/>
          </p:nvSpPr>
          <p:spPr bwMode="auto">
            <a:xfrm>
              <a:off x="1640" y="1213"/>
              <a:ext cx="257" cy="288"/>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00"/>
            </a:solidFill>
            <a:ln w="9525">
              <a:solidFill>
                <a:schemeClr val="tx1"/>
              </a:solidFill>
              <a:round/>
              <a:headEnd/>
              <a:tailEnd/>
            </a:ln>
          </p:spPr>
          <p:txBody>
            <a:bodyPr>
              <a:spAutoFit/>
            </a:bodyPr>
            <a:lstStyle/>
            <a:p>
              <a:endParaRPr lang="en-US"/>
            </a:p>
          </p:txBody>
        </p:sp>
        <p:sp>
          <p:nvSpPr>
            <p:cNvPr id="16488" name="Freeform 16"/>
            <p:cNvSpPr>
              <a:spLocks/>
            </p:cNvSpPr>
            <p:nvPr/>
          </p:nvSpPr>
          <p:spPr bwMode="auto">
            <a:xfrm>
              <a:off x="1736" y="1309"/>
              <a:ext cx="257" cy="288"/>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00"/>
            </a:solidFill>
            <a:ln w="9525">
              <a:solidFill>
                <a:schemeClr val="tx1"/>
              </a:solidFill>
              <a:round/>
              <a:headEnd/>
              <a:tailEnd/>
            </a:ln>
          </p:spPr>
          <p:txBody>
            <a:bodyPr>
              <a:spAutoFit/>
            </a:bodyPr>
            <a:lstStyle/>
            <a:p>
              <a:endParaRPr lang="en-US"/>
            </a:p>
          </p:txBody>
        </p:sp>
        <p:sp>
          <p:nvSpPr>
            <p:cNvPr id="16489" name="Freeform 17"/>
            <p:cNvSpPr>
              <a:spLocks/>
            </p:cNvSpPr>
            <p:nvPr/>
          </p:nvSpPr>
          <p:spPr bwMode="auto">
            <a:xfrm>
              <a:off x="1864" y="1213"/>
              <a:ext cx="257" cy="288"/>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00"/>
            </a:solidFill>
            <a:ln w="9525">
              <a:solidFill>
                <a:schemeClr val="tx1"/>
              </a:solidFill>
              <a:round/>
              <a:headEnd/>
              <a:tailEnd/>
            </a:ln>
          </p:spPr>
          <p:txBody>
            <a:bodyPr>
              <a:spAutoFit/>
            </a:bodyPr>
            <a:lstStyle/>
            <a:p>
              <a:endParaRPr lang="en-US"/>
            </a:p>
          </p:txBody>
        </p:sp>
        <p:sp>
          <p:nvSpPr>
            <p:cNvPr id="16490" name="Freeform 18"/>
            <p:cNvSpPr>
              <a:spLocks/>
            </p:cNvSpPr>
            <p:nvPr/>
          </p:nvSpPr>
          <p:spPr bwMode="auto">
            <a:xfrm>
              <a:off x="1960" y="1309"/>
              <a:ext cx="257" cy="288"/>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00"/>
            </a:solidFill>
            <a:ln w="9525">
              <a:solidFill>
                <a:schemeClr val="tx1"/>
              </a:solidFill>
              <a:round/>
              <a:headEnd/>
              <a:tailEnd/>
            </a:ln>
          </p:spPr>
          <p:txBody>
            <a:bodyPr>
              <a:spAutoFit/>
            </a:bodyPr>
            <a:lstStyle/>
            <a:p>
              <a:endParaRPr lang="en-US"/>
            </a:p>
          </p:txBody>
        </p:sp>
      </p:grpSp>
      <p:grpSp>
        <p:nvGrpSpPr>
          <p:cNvPr id="16389" name="Group 19"/>
          <p:cNvGrpSpPr>
            <a:grpSpLocks/>
          </p:cNvGrpSpPr>
          <p:nvPr/>
        </p:nvGrpSpPr>
        <p:grpSpPr bwMode="auto">
          <a:xfrm>
            <a:off x="594179" y="4438648"/>
            <a:ext cx="2744107" cy="664091"/>
            <a:chOff x="408" y="3173"/>
            <a:chExt cx="1993" cy="387"/>
          </a:xfrm>
        </p:grpSpPr>
        <p:sp>
          <p:nvSpPr>
            <p:cNvPr id="16459" name="Freeform 20"/>
            <p:cNvSpPr>
              <a:spLocks/>
            </p:cNvSpPr>
            <p:nvPr/>
          </p:nvSpPr>
          <p:spPr bwMode="auto">
            <a:xfrm>
              <a:off x="408" y="3173"/>
              <a:ext cx="257" cy="283"/>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CC"/>
            </a:solidFill>
            <a:ln w="9525">
              <a:solidFill>
                <a:schemeClr val="folHlink"/>
              </a:solidFill>
              <a:round/>
              <a:headEnd/>
              <a:tailEnd/>
            </a:ln>
          </p:spPr>
          <p:txBody>
            <a:bodyPr>
              <a:spAutoFit/>
            </a:bodyPr>
            <a:lstStyle/>
            <a:p>
              <a:endParaRPr lang="en-US"/>
            </a:p>
          </p:txBody>
        </p:sp>
        <p:sp>
          <p:nvSpPr>
            <p:cNvPr id="16460" name="Freeform 21"/>
            <p:cNvSpPr>
              <a:spLocks/>
            </p:cNvSpPr>
            <p:nvPr/>
          </p:nvSpPr>
          <p:spPr bwMode="auto">
            <a:xfrm>
              <a:off x="504" y="3269"/>
              <a:ext cx="257" cy="283"/>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CC"/>
            </a:solidFill>
            <a:ln w="9525">
              <a:solidFill>
                <a:schemeClr val="folHlink"/>
              </a:solidFill>
              <a:round/>
              <a:headEnd/>
              <a:tailEnd/>
            </a:ln>
          </p:spPr>
          <p:txBody>
            <a:bodyPr>
              <a:spAutoFit/>
            </a:bodyPr>
            <a:lstStyle/>
            <a:p>
              <a:endParaRPr lang="en-US"/>
            </a:p>
          </p:txBody>
        </p:sp>
        <p:sp>
          <p:nvSpPr>
            <p:cNvPr id="16461" name="Freeform 22"/>
            <p:cNvSpPr>
              <a:spLocks/>
            </p:cNvSpPr>
            <p:nvPr/>
          </p:nvSpPr>
          <p:spPr bwMode="auto">
            <a:xfrm>
              <a:off x="632" y="3173"/>
              <a:ext cx="257" cy="283"/>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00"/>
            </a:solidFill>
            <a:ln w="9525">
              <a:solidFill>
                <a:schemeClr val="tx1"/>
              </a:solidFill>
              <a:round/>
              <a:headEnd/>
              <a:tailEnd/>
            </a:ln>
          </p:spPr>
          <p:txBody>
            <a:bodyPr>
              <a:spAutoFit/>
            </a:bodyPr>
            <a:lstStyle/>
            <a:p>
              <a:endParaRPr lang="en-US"/>
            </a:p>
          </p:txBody>
        </p:sp>
        <p:sp>
          <p:nvSpPr>
            <p:cNvPr id="16462" name="Freeform 23"/>
            <p:cNvSpPr>
              <a:spLocks/>
            </p:cNvSpPr>
            <p:nvPr/>
          </p:nvSpPr>
          <p:spPr bwMode="auto">
            <a:xfrm>
              <a:off x="728" y="3269"/>
              <a:ext cx="257" cy="283"/>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CC"/>
            </a:solidFill>
            <a:ln w="9525">
              <a:solidFill>
                <a:schemeClr val="folHlink"/>
              </a:solidFill>
              <a:round/>
              <a:headEnd/>
              <a:tailEnd/>
            </a:ln>
          </p:spPr>
          <p:txBody>
            <a:bodyPr>
              <a:spAutoFit/>
            </a:bodyPr>
            <a:lstStyle/>
            <a:p>
              <a:endParaRPr lang="en-US"/>
            </a:p>
          </p:txBody>
        </p:sp>
        <p:sp>
          <p:nvSpPr>
            <p:cNvPr id="16463" name="Freeform 24"/>
            <p:cNvSpPr>
              <a:spLocks/>
            </p:cNvSpPr>
            <p:nvPr/>
          </p:nvSpPr>
          <p:spPr bwMode="auto">
            <a:xfrm>
              <a:off x="896" y="3173"/>
              <a:ext cx="257" cy="283"/>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CC"/>
            </a:solidFill>
            <a:ln w="9525">
              <a:solidFill>
                <a:schemeClr val="folHlink"/>
              </a:solidFill>
              <a:round/>
              <a:headEnd/>
              <a:tailEnd/>
            </a:ln>
          </p:spPr>
          <p:txBody>
            <a:bodyPr>
              <a:spAutoFit/>
            </a:bodyPr>
            <a:lstStyle/>
            <a:p>
              <a:endParaRPr lang="en-US"/>
            </a:p>
          </p:txBody>
        </p:sp>
        <p:sp>
          <p:nvSpPr>
            <p:cNvPr id="16464" name="Freeform 25"/>
            <p:cNvSpPr>
              <a:spLocks/>
            </p:cNvSpPr>
            <p:nvPr/>
          </p:nvSpPr>
          <p:spPr bwMode="auto">
            <a:xfrm>
              <a:off x="992" y="3269"/>
              <a:ext cx="257" cy="283"/>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00"/>
            </a:solidFill>
            <a:ln w="9525">
              <a:solidFill>
                <a:schemeClr val="tx1"/>
              </a:solidFill>
              <a:round/>
              <a:headEnd/>
              <a:tailEnd/>
            </a:ln>
          </p:spPr>
          <p:txBody>
            <a:bodyPr>
              <a:spAutoFit/>
            </a:bodyPr>
            <a:lstStyle/>
            <a:p>
              <a:endParaRPr lang="en-US"/>
            </a:p>
          </p:txBody>
        </p:sp>
        <p:sp>
          <p:nvSpPr>
            <p:cNvPr id="16465" name="Freeform 26"/>
            <p:cNvSpPr>
              <a:spLocks/>
            </p:cNvSpPr>
            <p:nvPr/>
          </p:nvSpPr>
          <p:spPr bwMode="auto">
            <a:xfrm>
              <a:off x="1120" y="3173"/>
              <a:ext cx="257" cy="283"/>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CC"/>
            </a:solidFill>
            <a:ln w="9525">
              <a:solidFill>
                <a:schemeClr val="folHlink"/>
              </a:solidFill>
              <a:round/>
              <a:headEnd/>
              <a:tailEnd/>
            </a:ln>
          </p:spPr>
          <p:txBody>
            <a:bodyPr>
              <a:spAutoFit/>
            </a:bodyPr>
            <a:lstStyle/>
            <a:p>
              <a:endParaRPr lang="en-US"/>
            </a:p>
          </p:txBody>
        </p:sp>
        <p:sp>
          <p:nvSpPr>
            <p:cNvPr id="16466" name="Freeform 27"/>
            <p:cNvSpPr>
              <a:spLocks/>
            </p:cNvSpPr>
            <p:nvPr/>
          </p:nvSpPr>
          <p:spPr bwMode="auto">
            <a:xfrm>
              <a:off x="1216" y="3269"/>
              <a:ext cx="257" cy="283"/>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CC"/>
            </a:solidFill>
            <a:ln w="9525">
              <a:solidFill>
                <a:schemeClr val="folHlink"/>
              </a:solidFill>
              <a:round/>
              <a:headEnd/>
              <a:tailEnd/>
            </a:ln>
          </p:spPr>
          <p:txBody>
            <a:bodyPr>
              <a:spAutoFit/>
            </a:bodyPr>
            <a:lstStyle/>
            <a:p>
              <a:endParaRPr lang="en-US"/>
            </a:p>
          </p:txBody>
        </p:sp>
        <p:sp>
          <p:nvSpPr>
            <p:cNvPr id="16467" name="Freeform 28"/>
            <p:cNvSpPr>
              <a:spLocks/>
            </p:cNvSpPr>
            <p:nvPr/>
          </p:nvSpPr>
          <p:spPr bwMode="auto">
            <a:xfrm>
              <a:off x="1360" y="3173"/>
              <a:ext cx="257" cy="283"/>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00"/>
            </a:solidFill>
            <a:ln w="9525">
              <a:solidFill>
                <a:schemeClr val="tx1"/>
              </a:solidFill>
              <a:round/>
              <a:headEnd/>
              <a:tailEnd/>
            </a:ln>
          </p:spPr>
          <p:txBody>
            <a:bodyPr>
              <a:spAutoFit/>
            </a:bodyPr>
            <a:lstStyle/>
            <a:p>
              <a:endParaRPr lang="en-US"/>
            </a:p>
          </p:txBody>
        </p:sp>
        <p:sp>
          <p:nvSpPr>
            <p:cNvPr id="16468" name="Freeform 29"/>
            <p:cNvSpPr>
              <a:spLocks/>
            </p:cNvSpPr>
            <p:nvPr/>
          </p:nvSpPr>
          <p:spPr bwMode="auto">
            <a:xfrm>
              <a:off x="1456" y="3269"/>
              <a:ext cx="257" cy="283"/>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CC"/>
            </a:solidFill>
            <a:ln w="9525">
              <a:solidFill>
                <a:schemeClr val="folHlink"/>
              </a:solidFill>
              <a:round/>
              <a:headEnd/>
              <a:tailEnd/>
            </a:ln>
          </p:spPr>
          <p:txBody>
            <a:bodyPr>
              <a:spAutoFit/>
            </a:bodyPr>
            <a:lstStyle/>
            <a:p>
              <a:endParaRPr lang="en-US"/>
            </a:p>
          </p:txBody>
        </p:sp>
        <p:sp>
          <p:nvSpPr>
            <p:cNvPr id="16469" name="Freeform 30"/>
            <p:cNvSpPr>
              <a:spLocks/>
            </p:cNvSpPr>
            <p:nvPr/>
          </p:nvSpPr>
          <p:spPr bwMode="auto">
            <a:xfrm>
              <a:off x="1584" y="3173"/>
              <a:ext cx="257" cy="283"/>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CC"/>
            </a:solidFill>
            <a:ln w="9525">
              <a:solidFill>
                <a:schemeClr val="folHlink"/>
              </a:solidFill>
              <a:round/>
              <a:headEnd/>
              <a:tailEnd/>
            </a:ln>
          </p:spPr>
          <p:txBody>
            <a:bodyPr>
              <a:spAutoFit/>
            </a:bodyPr>
            <a:lstStyle/>
            <a:p>
              <a:endParaRPr lang="en-US"/>
            </a:p>
          </p:txBody>
        </p:sp>
        <p:sp>
          <p:nvSpPr>
            <p:cNvPr id="16470" name="Freeform 31"/>
            <p:cNvSpPr>
              <a:spLocks/>
            </p:cNvSpPr>
            <p:nvPr/>
          </p:nvSpPr>
          <p:spPr bwMode="auto">
            <a:xfrm>
              <a:off x="1680" y="3269"/>
              <a:ext cx="257" cy="283"/>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CC"/>
            </a:solidFill>
            <a:ln w="9525">
              <a:solidFill>
                <a:schemeClr val="folHlink"/>
              </a:solidFill>
              <a:round/>
              <a:headEnd/>
              <a:tailEnd/>
            </a:ln>
          </p:spPr>
          <p:txBody>
            <a:bodyPr>
              <a:spAutoFit/>
            </a:bodyPr>
            <a:lstStyle/>
            <a:p>
              <a:endParaRPr lang="en-US"/>
            </a:p>
          </p:txBody>
        </p:sp>
        <p:sp>
          <p:nvSpPr>
            <p:cNvPr id="16471" name="Freeform 32"/>
            <p:cNvSpPr>
              <a:spLocks/>
            </p:cNvSpPr>
            <p:nvPr/>
          </p:nvSpPr>
          <p:spPr bwMode="auto">
            <a:xfrm>
              <a:off x="1824" y="3181"/>
              <a:ext cx="257" cy="283"/>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CC"/>
            </a:solidFill>
            <a:ln w="9525">
              <a:solidFill>
                <a:schemeClr val="folHlink"/>
              </a:solidFill>
              <a:round/>
              <a:headEnd/>
              <a:tailEnd/>
            </a:ln>
          </p:spPr>
          <p:txBody>
            <a:bodyPr>
              <a:spAutoFit/>
            </a:bodyPr>
            <a:lstStyle/>
            <a:p>
              <a:endParaRPr lang="en-US"/>
            </a:p>
          </p:txBody>
        </p:sp>
        <p:sp>
          <p:nvSpPr>
            <p:cNvPr id="16472" name="Freeform 33"/>
            <p:cNvSpPr>
              <a:spLocks/>
            </p:cNvSpPr>
            <p:nvPr/>
          </p:nvSpPr>
          <p:spPr bwMode="auto">
            <a:xfrm>
              <a:off x="1920" y="3277"/>
              <a:ext cx="257" cy="283"/>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CC"/>
            </a:solidFill>
            <a:ln w="9525">
              <a:solidFill>
                <a:schemeClr val="folHlink"/>
              </a:solidFill>
              <a:round/>
              <a:headEnd/>
              <a:tailEnd/>
            </a:ln>
          </p:spPr>
          <p:txBody>
            <a:bodyPr>
              <a:spAutoFit/>
            </a:bodyPr>
            <a:lstStyle/>
            <a:p>
              <a:endParaRPr lang="en-US"/>
            </a:p>
          </p:txBody>
        </p:sp>
        <p:sp>
          <p:nvSpPr>
            <p:cNvPr id="16473" name="Freeform 34"/>
            <p:cNvSpPr>
              <a:spLocks/>
            </p:cNvSpPr>
            <p:nvPr/>
          </p:nvSpPr>
          <p:spPr bwMode="auto">
            <a:xfrm>
              <a:off x="2048" y="3181"/>
              <a:ext cx="257" cy="283"/>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00"/>
            </a:solidFill>
            <a:ln w="9525">
              <a:solidFill>
                <a:schemeClr val="tx1"/>
              </a:solidFill>
              <a:round/>
              <a:headEnd/>
              <a:tailEnd/>
            </a:ln>
          </p:spPr>
          <p:txBody>
            <a:bodyPr>
              <a:spAutoFit/>
            </a:bodyPr>
            <a:lstStyle/>
            <a:p>
              <a:endParaRPr lang="en-US"/>
            </a:p>
          </p:txBody>
        </p:sp>
        <p:sp>
          <p:nvSpPr>
            <p:cNvPr id="16474" name="Freeform 35"/>
            <p:cNvSpPr>
              <a:spLocks/>
            </p:cNvSpPr>
            <p:nvPr/>
          </p:nvSpPr>
          <p:spPr bwMode="auto">
            <a:xfrm>
              <a:off x="2144" y="3277"/>
              <a:ext cx="257" cy="283"/>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FFCC"/>
            </a:solidFill>
            <a:ln w="9525">
              <a:solidFill>
                <a:schemeClr val="folHlink"/>
              </a:solidFill>
              <a:round/>
              <a:headEnd/>
              <a:tailEnd/>
            </a:ln>
          </p:spPr>
          <p:txBody>
            <a:bodyPr>
              <a:spAutoFit/>
            </a:bodyPr>
            <a:lstStyle/>
            <a:p>
              <a:endParaRPr lang="en-US"/>
            </a:p>
          </p:txBody>
        </p:sp>
      </p:grpSp>
      <p:sp>
        <p:nvSpPr>
          <p:cNvPr id="16390" name="Text Box 37"/>
          <p:cNvSpPr txBox="1">
            <a:spLocks noChangeArrowheads="1"/>
          </p:cNvSpPr>
          <p:nvPr/>
        </p:nvSpPr>
        <p:spPr bwMode="auto">
          <a:xfrm>
            <a:off x="2159000" y="3989388"/>
            <a:ext cx="955524"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Char char="•"/>
              <a:defRPr sz="1600" b="1">
                <a:solidFill>
                  <a:srgbClr val="007CC2"/>
                </a:solidFill>
                <a:latin typeface="Arial" pitchFamily="34" charset="0"/>
                <a:cs typeface="Arial" pitchFamily="34" charset="0"/>
              </a:defRPr>
            </a:lvl1pPr>
            <a:lvl2pPr marL="742950" indent="-285750" eaLnBrk="0" hangingPunct="0">
              <a:buClr>
                <a:schemeClr val="bg1"/>
              </a:buClr>
              <a:buFont typeface="Wingdings" pitchFamily="2" charset="2"/>
              <a:buChar char="§"/>
              <a:defRPr sz="1600">
                <a:solidFill>
                  <a:srgbClr val="007CC2"/>
                </a:solidFill>
                <a:latin typeface="Arial" pitchFamily="34" charset="0"/>
                <a:cs typeface="Arial" pitchFamily="34" charset="0"/>
              </a:defRPr>
            </a:lvl2pPr>
            <a:lvl3pPr marL="1143000" indent="-228600" eaLnBrk="0" hangingPunct="0">
              <a:buClr>
                <a:schemeClr val="bg1"/>
              </a:buClr>
              <a:buFont typeface="Wingdings" pitchFamily="2" charset="2"/>
              <a:buChar char="w"/>
              <a:defRPr sz="1600">
                <a:solidFill>
                  <a:srgbClr val="007CC2"/>
                </a:solidFill>
                <a:latin typeface="Arial" pitchFamily="34" charset="0"/>
                <a:cs typeface="Arial" pitchFamily="34" charset="0"/>
              </a:defRPr>
            </a:lvl3pPr>
            <a:lvl4pPr marL="16002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4pPr>
            <a:lvl5pPr marL="20574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5pPr>
            <a:lvl6pPr marL="25146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6pPr>
            <a:lvl7pPr marL="29718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7pPr>
            <a:lvl8pPr marL="34290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8pPr>
            <a:lvl9pPr marL="38862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9pPr>
          </a:lstStyle>
          <a:p>
            <a:pPr>
              <a:spcBef>
                <a:spcPct val="50000"/>
              </a:spcBef>
              <a:buFontTx/>
              <a:buNone/>
            </a:pPr>
            <a:r>
              <a:rPr lang="en-US" altLang="en-US" sz="1200">
                <a:solidFill>
                  <a:srgbClr val="0070C0"/>
                </a:solidFill>
              </a:rPr>
              <a:t>Standard Treatment</a:t>
            </a:r>
          </a:p>
        </p:txBody>
      </p:sp>
      <p:grpSp>
        <p:nvGrpSpPr>
          <p:cNvPr id="16391" name="Group 38"/>
          <p:cNvGrpSpPr>
            <a:grpSpLocks/>
          </p:cNvGrpSpPr>
          <p:nvPr/>
        </p:nvGrpSpPr>
        <p:grpSpPr bwMode="auto">
          <a:xfrm>
            <a:off x="6023429" y="2698749"/>
            <a:ext cx="2577798" cy="665365"/>
            <a:chOff x="3288" y="1037"/>
            <a:chExt cx="1993" cy="386"/>
          </a:xfrm>
        </p:grpSpPr>
        <p:sp>
          <p:nvSpPr>
            <p:cNvPr id="16443" name="Freeform 39"/>
            <p:cNvSpPr>
              <a:spLocks/>
            </p:cNvSpPr>
            <p:nvPr/>
          </p:nvSpPr>
          <p:spPr bwMode="auto">
            <a:xfrm>
              <a:off x="3288" y="1037"/>
              <a:ext cx="257" cy="282"/>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0066FF"/>
            </a:solidFill>
            <a:ln w="9525">
              <a:solidFill>
                <a:schemeClr val="tx1"/>
              </a:solidFill>
              <a:round/>
              <a:headEnd/>
              <a:tailEnd/>
            </a:ln>
          </p:spPr>
          <p:txBody>
            <a:bodyPr>
              <a:spAutoFit/>
            </a:bodyPr>
            <a:lstStyle/>
            <a:p>
              <a:endParaRPr lang="en-US"/>
            </a:p>
          </p:txBody>
        </p:sp>
        <p:sp>
          <p:nvSpPr>
            <p:cNvPr id="16444" name="Freeform 40"/>
            <p:cNvSpPr>
              <a:spLocks/>
            </p:cNvSpPr>
            <p:nvPr/>
          </p:nvSpPr>
          <p:spPr bwMode="auto">
            <a:xfrm>
              <a:off x="3384" y="1133"/>
              <a:ext cx="257" cy="282"/>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9933"/>
            </a:solidFill>
            <a:ln w="9525">
              <a:solidFill>
                <a:schemeClr val="tx1"/>
              </a:solidFill>
              <a:round/>
              <a:headEnd/>
              <a:tailEnd/>
            </a:ln>
          </p:spPr>
          <p:txBody>
            <a:bodyPr>
              <a:spAutoFit/>
            </a:bodyPr>
            <a:lstStyle/>
            <a:p>
              <a:endParaRPr lang="en-US"/>
            </a:p>
          </p:txBody>
        </p:sp>
        <p:sp>
          <p:nvSpPr>
            <p:cNvPr id="16445" name="Freeform 41"/>
            <p:cNvSpPr>
              <a:spLocks/>
            </p:cNvSpPr>
            <p:nvPr/>
          </p:nvSpPr>
          <p:spPr bwMode="auto">
            <a:xfrm>
              <a:off x="3512" y="1037"/>
              <a:ext cx="257" cy="282"/>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009900"/>
            </a:solidFill>
            <a:ln w="9525">
              <a:solidFill>
                <a:schemeClr val="tx1"/>
              </a:solidFill>
              <a:round/>
              <a:headEnd/>
              <a:tailEnd/>
            </a:ln>
          </p:spPr>
          <p:txBody>
            <a:bodyPr>
              <a:spAutoFit/>
            </a:bodyPr>
            <a:lstStyle/>
            <a:p>
              <a:endParaRPr lang="en-US"/>
            </a:p>
          </p:txBody>
        </p:sp>
        <p:sp>
          <p:nvSpPr>
            <p:cNvPr id="16446" name="Freeform 42"/>
            <p:cNvSpPr>
              <a:spLocks/>
            </p:cNvSpPr>
            <p:nvPr/>
          </p:nvSpPr>
          <p:spPr bwMode="auto">
            <a:xfrm>
              <a:off x="3608" y="1133"/>
              <a:ext cx="257" cy="282"/>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99FF"/>
            </a:solidFill>
            <a:ln w="9525">
              <a:solidFill>
                <a:schemeClr val="tx1"/>
              </a:solidFill>
              <a:round/>
              <a:headEnd/>
              <a:tailEnd/>
            </a:ln>
          </p:spPr>
          <p:txBody>
            <a:bodyPr>
              <a:spAutoFit/>
            </a:bodyPr>
            <a:lstStyle/>
            <a:p>
              <a:endParaRPr lang="en-US"/>
            </a:p>
          </p:txBody>
        </p:sp>
        <p:sp>
          <p:nvSpPr>
            <p:cNvPr id="16447" name="Freeform 43"/>
            <p:cNvSpPr>
              <a:spLocks/>
            </p:cNvSpPr>
            <p:nvPr/>
          </p:nvSpPr>
          <p:spPr bwMode="auto">
            <a:xfrm>
              <a:off x="3776" y="1037"/>
              <a:ext cx="257" cy="282"/>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0066FF"/>
            </a:solidFill>
            <a:ln w="9525">
              <a:solidFill>
                <a:schemeClr val="tx1"/>
              </a:solidFill>
              <a:round/>
              <a:headEnd/>
              <a:tailEnd/>
            </a:ln>
          </p:spPr>
          <p:txBody>
            <a:bodyPr>
              <a:spAutoFit/>
            </a:bodyPr>
            <a:lstStyle/>
            <a:p>
              <a:endParaRPr lang="en-US"/>
            </a:p>
          </p:txBody>
        </p:sp>
        <p:sp>
          <p:nvSpPr>
            <p:cNvPr id="16448" name="Freeform 44"/>
            <p:cNvSpPr>
              <a:spLocks/>
            </p:cNvSpPr>
            <p:nvPr/>
          </p:nvSpPr>
          <p:spPr bwMode="auto">
            <a:xfrm>
              <a:off x="3872" y="1133"/>
              <a:ext cx="257" cy="282"/>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009900"/>
            </a:solidFill>
            <a:ln w="9525">
              <a:solidFill>
                <a:schemeClr val="tx1"/>
              </a:solidFill>
              <a:round/>
              <a:headEnd/>
              <a:tailEnd/>
            </a:ln>
          </p:spPr>
          <p:txBody>
            <a:bodyPr>
              <a:spAutoFit/>
            </a:bodyPr>
            <a:lstStyle/>
            <a:p>
              <a:endParaRPr lang="en-US"/>
            </a:p>
          </p:txBody>
        </p:sp>
        <p:sp>
          <p:nvSpPr>
            <p:cNvPr id="16449" name="Freeform 45"/>
            <p:cNvSpPr>
              <a:spLocks/>
            </p:cNvSpPr>
            <p:nvPr/>
          </p:nvSpPr>
          <p:spPr bwMode="auto">
            <a:xfrm>
              <a:off x="4000" y="1037"/>
              <a:ext cx="257" cy="282"/>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9933"/>
            </a:solidFill>
            <a:ln w="9525">
              <a:solidFill>
                <a:schemeClr val="tx1"/>
              </a:solidFill>
              <a:round/>
              <a:headEnd/>
              <a:tailEnd/>
            </a:ln>
          </p:spPr>
          <p:txBody>
            <a:bodyPr>
              <a:spAutoFit/>
            </a:bodyPr>
            <a:lstStyle/>
            <a:p>
              <a:endParaRPr lang="en-US"/>
            </a:p>
          </p:txBody>
        </p:sp>
        <p:sp>
          <p:nvSpPr>
            <p:cNvPr id="16450" name="Freeform 46"/>
            <p:cNvSpPr>
              <a:spLocks/>
            </p:cNvSpPr>
            <p:nvPr/>
          </p:nvSpPr>
          <p:spPr bwMode="auto">
            <a:xfrm>
              <a:off x="4096" y="1133"/>
              <a:ext cx="257" cy="282"/>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0066FF"/>
            </a:solidFill>
            <a:ln w="9525">
              <a:solidFill>
                <a:schemeClr val="tx1"/>
              </a:solidFill>
              <a:round/>
              <a:headEnd/>
              <a:tailEnd/>
            </a:ln>
          </p:spPr>
          <p:txBody>
            <a:bodyPr>
              <a:spAutoFit/>
            </a:bodyPr>
            <a:lstStyle/>
            <a:p>
              <a:endParaRPr lang="en-US"/>
            </a:p>
          </p:txBody>
        </p:sp>
        <p:sp>
          <p:nvSpPr>
            <p:cNvPr id="16451" name="Freeform 47"/>
            <p:cNvSpPr>
              <a:spLocks/>
            </p:cNvSpPr>
            <p:nvPr/>
          </p:nvSpPr>
          <p:spPr bwMode="auto">
            <a:xfrm>
              <a:off x="4240" y="1037"/>
              <a:ext cx="257" cy="282"/>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009900"/>
            </a:solidFill>
            <a:ln w="9525">
              <a:solidFill>
                <a:schemeClr val="tx1"/>
              </a:solidFill>
              <a:round/>
              <a:headEnd/>
              <a:tailEnd/>
            </a:ln>
          </p:spPr>
          <p:txBody>
            <a:bodyPr>
              <a:spAutoFit/>
            </a:bodyPr>
            <a:lstStyle/>
            <a:p>
              <a:endParaRPr lang="en-US"/>
            </a:p>
          </p:txBody>
        </p:sp>
        <p:sp>
          <p:nvSpPr>
            <p:cNvPr id="16452" name="Freeform 48"/>
            <p:cNvSpPr>
              <a:spLocks/>
            </p:cNvSpPr>
            <p:nvPr/>
          </p:nvSpPr>
          <p:spPr bwMode="auto">
            <a:xfrm>
              <a:off x="4336" y="1133"/>
              <a:ext cx="257" cy="282"/>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9933"/>
            </a:solidFill>
            <a:ln w="9525">
              <a:solidFill>
                <a:schemeClr val="tx1"/>
              </a:solidFill>
              <a:round/>
              <a:headEnd/>
              <a:tailEnd/>
            </a:ln>
          </p:spPr>
          <p:txBody>
            <a:bodyPr>
              <a:spAutoFit/>
            </a:bodyPr>
            <a:lstStyle/>
            <a:p>
              <a:endParaRPr lang="en-US"/>
            </a:p>
          </p:txBody>
        </p:sp>
        <p:sp>
          <p:nvSpPr>
            <p:cNvPr id="16453" name="Freeform 49"/>
            <p:cNvSpPr>
              <a:spLocks/>
            </p:cNvSpPr>
            <p:nvPr/>
          </p:nvSpPr>
          <p:spPr bwMode="auto">
            <a:xfrm>
              <a:off x="4464" y="1037"/>
              <a:ext cx="257" cy="282"/>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99FF"/>
            </a:solidFill>
            <a:ln w="9525">
              <a:solidFill>
                <a:schemeClr val="tx1"/>
              </a:solidFill>
              <a:round/>
              <a:headEnd/>
              <a:tailEnd/>
            </a:ln>
          </p:spPr>
          <p:txBody>
            <a:bodyPr>
              <a:spAutoFit/>
            </a:bodyPr>
            <a:lstStyle/>
            <a:p>
              <a:endParaRPr lang="en-US"/>
            </a:p>
          </p:txBody>
        </p:sp>
        <p:sp>
          <p:nvSpPr>
            <p:cNvPr id="16454" name="Freeform 50"/>
            <p:cNvSpPr>
              <a:spLocks/>
            </p:cNvSpPr>
            <p:nvPr/>
          </p:nvSpPr>
          <p:spPr bwMode="auto">
            <a:xfrm>
              <a:off x="4560" y="1133"/>
              <a:ext cx="257" cy="282"/>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9933"/>
            </a:solidFill>
            <a:ln w="9525">
              <a:solidFill>
                <a:schemeClr val="tx1"/>
              </a:solidFill>
              <a:round/>
              <a:headEnd/>
              <a:tailEnd/>
            </a:ln>
          </p:spPr>
          <p:txBody>
            <a:bodyPr>
              <a:spAutoFit/>
            </a:bodyPr>
            <a:lstStyle/>
            <a:p>
              <a:endParaRPr lang="en-US"/>
            </a:p>
          </p:txBody>
        </p:sp>
        <p:sp>
          <p:nvSpPr>
            <p:cNvPr id="16455" name="Freeform 51"/>
            <p:cNvSpPr>
              <a:spLocks/>
            </p:cNvSpPr>
            <p:nvPr/>
          </p:nvSpPr>
          <p:spPr bwMode="auto">
            <a:xfrm>
              <a:off x="4704" y="1045"/>
              <a:ext cx="257" cy="282"/>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0066FF"/>
            </a:solidFill>
            <a:ln w="9525">
              <a:solidFill>
                <a:schemeClr val="tx1"/>
              </a:solidFill>
              <a:round/>
              <a:headEnd/>
              <a:tailEnd/>
            </a:ln>
          </p:spPr>
          <p:txBody>
            <a:bodyPr>
              <a:spAutoFit/>
            </a:bodyPr>
            <a:lstStyle/>
            <a:p>
              <a:endParaRPr lang="en-US"/>
            </a:p>
          </p:txBody>
        </p:sp>
        <p:sp>
          <p:nvSpPr>
            <p:cNvPr id="16456" name="Freeform 52"/>
            <p:cNvSpPr>
              <a:spLocks/>
            </p:cNvSpPr>
            <p:nvPr/>
          </p:nvSpPr>
          <p:spPr bwMode="auto">
            <a:xfrm>
              <a:off x="4800" y="1141"/>
              <a:ext cx="257" cy="282"/>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99FF"/>
            </a:solidFill>
            <a:ln w="9525">
              <a:solidFill>
                <a:schemeClr val="tx1"/>
              </a:solidFill>
              <a:round/>
              <a:headEnd/>
              <a:tailEnd/>
            </a:ln>
          </p:spPr>
          <p:txBody>
            <a:bodyPr>
              <a:spAutoFit/>
            </a:bodyPr>
            <a:lstStyle/>
            <a:p>
              <a:endParaRPr lang="en-US"/>
            </a:p>
          </p:txBody>
        </p:sp>
        <p:sp>
          <p:nvSpPr>
            <p:cNvPr id="16457" name="Freeform 53"/>
            <p:cNvSpPr>
              <a:spLocks/>
            </p:cNvSpPr>
            <p:nvPr/>
          </p:nvSpPr>
          <p:spPr bwMode="auto">
            <a:xfrm>
              <a:off x="4928" y="1045"/>
              <a:ext cx="257" cy="282"/>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009900"/>
            </a:solidFill>
            <a:ln w="9525">
              <a:solidFill>
                <a:schemeClr val="tx1"/>
              </a:solidFill>
              <a:round/>
              <a:headEnd/>
              <a:tailEnd/>
            </a:ln>
          </p:spPr>
          <p:txBody>
            <a:bodyPr>
              <a:spAutoFit/>
            </a:bodyPr>
            <a:lstStyle/>
            <a:p>
              <a:endParaRPr lang="en-US"/>
            </a:p>
          </p:txBody>
        </p:sp>
        <p:sp>
          <p:nvSpPr>
            <p:cNvPr id="16458" name="Freeform 54"/>
            <p:cNvSpPr>
              <a:spLocks/>
            </p:cNvSpPr>
            <p:nvPr/>
          </p:nvSpPr>
          <p:spPr bwMode="auto">
            <a:xfrm>
              <a:off x="5024" y="1141"/>
              <a:ext cx="257" cy="282"/>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99FF"/>
            </a:solidFill>
            <a:ln w="9525">
              <a:solidFill>
                <a:schemeClr val="tx1"/>
              </a:solidFill>
              <a:round/>
              <a:headEnd/>
              <a:tailEnd/>
            </a:ln>
          </p:spPr>
          <p:txBody>
            <a:bodyPr>
              <a:spAutoFit/>
            </a:bodyPr>
            <a:lstStyle/>
            <a:p>
              <a:endParaRPr lang="en-US"/>
            </a:p>
          </p:txBody>
        </p:sp>
      </p:grpSp>
      <p:sp>
        <p:nvSpPr>
          <p:cNvPr id="16392" name="Line 55"/>
          <p:cNvSpPr>
            <a:spLocks noChangeShapeType="1"/>
          </p:cNvSpPr>
          <p:nvPr/>
        </p:nvSpPr>
        <p:spPr bwMode="auto">
          <a:xfrm>
            <a:off x="5128381" y="5105400"/>
            <a:ext cx="0" cy="400050"/>
          </a:xfrm>
          <a:prstGeom prst="line">
            <a:avLst/>
          </a:prstGeom>
          <a:noFill/>
          <a:ln w="38100">
            <a:solidFill>
              <a:srgbClr val="008000"/>
            </a:solidFill>
            <a:round/>
            <a:headEnd/>
            <a:tailEnd type="triangle" w="med" len="med"/>
          </a:ln>
          <a:extLst>
            <a:ext uri="{909E8E84-426E-40dd-AFC4-6F175D3DCCD1}">
              <a14:hiddenFill xmlns:a14="http://schemas.microsoft.com/office/drawing/2010/main">
                <a:noFill/>
              </a14:hiddenFill>
            </a:ext>
          </a:extLst>
        </p:spPr>
        <p:txBody>
          <a:bodyPr>
            <a:spAutoFit/>
          </a:bodyPr>
          <a:lstStyle/>
          <a:p>
            <a:endParaRPr lang="en-US"/>
          </a:p>
        </p:txBody>
      </p:sp>
      <p:sp>
        <p:nvSpPr>
          <p:cNvPr id="16393" name="Text Box 56"/>
          <p:cNvSpPr txBox="1">
            <a:spLocks noChangeArrowheads="1"/>
          </p:cNvSpPr>
          <p:nvPr/>
        </p:nvSpPr>
        <p:spPr bwMode="auto">
          <a:xfrm>
            <a:off x="4064000" y="5119688"/>
            <a:ext cx="931333" cy="284162"/>
          </a:xfrm>
          <a:prstGeom prst="rect">
            <a:avLst/>
          </a:prstGeom>
          <a:noFill/>
          <a:ln w="9525" algn="ctr">
            <a:solidFill>
              <a:srgbClr val="0099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spcBef>
                <a:spcPct val="20000"/>
              </a:spcBef>
              <a:buChar char="•"/>
              <a:defRPr sz="1600" b="1">
                <a:solidFill>
                  <a:srgbClr val="007CC2"/>
                </a:solidFill>
                <a:latin typeface="Arial" pitchFamily="34" charset="0"/>
                <a:cs typeface="Arial" pitchFamily="34" charset="0"/>
              </a:defRPr>
            </a:lvl1pPr>
            <a:lvl2pPr marL="742950" indent="-285750" eaLnBrk="0" hangingPunct="0">
              <a:buClr>
                <a:schemeClr val="bg1"/>
              </a:buClr>
              <a:buFont typeface="Wingdings" pitchFamily="2" charset="2"/>
              <a:buChar char="§"/>
              <a:defRPr sz="1600">
                <a:solidFill>
                  <a:srgbClr val="007CC2"/>
                </a:solidFill>
                <a:latin typeface="Arial" pitchFamily="34" charset="0"/>
                <a:cs typeface="Arial" pitchFamily="34" charset="0"/>
              </a:defRPr>
            </a:lvl2pPr>
            <a:lvl3pPr marL="1143000" indent="-228600" eaLnBrk="0" hangingPunct="0">
              <a:buClr>
                <a:schemeClr val="bg1"/>
              </a:buClr>
              <a:buFont typeface="Wingdings" pitchFamily="2" charset="2"/>
              <a:buChar char="w"/>
              <a:defRPr sz="1600">
                <a:solidFill>
                  <a:srgbClr val="007CC2"/>
                </a:solidFill>
                <a:latin typeface="Arial" pitchFamily="34" charset="0"/>
                <a:cs typeface="Arial" pitchFamily="34" charset="0"/>
              </a:defRPr>
            </a:lvl3pPr>
            <a:lvl4pPr marL="16002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4pPr>
            <a:lvl5pPr marL="20574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5pPr>
            <a:lvl6pPr marL="25146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6pPr>
            <a:lvl7pPr marL="29718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7pPr>
            <a:lvl8pPr marL="34290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8pPr>
            <a:lvl9pPr marL="38862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9pPr>
          </a:lstStyle>
          <a:p>
            <a:pPr>
              <a:spcBef>
                <a:spcPct val="50000"/>
              </a:spcBef>
              <a:buFontTx/>
              <a:buNone/>
            </a:pPr>
            <a:r>
              <a:rPr lang="en-US" altLang="en-US" sz="1200">
                <a:solidFill>
                  <a:srgbClr val="009900"/>
                </a:solidFill>
              </a:rPr>
              <a:t>Herceptin</a:t>
            </a:r>
          </a:p>
        </p:txBody>
      </p:sp>
      <p:sp>
        <p:nvSpPr>
          <p:cNvPr id="16394" name="Line 57"/>
          <p:cNvSpPr>
            <a:spLocks noChangeShapeType="1"/>
          </p:cNvSpPr>
          <p:nvPr/>
        </p:nvSpPr>
        <p:spPr bwMode="auto">
          <a:xfrm>
            <a:off x="7511143" y="3460751"/>
            <a:ext cx="0" cy="500063"/>
          </a:xfrm>
          <a:prstGeom prst="line">
            <a:avLst/>
          </a:prstGeom>
          <a:noFill/>
          <a:ln w="57150">
            <a:solidFill>
              <a:srgbClr val="ED1121"/>
            </a:solidFill>
            <a:round/>
            <a:headEnd/>
            <a:tailEnd type="triangle" w="med" len="med"/>
          </a:ln>
          <a:extLst>
            <a:ext uri="{909E8E84-426E-40dd-AFC4-6F175D3DCCD1}">
              <a14:hiddenFill xmlns:a14="http://schemas.microsoft.com/office/drawing/2010/main">
                <a:noFill/>
              </a14:hiddenFill>
            </a:ext>
          </a:extLst>
        </p:spPr>
        <p:txBody>
          <a:bodyPr>
            <a:spAutoFit/>
          </a:bodyPr>
          <a:lstStyle/>
          <a:p>
            <a:endParaRPr lang="en-US"/>
          </a:p>
        </p:txBody>
      </p:sp>
      <p:sp>
        <p:nvSpPr>
          <p:cNvPr id="16395" name="Text Box 60"/>
          <p:cNvSpPr txBox="1">
            <a:spLocks noChangeArrowheads="1"/>
          </p:cNvSpPr>
          <p:nvPr/>
        </p:nvSpPr>
        <p:spPr bwMode="auto">
          <a:xfrm>
            <a:off x="6044595" y="5556250"/>
            <a:ext cx="2735036" cy="369888"/>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spcBef>
                <a:spcPct val="20000"/>
              </a:spcBef>
              <a:buChar char="•"/>
              <a:defRPr sz="1600" b="1">
                <a:solidFill>
                  <a:srgbClr val="007CC2"/>
                </a:solidFill>
                <a:latin typeface="Arial" pitchFamily="34" charset="0"/>
                <a:cs typeface="Arial" pitchFamily="34" charset="0"/>
              </a:defRPr>
            </a:lvl1pPr>
            <a:lvl2pPr marL="742950" indent="-285750" eaLnBrk="0" hangingPunct="0">
              <a:buClr>
                <a:schemeClr val="bg1"/>
              </a:buClr>
              <a:buFont typeface="Wingdings" pitchFamily="2" charset="2"/>
              <a:buChar char="§"/>
              <a:defRPr sz="1600">
                <a:solidFill>
                  <a:srgbClr val="007CC2"/>
                </a:solidFill>
                <a:latin typeface="Arial" pitchFamily="34" charset="0"/>
                <a:cs typeface="Arial" pitchFamily="34" charset="0"/>
              </a:defRPr>
            </a:lvl2pPr>
            <a:lvl3pPr marL="1143000" indent="-228600" eaLnBrk="0" hangingPunct="0">
              <a:buClr>
                <a:schemeClr val="bg1"/>
              </a:buClr>
              <a:buFont typeface="Wingdings" pitchFamily="2" charset="2"/>
              <a:buChar char="w"/>
              <a:defRPr sz="1600">
                <a:solidFill>
                  <a:srgbClr val="007CC2"/>
                </a:solidFill>
                <a:latin typeface="Arial" pitchFamily="34" charset="0"/>
                <a:cs typeface="Arial" pitchFamily="34" charset="0"/>
              </a:defRPr>
            </a:lvl3pPr>
            <a:lvl4pPr marL="16002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4pPr>
            <a:lvl5pPr marL="20574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5pPr>
            <a:lvl6pPr marL="25146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6pPr>
            <a:lvl7pPr marL="29718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7pPr>
            <a:lvl8pPr marL="34290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8pPr>
            <a:lvl9pPr marL="38862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9pPr>
          </a:lstStyle>
          <a:p>
            <a:pPr>
              <a:spcBef>
                <a:spcPct val="50000"/>
              </a:spcBef>
              <a:buFontTx/>
              <a:buNone/>
            </a:pPr>
            <a:r>
              <a:rPr lang="en-US" altLang="en-US" sz="1800">
                <a:solidFill>
                  <a:srgbClr val="FF0000"/>
                </a:solidFill>
              </a:rPr>
              <a:t>Current unmet need</a:t>
            </a:r>
          </a:p>
        </p:txBody>
      </p:sp>
      <p:sp>
        <p:nvSpPr>
          <p:cNvPr id="16396" name="Line 61"/>
          <p:cNvSpPr>
            <a:spLocks noChangeShapeType="1"/>
          </p:cNvSpPr>
          <p:nvPr/>
        </p:nvSpPr>
        <p:spPr bwMode="auto">
          <a:xfrm>
            <a:off x="6277429" y="5105400"/>
            <a:ext cx="0" cy="400050"/>
          </a:xfrm>
          <a:prstGeom prst="line">
            <a:avLst/>
          </a:prstGeom>
          <a:noFill/>
          <a:ln w="38100">
            <a:solidFill>
              <a:srgbClr val="ED1121"/>
            </a:solidFill>
            <a:round/>
            <a:headEnd/>
            <a:tailEnd type="triangle" w="med" len="med"/>
          </a:ln>
          <a:extLst>
            <a:ext uri="{909E8E84-426E-40dd-AFC4-6F175D3DCCD1}">
              <a14:hiddenFill xmlns:a14="http://schemas.microsoft.com/office/drawing/2010/main">
                <a:noFill/>
              </a14:hiddenFill>
            </a:ext>
          </a:extLst>
        </p:spPr>
        <p:txBody>
          <a:bodyPr>
            <a:spAutoFit/>
          </a:bodyPr>
          <a:lstStyle/>
          <a:p>
            <a:endParaRPr lang="en-US"/>
          </a:p>
        </p:txBody>
      </p:sp>
      <p:sp>
        <p:nvSpPr>
          <p:cNvPr id="16397" name="Line 62"/>
          <p:cNvSpPr>
            <a:spLocks noChangeShapeType="1"/>
          </p:cNvSpPr>
          <p:nvPr/>
        </p:nvSpPr>
        <p:spPr bwMode="auto">
          <a:xfrm>
            <a:off x="8394095" y="5105400"/>
            <a:ext cx="0" cy="400050"/>
          </a:xfrm>
          <a:prstGeom prst="line">
            <a:avLst/>
          </a:prstGeom>
          <a:noFill/>
          <a:ln w="38100">
            <a:solidFill>
              <a:srgbClr val="FF0000"/>
            </a:solidFill>
            <a:round/>
            <a:headEnd/>
            <a:tailEnd type="triangle" w="med" len="med"/>
          </a:ln>
          <a:extLst>
            <a:ext uri="{909E8E84-426E-40dd-AFC4-6F175D3DCCD1}">
              <a14:hiddenFill xmlns:a14="http://schemas.microsoft.com/office/drawing/2010/main">
                <a:noFill/>
              </a14:hiddenFill>
            </a:ext>
          </a:extLst>
        </p:spPr>
        <p:txBody>
          <a:bodyPr>
            <a:spAutoFit/>
          </a:bodyPr>
          <a:lstStyle/>
          <a:p>
            <a:endParaRPr lang="en-US"/>
          </a:p>
        </p:txBody>
      </p:sp>
      <p:sp>
        <p:nvSpPr>
          <p:cNvPr id="16398" name="Text Box 64"/>
          <p:cNvSpPr txBox="1">
            <a:spLocks noChangeArrowheads="1"/>
          </p:cNvSpPr>
          <p:nvPr/>
        </p:nvSpPr>
        <p:spPr bwMode="auto">
          <a:xfrm>
            <a:off x="5442857" y="3503613"/>
            <a:ext cx="231472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1600" b="1">
                <a:solidFill>
                  <a:srgbClr val="007CC2"/>
                </a:solidFill>
                <a:latin typeface="Arial" pitchFamily="34" charset="0"/>
                <a:cs typeface="Arial" pitchFamily="34" charset="0"/>
              </a:defRPr>
            </a:lvl1pPr>
            <a:lvl2pPr marL="742950" indent="-285750" eaLnBrk="0" hangingPunct="0">
              <a:buClr>
                <a:schemeClr val="bg1"/>
              </a:buClr>
              <a:buFont typeface="Wingdings" pitchFamily="2" charset="2"/>
              <a:buChar char="§"/>
              <a:defRPr sz="1600">
                <a:solidFill>
                  <a:srgbClr val="007CC2"/>
                </a:solidFill>
                <a:latin typeface="Arial" pitchFamily="34" charset="0"/>
                <a:cs typeface="Arial" pitchFamily="34" charset="0"/>
              </a:defRPr>
            </a:lvl2pPr>
            <a:lvl3pPr marL="1143000" indent="-228600" eaLnBrk="0" hangingPunct="0">
              <a:buClr>
                <a:schemeClr val="bg1"/>
              </a:buClr>
              <a:buFont typeface="Wingdings" pitchFamily="2" charset="2"/>
              <a:buChar char="w"/>
              <a:defRPr sz="1600">
                <a:solidFill>
                  <a:srgbClr val="007CC2"/>
                </a:solidFill>
                <a:latin typeface="Arial" pitchFamily="34" charset="0"/>
                <a:cs typeface="Arial" pitchFamily="34" charset="0"/>
              </a:defRPr>
            </a:lvl3pPr>
            <a:lvl4pPr marL="16002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4pPr>
            <a:lvl5pPr marL="20574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5pPr>
            <a:lvl6pPr marL="25146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6pPr>
            <a:lvl7pPr marL="29718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7pPr>
            <a:lvl8pPr marL="34290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8pPr>
            <a:lvl9pPr marL="38862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9pPr>
          </a:lstStyle>
          <a:p>
            <a:pPr>
              <a:spcBef>
                <a:spcPct val="50000"/>
              </a:spcBef>
              <a:buFontTx/>
              <a:buNone/>
            </a:pPr>
            <a:r>
              <a:rPr lang="en-US" altLang="en-US" sz="1400">
                <a:solidFill>
                  <a:srgbClr val="ED1121"/>
                </a:solidFill>
              </a:rPr>
              <a:t>Omics information</a:t>
            </a:r>
          </a:p>
        </p:txBody>
      </p:sp>
      <p:grpSp>
        <p:nvGrpSpPr>
          <p:cNvPr id="16399" name="Group 65"/>
          <p:cNvGrpSpPr>
            <a:grpSpLocks/>
          </p:cNvGrpSpPr>
          <p:nvPr/>
        </p:nvGrpSpPr>
        <p:grpSpPr bwMode="auto">
          <a:xfrm>
            <a:off x="4741333" y="3994149"/>
            <a:ext cx="727227" cy="959474"/>
            <a:chOff x="3016" y="2504"/>
            <a:chExt cx="577" cy="503"/>
          </a:xfrm>
        </p:grpSpPr>
        <p:grpSp>
          <p:nvGrpSpPr>
            <p:cNvPr id="16436" name="Group 66"/>
            <p:cNvGrpSpPr>
              <a:grpSpLocks/>
            </p:cNvGrpSpPr>
            <p:nvPr/>
          </p:nvGrpSpPr>
          <p:grpSpPr bwMode="auto">
            <a:xfrm>
              <a:off x="3016" y="2656"/>
              <a:ext cx="577" cy="351"/>
              <a:chOff x="3736" y="2173"/>
              <a:chExt cx="577" cy="351"/>
            </a:xfrm>
          </p:grpSpPr>
          <p:sp>
            <p:nvSpPr>
              <p:cNvPr id="16438" name="Freeform 67"/>
              <p:cNvSpPr>
                <a:spLocks/>
              </p:cNvSpPr>
              <p:nvPr/>
            </p:nvSpPr>
            <p:spPr bwMode="auto">
              <a:xfrm>
                <a:off x="3736" y="2173"/>
                <a:ext cx="257" cy="255"/>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009900"/>
              </a:solidFill>
              <a:ln w="9525">
                <a:solidFill>
                  <a:schemeClr val="tx1"/>
                </a:solidFill>
                <a:round/>
                <a:headEnd/>
                <a:tailEnd/>
              </a:ln>
            </p:spPr>
            <p:txBody>
              <a:bodyPr>
                <a:spAutoFit/>
              </a:bodyPr>
              <a:lstStyle/>
              <a:p>
                <a:endParaRPr lang="en-US"/>
              </a:p>
            </p:txBody>
          </p:sp>
          <p:grpSp>
            <p:nvGrpSpPr>
              <p:cNvPr id="16439" name="Group 68"/>
              <p:cNvGrpSpPr>
                <a:grpSpLocks/>
              </p:cNvGrpSpPr>
              <p:nvPr/>
            </p:nvGrpSpPr>
            <p:grpSpPr bwMode="auto">
              <a:xfrm>
                <a:off x="3832" y="2173"/>
                <a:ext cx="481" cy="351"/>
                <a:chOff x="3832" y="2173"/>
                <a:chExt cx="481" cy="351"/>
              </a:xfrm>
            </p:grpSpPr>
            <p:sp>
              <p:nvSpPr>
                <p:cNvPr id="16440" name="Freeform 69"/>
                <p:cNvSpPr>
                  <a:spLocks/>
                </p:cNvSpPr>
                <p:nvPr/>
              </p:nvSpPr>
              <p:spPr bwMode="auto">
                <a:xfrm>
                  <a:off x="3832" y="2269"/>
                  <a:ext cx="257" cy="255"/>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009900"/>
                </a:solidFill>
                <a:ln w="9525">
                  <a:solidFill>
                    <a:schemeClr val="tx1"/>
                  </a:solidFill>
                  <a:round/>
                  <a:headEnd/>
                  <a:tailEnd/>
                </a:ln>
              </p:spPr>
              <p:txBody>
                <a:bodyPr>
                  <a:spAutoFit/>
                </a:bodyPr>
                <a:lstStyle/>
                <a:p>
                  <a:endParaRPr lang="en-US"/>
                </a:p>
              </p:txBody>
            </p:sp>
            <p:sp>
              <p:nvSpPr>
                <p:cNvPr id="16441" name="Freeform 70"/>
                <p:cNvSpPr>
                  <a:spLocks/>
                </p:cNvSpPr>
                <p:nvPr/>
              </p:nvSpPr>
              <p:spPr bwMode="auto">
                <a:xfrm>
                  <a:off x="3960" y="2173"/>
                  <a:ext cx="257" cy="255"/>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009900"/>
                </a:solidFill>
                <a:ln w="9525">
                  <a:solidFill>
                    <a:schemeClr val="tx1"/>
                  </a:solidFill>
                  <a:round/>
                  <a:headEnd/>
                  <a:tailEnd/>
                </a:ln>
              </p:spPr>
              <p:txBody>
                <a:bodyPr>
                  <a:spAutoFit/>
                </a:bodyPr>
                <a:lstStyle/>
                <a:p>
                  <a:endParaRPr lang="en-US"/>
                </a:p>
              </p:txBody>
            </p:sp>
            <p:sp>
              <p:nvSpPr>
                <p:cNvPr id="16442" name="Freeform 71"/>
                <p:cNvSpPr>
                  <a:spLocks/>
                </p:cNvSpPr>
                <p:nvPr/>
              </p:nvSpPr>
              <p:spPr bwMode="auto">
                <a:xfrm>
                  <a:off x="4056" y="2269"/>
                  <a:ext cx="257" cy="255"/>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009900"/>
                </a:solidFill>
                <a:ln w="9525">
                  <a:solidFill>
                    <a:schemeClr val="tx1"/>
                  </a:solidFill>
                  <a:round/>
                  <a:headEnd/>
                  <a:tailEnd/>
                </a:ln>
              </p:spPr>
              <p:txBody>
                <a:bodyPr>
                  <a:spAutoFit/>
                </a:bodyPr>
                <a:lstStyle/>
                <a:p>
                  <a:endParaRPr lang="en-US"/>
                </a:p>
              </p:txBody>
            </p:sp>
          </p:grpSp>
        </p:grpSp>
        <p:sp>
          <p:nvSpPr>
            <p:cNvPr id="16437" name="Text Box 72"/>
            <p:cNvSpPr txBox="1">
              <a:spLocks noChangeArrowheads="1"/>
            </p:cNvSpPr>
            <p:nvPr/>
          </p:nvSpPr>
          <p:spPr bwMode="auto">
            <a:xfrm>
              <a:off x="3072" y="2504"/>
              <a:ext cx="434" cy="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Char char="•"/>
                <a:defRPr sz="1600" b="1">
                  <a:solidFill>
                    <a:srgbClr val="007CC2"/>
                  </a:solidFill>
                  <a:latin typeface="Arial" pitchFamily="34" charset="0"/>
                  <a:cs typeface="Arial" pitchFamily="34" charset="0"/>
                </a:defRPr>
              </a:lvl1pPr>
              <a:lvl2pPr marL="742950" indent="-285750" eaLnBrk="0" hangingPunct="0">
                <a:buClr>
                  <a:schemeClr val="bg1"/>
                </a:buClr>
                <a:buFont typeface="Wingdings" pitchFamily="2" charset="2"/>
                <a:buChar char="§"/>
                <a:defRPr sz="1600">
                  <a:solidFill>
                    <a:srgbClr val="007CC2"/>
                  </a:solidFill>
                  <a:latin typeface="Arial" pitchFamily="34" charset="0"/>
                  <a:cs typeface="Arial" pitchFamily="34" charset="0"/>
                </a:defRPr>
              </a:lvl2pPr>
              <a:lvl3pPr marL="1143000" indent="-228600" eaLnBrk="0" hangingPunct="0">
                <a:buClr>
                  <a:schemeClr val="bg1"/>
                </a:buClr>
                <a:buFont typeface="Wingdings" pitchFamily="2" charset="2"/>
                <a:buChar char="w"/>
                <a:defRPr sz="1600">
                  <a:solidFill>
                    <a:srgbClr val="007CC2"/>
                  </a:solidFill>
                  <a:latin typeface="Arial" pitchFamily="34" charset="0"/>
                  <a:cs typeface="Arial" pitchFamily="34" charset="0"/>
                </a:defRPr>
              </a:lvl3pPr>
              <a:lvl4pPr marL="16002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4pPr>
              <a:lvl5pPr marL="20574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5pPr>
              <a:lvl6pPr marL="25146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6pPr>
              <a:lvl7pPr marL="29718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7pPr>
              <a:lvl8pPr marL="34290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8pPr>
              <a:lvl9pPr marL="38862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9pPr>
            </a:lstStyle>
            <a:p>
              <a:pPr>
                <a:spcBef>
                  <a:spcPct val="50000"/>
                </a:spcBef>
                <a:buFontTx/>
                <a:buNone/>
              </a:pPr>
              <a:r>
                <a:rPr lang="en-US" altLang="en-US" sz="1000">
                  <a:solidFill>
                    <a:srgbClr val="008000"/>
                  </a:solidFill>
                </a:rPr>
                <a:t>HER2</a:t>
              </a:r>
              <a:r>
                <a:rPr lang="en-US" altLang="en-US" sz="1000" baseline="30000">
                  <a:solidFill>
                    <a:srgbClr val="008000"/>
                  </a:solidFill>
                </a:rPr>
                <a:t>+</a:t>
              </a:r>
            </a:p>
          </p:txBody>
        </p:sp>
      </p:grpSp>
      <p:grpSp>
        <p:nvGrpSpPr>
          <p:cNvPr id="16400" name="Group 80"/>
          <p:cNvGrpSpPr>
            <a:grpSpLocks/>
          </p:cNvGrpSpPr>
          <p:nvPr/>
        </p:nvGrpSpPr>
        <p:grpSpPr bwMode="auto">
          <a:xfrm>
            <a:off x="7910286" y="4006850"/>
            <a:ext cx="896560" cy="864374"/>
            <a:chOff x="4336" y="2488"/>
            <a:chExt cx="593" cy="414"/>
          </a:xfrm>
        </p:grpSpPr>
        <p:sp>
          <p:nvSpPr>
            <p:cNvPr id="16430" name="Freeform 81"/>
            <p:cNvSpPr>
              <a:spLocks/>
            </p:cNvSpPr>
            <p:nvPr/>
          </p:nvSpPr>
          <p:spPr bwMode="auto">
            <a:xfrm>
              <a:off x="4344" y="2669"/>
              <a:ext cx="257" cy="233"/>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9933"/>
            </a:solidFill>
            <a:ln w="9525">
              <a:solidFill>
                <a:schemeClr val="tx1"/>
              </a:solidFill>
              <a:round/>
              <a:headEnd/>
              <a:tailEnd/>
            </a:ln>
          </p:spPr>
          <p:txBody>
            <a:bodyPr>
              <a:spAutoFit/>
            </a:bodyPr>
            <a:lstStyle/>
            <a:p>
              <a:endParaRPr lang="en-US"/>
            </a:p>
          </p:txBody>
        </p:sp>
        <p:sp>
          <p:nvSpPr>
            <p:cNvPr id="16431" name="Freeform 82"/>
            <p:cNvSpPr>
              <a:spLocks/>
            </p:cNvSpPr>
            <p:nvPr/>
          </p:nvSpPr>
          <p:spPr bwMode="auto">
            <a:xfrm>
              <a:off x="4672" y="2629"/>
              <a:ext cx="257" cy="233"/>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9933"/>
            </a:solidFill>
            <a:ln w="9525">
              <a:solidFill>
                <a:schemeClr val="tx1"/>
              </a:solidFill>
              <a:round/>
              <a:headEnd/>
              <a:tailEnd/>
            </a:ln>
          </p:spPr>
          <p:txBody>
            <a:bodyPr>
              <a:spAutoFit/>
            </a:bodyPr>
            <a:lstStyle/>
            <a:p>
              <a:endParaRPr lang="en-US"/>
            </a:p>
          </p:txBody>
        </p:sp>
        <p:grpSp>
          <p:nvGrpSpPr>
            <p:cNvPr id="16432" name="Group 83"/>
            <p:cNvGrpSpPr>
              <a:grpSpLocks/>
            </p:cNvGrpSpPr>
            <p:nvPr/>
          </p:nvGrpSpPr>
          <p:grpSpPr bwMode="auto">
            <a:xfrm>
              <a:off x="4336" y="2488"/>
              <a:ext cx="560" cy="414"/>
              <a:chOff x="4336" y="2488"/>
              <a:chExt cx="560" cy="414"/>
            </a:xfrm>
          </p:grpSpPr>
          <p:sp>
            <p:nvSpPr>
              <p:cNvPr id="16433" name="Freeform 84"/>
              <p:cNvSpPr>
                <a:spLocks/>
              </p:cNvSpPr>
              <p:nvPr/>
            </p:nvSpPr>
            <p:spPr bwMode="auto">
              <a:xfrm>
                <a:off x="4448" y="2629"/>
                <a:ext cx="257" cy="233"/>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9933"/>
              </a:solidFill>
              <a:ln w="9525">
                <a:solidFill>
                  <a:schemeClr val="tx1"/>
                </a:solidFill>
                <a:round/>
                <a:headEnd/>
                <a:tailEnd/>
              </a:ln>
            </p:spPr>
            <p:txBody>
              <a:bodyPr>
                <a:spAutoFit/>
              </a:bodyPr>
              <a:lstStyle/>
              <a:p>
                <a:endParaRPr lang="en-US"/>
              </a:p>
            </p:txBody>
          </p:sp>
          <p:sp>
            <p:nvSpPr>
              <p:cNvPr id="16434" name="Freeform 85"/>
              <p:cNvSpPr>
                <a:spLocks/>
              </p:cNvSpPr>
              <p:nvPr/>
            </p:nvSpPr>
            <p:spPr bwMode="auto">
              <a:xfrm>
                <a:off x="4568" y="2669"/>
                <a:ext cx="257" cy="233"/>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9933"/>
              </a:solidFill>
              <a:ln w="9525">
                <a:solidFill>
                  <a:schemeClr val="tx1"/>
                </a:solidFill>
                <a:round/>
                <a:headEnd/>
                <a:tailEnd/>
              </a:ln>
            </p:spPr>
            <p:txBody>
              <a:bodyPr>
                <a:spAutoFit/>
              </a:bodyPr>
              <a:lstStyle/>
              <a:p>
                <a:endParaRPr lang="en-US"/>
              </a:p>
            </p:txBody>
          </p:sp>
          <p:sp>
            <p:nvSpPr>
              <p:cNvPr id="16435" name="Text Box 86"/>
              <p:cNvSpPr txBox="1">
                <a:spLocks noChangeArrowheads="1"/>
              </p:cNvSpPr>
              <p:nvPr/>
            </p:nvSpPr>
            <p:spPr bwMode="auto">
              <a:xfrm>
                <a:off x="4336" y="2488"/>
                <a:ext cx="560"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Char char="•"/>
                  <a:defRPr sz="1600" b="1">
                    <a:solidFill>
                      <a:srgbClr val="007CC2"/>
                    </a:solidFill>
                    <a:latin typeface="Arial" pitchFamily="34" charset="0"/>
                    <a:cs typeface="Arial" pitchFamily="34" charset="0"/>
                  </a:defRPr>
                </a:lvl1pPr>
                <a:lvl2pPr marL="742950" indent="-285750" eaLnBrk="0" hangingPunct="0">
                  <a:buClr>
                    <a:schemeClr val="bg1"/>
                  </a:buClr>
                  <a:buFont typeface="Wingdings" pitchFamily="2" charset="2"/>
                  <a:buChar char="§"/>
                  <a:defRPr sz="1600">
                    <a:solidFill>
                      <a:srgbClr val="007CC2"/>
                    </a:solidFill>
                    <a:latin typeface="Arial" pitchFamily="34" charset="0"/>
                    <a:cs typeface="Arial" pitchFamily="34" charset="0"/>
                  </a:defRPr>
                </a:lvl2pPr>
                <a:lvl3pPr marL="1143000" indent="-228600" eaLnBrk="0" hangingPunct="0">
                  <a:buClr>
                    <a:schemeClr val="bg1"/>
                  </a:buClr>
                  <a:buFont typeface="Wingdings" pitchFamily="2" charset="2"/>
                  <a:buChar char="w"/>
                  <a:defRPr sz="1600">
                    <a:solidFill>
                      <a:srgbClr val="007CC2"/>
                    </a:solidFill>
                    <a:latin typeface="Arial" pitchFamily="34" charset="0"/>
                    <a:cs typeface="Arial" pitchFamily="34" charset="0"/>
                  </a:defRPr>
                </a:lvl3pPr>
                <a:lvl4pPr marL="16002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4pPr>
                <a:lvl5pPr marL="20574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5pPr>
                <a:lvl6pPr marL="25146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6pPr>
                <a:lvl7pPr marL="29718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7pPr>
                <a:lvl8pPr marL="34290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8pPr>
                <a:lvl9pPr marL="38862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9pPr>
              </a:lstStyle>
              <a:p>
                <a:pPr>
                  <a:spcBef>
                    <a:spcPct val="50000"/>
                  </a:spcBef>
                  <a:buFontTx/>
                  <a:buNone/>
                </a:pPr>
                <a:r>
                  <a:rPr lang="en-US" altLang="en-US" sz="1000">
                    <a:solidFill>
                      <a:srgbClr val="ED1121"/>
                    </a:solidFill>
                  </a:rPr>
                  <a:t>Luminal B</a:t>
                </a:r>
                <a:endParaRPr lang="en-US" altLang="en-US" sz="1000" baseline="30000">
                  <a:solidFill>
                    <a:srgbClr val="ED1121"/>
                  </a:solidFill>
                </a:endParaRPr>
              </a:p>
            </p:txBody>
          </p:sp>
        </p:grpSp>
      </p:grpSp>
      <p:grpSp>
        <p:nvGrpSpPr>
          <p:cNvPr id="16401" name="Group 87"/>
          <p:cNvGrpSpPr>
            <a:grpSpLocks/>
          </p:cNvGrpSpPr>
          <p:nvPr/>
        </p:nvGrpSpPr>
        <p:grpSpPr bwMode="auto">
          <a:xfrm>
            <a:off x="5757334" y="3994148"/>
            <a:ext cx="722690" cy="983071"/>
            <a:chOff x="3688" y="2496"/>
            <a:chExt cx="577" cy="506"/>
          </a:xfrm>
        </p:grpSpPr>
        <p:grpSp>
          <p:nvGrpSpPr>
            <p:cNvPr id="16424" name="Group 88"/>
            <p:cNvGrpSpPr>
              <a:grpSpLocks/>
            </p:cNvGrpSpPr>
            <p:nvPr/>
          </p:nvGrpSpPr>
          <p:grpSpPr bwMode="auto">
            <a:xfrm>
              <a:off x="3688" y="2656"/>
              <a:ext cx="577" cy="346"/>
              <a:chOff x="3120" y="2173"/>
              <a:chExt cx="577" cy="346"/>
            </a:xfrm>
          </p:grpSpPr>
          <p:sp>
            <p:nvSpPr>
              <p:cNvPr id="16426" name="Freeform 89"/>
              <p:cNvSpPr>
                <a:spLocks/>
              </p:cNvSpPr>
              <p:nvPr/>
            </p:nvSpPr>
            <p:spPr bwMode="auto">
              <a:xfrm>
                <a:off x="3120" y="2173"/>
                <a:ext cx="257" cy="250"/>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0066FF"/>
              </a:solidFill>
              <a:ln w="9525">
                <a:solidFill>
                  <a:schemeClr val="tx1"/>
                </a:solidFill>
                <a:round/>
                <a:headEnd/>
                <a:tailEnd/>
              </a:ln>
            </p:spPr>
            <p:txBody>
              <a:bodyPr>
                <a:spAutoFit/>
              </a:bodyPr>
              <a:lstStyle/>
              <a:p>
                <a:endParaRPr lang="en-US"/>
              </a:p>
            </p:txBody>
          </p:sp>
          <p:sp>
            <p:nvSpPr>
              <p:cNvPr id="16427" name="Freeform 90"/>
              <p:cNvSpPr>
                <a:spLocks/>
              </p:cNvSpPr>
              <p:nvPr/>
            </p:nvSpPr>
            <p:spPr bwMode="auto">
              <a:xfrm>
                <a:off x="3216" y="2269"/>
                <a:ext cx="257" cy="250"/>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0066FF"/>
              </a:solidFill>
              <a:ln w="9525">
                <a:solidFill>
                  <a:schemeClr val="tx1"/>
                </a:solidFill>
                <a:round/>
                <a:headEnd/>
                <a:tailEnd/>
              </a:ln>
            </p:spPr>
            <p:txBody>
              <a:bodyPr>
                <a:spAutoFit/>
              </a:bodyPr>
              <a:lstStyle/>
              <a:p>
                <a:endParaRPr lang="en-US"/>
              </a:p>
            </p:txBody>
          </p:sp>
          <p:sp>
            <p:nvSpPr>
              <p:cNvPr id="16428" name="Freeform 91"/>
              <p:cNvSpPr>
                <a:spLocks/>
              </p:cNvSpPr>
              <p:nvPr/>
            </p:nvSpPr>
            <p:spPr bwMode="auto">
              <a:xfrm>
                <a:off x="3352" y="2173"/>
                <a:ext cx="257" cy="250"/>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0066FF"/>
              </a:solidFill>
              <a:ln w="9525">
                <a:solidFill>
                  <a:schemeClr val="tx1"/>
                </a:solidFill>
                <a:round/>
                <a:headEnd/>
                <a:tailEnd/>
              </a:ln>
            </p:spPr>
            <p:txBody>
              <a:bodyPr>
                <a:spAutoFit/>
              </a:bodyPr>
              <a:lstStyle/>
              <a:p>
                <a:endParaRPr lang="en-US"/>
              </a:p>
            </p:txBody>
          </p:sp>
          <p:sp>
            <p:nvSpPr>
              <p:cNvPr id="16429" name="Freeform 92"/>
              <p:cNvSpPr>
                <a:spLocks/>
              </p:cNvSpPr>
              <p:nvPr/>
            </p:nvSpPr>
            <p:spPr bwMode="auto">
              <a:xfrm>
                <a:off x="3440" y="2269"/>
                <a:ext cx="257" cy="250"/>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0066FF"/>
              </a:solidFill>
              <a:ln w="9525">
                <a:solidFill>
                  <a:schemeClr val="tx1"/>
                </a:solidFill>
                <a:round/>
                <a:headEnd/>
                <a:tailEnd/>
              </a:ln>
            </p:spPr>
            <p:txBody>
              <a:bodyPr>
                <a:spAutoFit/>
              </a:bodyPr>
              <a:lstStyle/>
              <a:p>
                <a:endParaRPr lang="en-US"/>
              </a:p>
            </p:txBody>
          </p:sp>
        </p:grpSp>
        <p:sp>
          <p:nvSpPr>
            <p:cNvPr id="16425" name="Text Box 93"/>
            <p:cNvSpPr txBox="1">
              <a:spLocks noChangeArrowheads="1"/>
            </p:cNvSpPr>
            <p:nvPr/>
          </p:nvSpPr>
          <p:spPr bwMode="auto">
            <a:xfrm>
              <a:off x="3776" y="2496"/>
              <a:ext cx="455" cy="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sz="1600" b="1">
                  <a:solidFill>
                    <a:srgbClr val="007CC2"/>
                  </a:solidFill>
                  <a:latin typeface="Arial" pitchFamily="34" charset="0"/>
                  <a:cs typeface="Arial" pitchFamily="34" charset="0"/>
                </a:defRPr>
              </a:lvl1pPr>
              <a:lvl2pPr marL="742950" indent="-285750" eaLnBrk="0" hangingPunct="0">
                <a:buClr>
                  <a:schemeClr val="bg1"/>
                </a:buClr>
                <a:buFont typeface="Wingdings" pitchFamily="2" charset="2"/>
                <a:buChar char="§"/>
                <a:defRPr sz="1600">
                  <a:solidFill>
                    <a:srgbClr val="007CC2"/>
                  </a:solidFill>
                  <a:latin typeface="Arial" pitchFamily="34" charset="0"/>
                  <a:cs typeface="Arial" pitchFamily="34" charset="0"/>
                </a:defRPr>
              </a:lvl2pPr>
              <a:lvl3pPr marL="1143000" indent="-228600" eaLnBrk="0" hangingPunct="0">
                <a:buClr>
                  <a:schemeClr val="bg1"/>
                </a:buClr>
                <a:buFont typeface="Wingdings" pitchFamily="2" charset="2"/>
                <a:buChar char="w"/>
                <a:defRPr sz="1600">
                  <a:solidFill>
                    <a:srgbClr val="007CC2"/>
                  </a:solidFill>
                  <a:latin typeface="Arial" pitchFamily="34" charset="0"/>
                  <a:cs typeface="Arial" pitchFamily="34" charset="0"/>
                </a:defRPr>
              </a:lvl3pPr>
              <a:lvl4pPr marL="16002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4pPr>
              <a:lvl5pPr marL="20574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5pPr>
              <a:lvl6pPr marL="25146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6pPr>
              <a:lvl7pPr marL="29718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7pPr>
              <a:lvl8pPr marL="34290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8pPr>
              <a:lvl9pPr marL="38862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9pPr>
            </a:lstStyle>
            <a:p>
              <a:pPr>
                <a:spcBef>
                  <a:spcPct val="50000"/>
                </a:spcBef>
                <a:buFontTx/>
                <a:buNone/>
              </a:pPr>
              <a:r>
                <a:rPr lang="en-US" altLang="en-US" sz="1000" dirty="0">
                  <a:solidFill>
                    <a:srgbClr val="ED1121"/>
                  </a:solidFill>
                </a:rPr>
                <a:t>Basal</a:t>
              </a:r>
              <a:endParaRPr lang="en-US" altLang="en-US" sz="1000" baseline="30000" dirty="0">
                <a:solidFill>
                  <a:srgbClr val="ED1121"/>
                </a:solidFill>
              </a:endParaRPr>
            </a:p>
          </p:txBody>
        </p:sp>
      </p:grpSp>
      <p:sp>
        <p:nvSpPr>
          <p:cNvPr id="16402" name="Text Box 94"/>
          <p:cNvSpPr txBox="1">
            <a:spLocks noChangeArrowheads="1"/>
          </p:cNvSpPr>
          <p:nvPr/>
        </p:nvSpPr>
        <p:spPr bwMode="auto">
          <a:xfrm>
            <a:off x="3543905" y="5556250"/>
            <a:ext cx="2286000" cy="369888"/>
          </a:xfrm>
          <a:prstGeom prst="rect">
            <a:avLst/>
          </a:prstGeom>
          <a:noFill/>
          <a:ln w="9525">
            <a:solidFill>
              <a:srgbClr val="008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spcBef>
                <a:spcPct val="20000"/>
              </a:spcBef>
              <a:buChar char="•"/>
              <a:defRPr sz="1600" b="1">
                <a:solidFill>
                  <a:srgbClr val="007CC2"/>
                </a:solidFill>
                <a:latin typeface="Arial" pitchFamily="34" charset="0"/>
                <a:cs typeface="Arial" pitchFamily="34" charset="0"/>
              </a:defRPr>
            </a:lvl1pPr>
            <a:lvl2pPr marL="742950" indent="-285750" eaLnBrk="0" hangingPunct="0">
              <a:buClr>
                <a:schemeClr val="bg1"/>
              </a:buClr>
              <a:buFont typeface="Wingdings" pitchFamily="2" charset="2"/>
              <a:buChar char="§"/>
              <a:defRPr sz="1600">
                <a:solidFill>
                  <a:srgbClr val="007CC2"/>
                </a:solidFill>
                <a:latin typeface="Arial" pitchFamily="34" charset="0"/>
                <a:cs typeface="Arial" pitchFamily="34" charset="0"/>
              </a:defRPr>
            </a:lvl2pPr>
            <a:lvl3pPr marL="1143000" indent="-228600" eaLnBrk="0" hangingPunct="0">
              <a:buClr>
                <a:schemeClr val="bg1"/>
              </a:buClr>
              <a:buFont typeface="Wingdings" pitchFamily="2" charset="2"/>
              <a:buChar char="w"/>
              <a:defRPr sz="1600">
                <a:solidFill>
                  <a:srgbClr val="007CC2"/>
                </a:solidFill>
                <a:latin typeface="Arial" pitchFamily="34" charset="0"/>
                <a:cs typeface="Arial" pitchFamily="34" charset="0"/>
              </a:defRPr>
            </a:lvl3pPr>
            <a:lvl4pPr marL="16002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4pPr>
            <a:lvl5pPr marL="20574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5pPr>
            <a:lvl6pPr marL="25146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6pPr>
            <a:lvl7pPr marL="29718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7pPr>
            <a:lvl8pPr marL="34290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8pPr>
            <a:lvl9pPr marL="38862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9pPr>
          </a:lstStyle>
          <a:p>
            <a:pPr>
              <a:spcBef>
                <a:spcPct val="50000"/>
              </a:spcBef>
              <a:buFontTx/>
              <a:buNone/>
            </a:pPr>
            <a:r>
              <a:rPr lang="en-US" altLang="en-US" sz="1800">
                <a:solidFill>
                  <a:srgbClr val="008000"/>
                </a:solidFill>
              </a:rPr>
              <a:t>High response rate</a:t>
            </a:r>
          </a:p>
        </p:txBody>
      </p:sp>
      <p:sp>
        <p:nvSpPr>
          <p:cNvPr id="16403" name="Text Box 95"/>
          <p:cNvSpPr txBox="1">
            <a:spLocks noChangeArrowheads="1"/>
          </p:cNvSpPr>
          <p:nvPr/>
        </p:nvSpPr>
        <p:spPr bwMode="auto">
          <a:xfrm>
            <a:off x="303894" y="5668964"/>
            <a:ext cx="3034392" cy="369887"/>
          </a:xfrm>
          <a:prstGeom prst="rect">
            <a:avLst/>
          </a:prstGeom>
          <a:solidFill>
            <a:schemeClr val="bg1"/>
          </a:solidFill>
          <a:ln w="9525">
            <a:solidFill>
              <a:srgbClr val="007CC2"/>
            </a:solidFill>
            <a:miter lim="800000"/>
            <a:headEnd/>
            <a:tailEnd/>
          </a:ln>
        </p:spPr>
        <p:txBody>
          <a:bodyPr>
            <a:spAutoFit/>
          </a:bodyPr>
          <a:lstStyle>
            <a:lvl1pPr eaLnBrk="0" hangingPunct="0">
              <a:spcBef>
                <a:spcPct val="20000"/>
              </a:spcBef>
              <a:buChar char="•"/>
              <a:defRPr sz="1600" b="1">
                <a:solidFill>
                  <a:srgbClr val="007CC2"/>
                </a:solidFill>
                <a:latin typeface="Arial" pitchFamily="34" charset="0"/>
                <a:cs typeface="Arial" pitchFamily="34" charset="0"/>
              </a:defRPr>
            </a:lvl1pPr>
            <a:lvl2pPr marL="742950" indent="-285750" eaLnBrk="0" hangingPunct="0">
              <a:buClr>
                <a:schemeClr val="bg1"/>
              </a:buClr>
              <a:buFont typeface="Wingdings" pitchFamily="2" charset="2"/>
              <a:buChar char="§"/>
              <a:defRPr sz="1600">
                <a:solidFill>
                  <a:srgbClr val="007CC2"/>
                </a:solidFill>
                <a:latin typeface="Arial" pitchFamily="34" charset="0"/>
                <a:cs typeface="Arial" pitchFamily="34" charset="0"/>
              </a:defRPr>
            </a:lvl2pPr>
            <a:lvl3pPr marL="1143000" indent="-228600" eaLnBrk="0" hangingPunct="0">
              <a:buClr>
                <a:schemeClr val="bg1"/>
              </a:buClr>
              <a:buFont typeface="Wingdings" pitchFamily="2" charset="2"/>
              <a:buChar char="w"/>
              <a:defRPr sz="1600">
                <a:solidFill>
                  <a:srgbClr val="007CC2"/>
                </a:solidFill>
                <a:latin typeface="Arial" pitchFamily="34" charset="0"/>
                <a:cs typeface="Arial" pitchFamily="34" charset="0"/>
              </a:defRPr>
            </a:lvl3pPr>
            <a:lvl4pPr marL="16002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4pPr>
            <a:lvl5pPr marL="20574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5pPr>
            <a:lvl6pPr marL="25146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6pPr>
            <a:lvl7pPr marL="29718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7pPr>
            <a:lvl8pPr marL="34290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8pPr>
            <a:lvl9pPr marL="38862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9pPr>
          </a:lstStyle>
          <a:p>
            <a:pPr>
              <a:spcBef>
                <a:spcPct val="50000"/>
              </a:spcBef>
              <a:buFontTx/>
              <a:buNone/>
            </a:pPr>
            <a:r>
              <a:rPr lang="en-US" altLang="en-US" sz="1800">
                <a:solidFill>
                  <a:srgbClr val="0070C0"/>
                </a:solidFill>
              </a:rPr>
              <a:t>Low overall response rate</a:t>
            </a:r>
          </a:p>
        </p:txBody>
      </p:sp>
      <p:grpSp>
        <p:nvGrpSpPr>
          <p:cNvPr id="16404" name="Group 105"/>
          <p:cNvGrpSpPr>
            <a:grpSpLocks/>
          </p:cNvGrpSpPr>
          <p:nvPr/>
        </p:nvGrpSpPr>
        <p:grpSpPr bwMode="auto">
          <a:xfrm>
            <a:off x="2249715" y="1387475"/>
            <a:ext cx="4449536" cy="1574800"/>
            <a:chOff x="122238" y="2835413"/>
            <a:chExt cx="5002212" cy="1852613"/>
          </a:xfrm>
        </p:grpSpPr>
        <p:sp>
          <p:nvSpPr>
            <p:cNvPr id="102" name="Text Box 55"/>
            <p:cNvSpPr txBox="1">
              <a:spLocks noChangeArrowheads="1"/>
            </p:cNvSpPr>
            <p:nvPr>
              <p:custDataLst>
                <p:tags r:id="rId1"/>
              </p:custDataLst>
            </p:nvPr>
          </p:nvSpPr>
          <p:spPr bwMode="gray">
            <a:xfrm>
              <a:off x="122238" y="3132355"/>
              <a:ext cx="2386376" cy="1157883"/>
            </a:xfrm>
            <a:prstGeom prst="rect">
              <a:avLst/>
            </a:prstGeom>
            <a:noFill/>
            <a:ln w="9525" algn="ctr">
              <a:noFill/>
              <a:miter lim="800000"/>
              <a:headEnd type="none" w="lg" len="lg"/>
              <a:tailEnd type="none" w="lg" len="lg"/>
            </a:ln>
            <a:effectLst/>
          </p:spPr>
          <p:txBody>
            <a:bodyPr tIns="91440" bIns="91440" anchor="ctr"/>
            <a:lstStyle/>
            <a:p>
              <a:pPr>
                <a:buFont typeface="Arial" pitchFamily="34" charset="0"/>
                <a:buNone/>
                <a:defRPr/>
              </a:pPr>
              <a:r>
                <a:rPr lang="en-US" sz="1600" dirty="0">
                  <a:solidFill>
                    <a:srgbClr val="0070C0"/>
                  </a:solidFill>
                  <a:latin typeface="+mn-lt"/>
                </a:rPr>
                <a:t>Building disease understanding to identify the right pathways and targets</a:t>
              </a:r>
            </a:p>
          </p:txBody>
        </p:sp>
        <p:sp>
          <p:nvSpPr>
            <p:cNvPr id="103" name="Text Box 56"/>
            <p:cNvSpPr txBox="1">
              <a:spLocks noChangeArrowheads="1"/>
            </p:cNvSpPr>
            <p:nvPr>
              <p:custDataLst>
                <p:tags r:id="rId2"/>
              </p:custDataLst>
            </p:nvPr>
          </p:nvSpPr>
          <p:spPr bwMode="gray">
            <a:xfrm>
              <a:off x="3341466" y="3203322"/>
              <a:ext cx="1782984" cy="1159750"/>
            </a:xfrm>
            <a:prstGeom prst="rect">
              <a:avLst/>
            </a:prstGeom>
            <a:noFill/>
            <a:ln w="9525" algn="ctr">
              <a:noFill/>
              <a:miter lim="800000"/>
              <a:headEnd type="none" w="lg" len="lg"/>
              <a:tailEnd type="none" w="lg" len="lg"/>
            </a:ln>
            <a:effectLst/>
          </p:spPr>
          <p:txBody>
            <a:bodyPr tIns="91440" bIns="91440" anchor="ctr"/>
            <a:lstStyle/>
            <a:p>
              <a:pPr>
                <a:buFont typeface="Arial" pitchFamily="34" charset="0"/>
                <a:buNone/>
                <a:defRPr/>
              </a:pPr>
              <a:r>
                <a:rPr lang="en-US" sz="1600" dirty="0">
                  <a:solidFill>
                    <a:srgbClr val="0070C0"/>
                  </a:solidFill>
                  <a:latin typeface="+mn-lt"/>
                </a:rPr>
                <a:t>Linking disease understanding and clinical outcomes</a:t>
              </a:r>
            </a:p>
          </p:txBody>
        </p:sp>
        <p:sp>
          <p:nvSpPr>
            <p:cNvPr id="104" name="AutoShape 57"/>
            <p:cNvSpPr>
              <a:spLocks noChangeArrowheads="1"/>
            </p:cNvSpPr>
            <p:nvPr/>
          </p:nvSpPr>
          <p:spPr bwMode="auto">
            <a:xfrm>
              <a:off x="1849131" y="4267827"/>
              <a:ext cx="1961452" cy="420199"/>
            </a:xfrm>
            <a:prstGeom prst="curvedUpArrow">
              <a:avLst>
                <a:gd name="adj1" fmla="val 64323"/>
                <a:gd name="adj2" fmla="val 128646"/>
                <a:gd name="adj3" fmla="val 33333"/>
              </a:avLst>
            </a:prstGeom>
            <a:solidFill>
              <a:srgbClr val="1E92A2"/>
            </a:solidFill>
            <a:ln w="9525">
              <a:solidFill>
                <a:schemeClr val="bg2"/>
              </a:solidFill>
              <a:miter lim="800000"/>
              <a:headEnd type="none" w="lg" len="lg"/>
              <a:tailEnd type="none" w="lg" len="lg"/>
            </a:ln>
            <a:effectLst>
              <a:outerShdw blurRad="50800" dist="38100" dir="2700000" algn="tl" rotWithShape="0">
                <a:prstClr val="black">
                  <a:alpha val="40000"/>
                </a:prstClr>
              </a:outerShdw>
            </a:effectLst>
          </p:spPr>
          <p:txBody>
            <a:bodyPr wrap="none" tIns="91440" bIns="91440" anchor="ctr"/>
            <a:lstStyle/>
            <a:p>
              <a:pPr eaLnBrk="0" hangingPunct="0">
                <a:buFont typeface="Arial" pitchFamily="34" charset="0"/>
                <a:buChar char="–"/>
                <a:defRPr/>
              </a:pPr>
              <a:endParaRPr lang="en-US" dirty="0">
                <a:latin typeface="+mn-lt"/>
              </a:endParaRPr>
            </a:p>
          </p:txBody>
        </p:sp>
        <p:sp>
          <p:nvSpPr>
            <p:cNvPr id="105" name="AutoShape 58"/>
            <p:cNvSpPr>
              <a:spLocks noChangeArrowheads="1"/>
            </p:cNvSpPr>
            <p:nvPr/>
          </p:nvSpPr>
          <p:spPr bwMode="auto">
            <a:xfrm rot="10800000">
              <a:off x="1733552" y="2835413"/>
              <a:ext cx="1959752" cy="364174"/>
            </a:xfrm>
            <a:prstGeom prst="curvedUpArrow">
              <a:avLst>
                <a:gd name="adj1" fmla="val 64323"/>
                <a:gd name="adj2" fmla="val 128646"/>
                <a:gd name="adj3" fmla="val 33333"/>
              </a:avLst>
            </a:prstGeom>
            <a:solidFill>
              <a:srgbClr val="1E92A2"/>
            </a:solidFill>
            <a:ln w="9525">
              <a:solidFill>
                <a:schemeClr val="bg2"/>
              </a:solidFill>
              <a:miter lim="800000"/>
              <a:headEnd type="none" w="lg" len="lg"/>
              <a:tailEnd type="none" w="lg" len="lg"/>
            </a:ln>
            <a:effectLst>
              <a:outerShdw blurRad="50800" dist="38100" dir="2700000" algn="tl" rotWithShape="0">
                <a:prstClr val="black">
                  <a:alpha val="40000"/>
                </a:prstClr>
              </a:outerShdw>
            </a:effectLst>
          </p:spPr>
          <p:txBody>
            <a:bodyPr wrap="none" tIns="91440" bIns="91440" anchor="ctr"/>
            <a:lstStyle/>
            <a:p>
              <a:pPr eaLnBrk="0" hangingPunct="0">
                <a:buFont typeface="Arial" pitchFamily="34" charset="0"/>
                <a:buChar char="–"/>
                <a:defRPr/>
              </a:pPr>
              <a:endParaRPr lang="en-US" dirty="0">
                <a:latin typeface="+mn-lt"/>
              </a:endParaRPr>
            </a:p>
          </p:txBody>
        </p:sp>
      </p:grpSp>
      <p:cxnSp>
        <p:nvCxnSpPr>
          <p:cNvPr id="108" name="Straight Arrow Connector 107"/>
          <p:cNvCxnSpPr/>
          <p:nvPr/>
        </p:nvCxnSpPr>
        <p:spPr bwMode="auto">
          <a:xfrm rot="5400000">
            <a:off x="1731207" y="4195007"/>
            <a:ext cx="409575" cy="1512"/>
          </a:xfrm>
          <a:prstGeom prst="straightConnector1">
            <a:avLst/>
          </a:prstGeom>
          <a:gradFill rotWithShape="1">
            <a:gsLst>
              <a:gs pos="0">
                <a:schemeClr val="tx2"/>
              </a:gs>
              <a:gs pos="50000">
                <a:srgbClr val="B2B2B2"/>
              </a:gs>
              <a:gs pos="100000">
                <a:schemeClr val="tx2"/>
              </a:gs>
            </a:gsLst>
            <a:lin ang="5400000" scaled="1"/>
          </a:gradFill>
          <a:ln w="28575" cap="flat" cmpd="sng" algn="ctr">
            <a:solidFill>
              <a:schemeClr val="tx2"/>
            </a:solidFill>
            <a:prstDash val="solid"/>
            <a:round/>
            <a:headEnd type="none" w="med" len="med"/>
            <a:tailEnd type="arrow"/>
          </a:ln>
          <a:effectLst/>
        </p:spPr>
      </p:cxnSp>
      <p:cxnSp>
        <p:nvCxnSpPr>
          <p:cNvPr id="109" name="Straight Arrow Connector 108"/>
          <p:cNvCxnSpPr/>
          <p:nvPr/>
        </p:nvCxnSpPr>
        <p:spPr bwMode="auto">
          <a:xfrm rot="5400000">
            <a:off x="1753092" y="5422939"/>
            <a:ext cx="411162" cy="1511"/>
          </a:xfrm>
          <a:prstGeom prst="straightConnector1">
            <a:avLst/>
          </a:prstGeom>
          <a:gradFill rotWithShape="1">
            <a:gsLst>
              <a:gs pos="0">
                <a:schemeClr val="tx2"/>
              </a:gs>
              <a:gs pos="50000">
                <a:srgbClr val="B2B2B2"/>
              </a:gs>
              <a:gs pos="100000">
                <a:schemeClr val="tx2"/>
              </a:gs>
            </a:gsLst>
            <a:lin ang="5400000" scaled="1"/>
          </a:gradFill>
          <a:ln w="28575" cap="flat" cmpd="sng" algn="ctr">
            <a:solidFill>
              <a:schemeClr val="tx2"/>
            </a:solidFill>
            <a:prstDash val="solid"/>
            <a:round/>
            <a:headEnd type="none" w="med" len="med"/>
            <a:tailEnd type="arrow"/>
          </a:ln>
          <a:effectLst/>
        </p:spPr>
      </p:cxnSp>
      <p:sp>
        <p:nvSpPr>
          <p:cNvPr id="16407" name="TextBox 109"/>
          <p:cNvSpPr txBox="1">
            <a:spLocks noChangeArrowheads="1"/>
          </p:cNvSpPr>
          <p:nvPr/>
        </p:nvSpPr>
        <p:spPr bwMode="auto">
          <a:xfrm>
            <a:off x="86179" y="1163638"/>
            <a:ext cx="364394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1600" b="1">
                <a:solidFill>
                  <a:srgbClr val="007CC2"/>
                </a:solidFill>
                <a:latin typeface="Arial" pitchFamily="34" charset="0"/>
                <a:cs typeface="Arial" pitchFamily="34" charset="0"/>
              </a:defRPr>
            </a:lvl1pPr>
            <a:lvl2pPr marL="742950" indent="-285750" eaLnBrk="0" hangingPunct="0">
              <a:buClr>
                <a:schemeClr val="bg1"/>
              </a:buClr>
              <a:buFont typeface="Wingdings" pitchFamily="2" charset="2"/>
              <a:buChar char="§"/>
              <a:defRPr sz="1600">
                <a:solidFill>
                  <a:srgbClr val="007CC2"/>
                </a:solidFill>
                <a:latin typeface="Arial" pitchFamily="34" charset="0"/>
                <a:cs typeface="Arial" pitchFamily="34" charset="0"/>
              </a:defRPr>
            </a:lvl2pPr>
            <a:lvl3pPr marL="1143000" indent="-228600" eaLnBrk="0" hangingPunct="0">
              <a:buClr>
                <a:schemeClr val="bg1"/>
              </a:buClr>
              <a:buFont typeface="Wingdings" pitchFamily="2" charset="2"/>
              <a:buChar char="w"/>
              <a:defRPr sz="1600">
                <a:solidFill>
                  <a:srgbClr val="007CC2"/>
                </a:solidFill>
                <a:latin typeface="Arial" pitchFamily="34" charset="0"/>
                <a:cs typeface="Arial" pitchFamily="34" charset="0"/>
              </a:defRPr>
            </a:lvl3pPr>
            <a:lvl4pPr marL="16002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4pPr>
            <a:lvl5pPr marL="20574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5pPr>
            <a:lvl6pPr marL="25146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6pPr>
            <a:lvl7pPr marL="29718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7pPr>
            <a:lvl8pPr marL="34290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8pPr>
            <a:lvl9pPr marL="38862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9pPr>
          </a:lstStyle>
          <a:p>
            <a:pPr eaLnBrk="1" hangingPunct="1">
              <a:spcBef>
                <a:spcPct val="0"/>
              </a:spcBef>
              <a:buFontTx/>
              <a:buNone/>
            </a:pPr>
            <a:r>
              <a:rPr lang="en-US" altLang="en-US" sz="2000">
                <a:solidFill>
                  <a:schemeClr val="tx1"/>
                </a:solidFill>
              </a:rPr>
              <a:t>What is precision medicine?</a:t>
            </a:r>
          </a:p>
        </p:txBody>
      </p:sp>
      <p:sp>
        <p:nvSpPr>
          <p:cNvPr id="16408" name="Text Box 37"/>
          <p:cNvSpPr txBox="1">
            <a:spLocks noChangeArrowheads="1"/>
          </p:cNvSpPr>
          <p:nvPr/>
        </p:nvSpPr>
        <p:spPr bwMode="auto">
          <a:xfrm>
            <a:off x="5225143" y="6172201"/>
            <a:ext cx="39370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Char char="•"/>
              <a:defRPr sz="1600" b="1">
                <a:solidFill>
                  <a:srgbClr val="007CC2"/>
                </a:solidFill>
                <a:latin typeface="Arial" pitchFamily="34" charset="0"/>
                <a:cs typeface="Arial" pitchFamily="34" charset="0"/>
              </a:defRPr>
            </a:lvl1pPr>
            <a:lvl2pPr marL="742950" indent="-285750" eaLnBrk="0" hangingPunct="0">
              <a:buClr>
                <a:schemeClr val="bg1"/>
              </a:buClr>
              <a:buFont typeface="Wingdings" pitchFamily="2" charset="2"/>
              <a:buChar char="§"/>
              <a:defRPr sz="1600">
                <a:solidFill>
                  <a:srgbClr val="007CC2"/>
                </a:solidFill>
                <a:latin typeface="Arial" pitchFamily="34" charset="0"/>
                <a:cs typeface="Arial" pitchFamily="34" charset="0"/>
              </a:defRPr>
            </a:lvl2pPr>
            <a:lvl3pPr marL="1143000" indent="-228600" eaLnBrk="0" hangingPunct="0">
              <a:buClr>
                <a:schemeClr val="bg1"/>
              </a:buClr>
              <a:buFont typeface="Wingdings" pitchFamily="2" charset="2"/>
              <a:buChar char="w"/>
              <a:defRPr sz="1600">
                <a:solidFill>
                  <a:srgbClr val="007CC2"/>
                </a:solidFill>
                <a:latin typeface="Arial" pitchFamily="34" charset="0"/>
                <a:cs typeface="Arial" pitchFamily="34" charset="0"/>
              </a:defRPr>
            </a:lvl3pPr>
            <a:lvl4pPr marL="16002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4pPr>
            <a:lvl5pPr marL="20574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5pPr>
            <a:lvl6pPr marL="25146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6pPr>
            <a:lvl7pPr marL="29718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7pPr>
            <a:lvl8pPr marL="34290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8pPr>
            <a:lvl9pPr marL="38862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9pPr>
          </a:lstStyle>
          <a:p>
            <a:pPr>
              <a:spcBef>
                <a:spcPct val="50000"/>
              </a:spcBef>
              <a:buFontTx/>
              <a:buNone/>
            </a:pPr>
            <a:r>
              <a:rPr lang="en-US" altLang="en-US" sz="1200">
                <a:solidFill>
                  <a:srgbClr val="0070C0"/>
                </a:solidFill>
              </a:rPr>
              <a:t>CDK4/6 relevant signatures in breast cancer subtypes, to be explored in clinical phase 1/2 studies</a:t>
            </a:r>
          </a:p>
        </p:txBody>
      </p:sp>
      <p:sp>
        <p:nvSpPr>
          <p:cNvPr id="16409" name="Text Box 37"/>
          <p:cNvSpPr txBox="1">
            <a:spLocks noChangeArrowheads="1"/>
          </p:cNvSpPr>
          <p:nvPr/>
        </p:nvSpPr>
        <p:spPr bwMode="auto">
          <a:xfrm>
            <a:off x="5835952" y="5910264"/>
            <a:ext cx="955524"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Char char="•"/>
              <a:defRPr sz="1600" b="1">
                <a:solidFill>
                  <a:srgbClr val="007CC2"/>
                </a:solidFill>
                <a:latin typeface="Arial" pitchFamily="34" charset="0"/>
                <a:cs typeface="Arial" pitchFamily="34" charset="0"/>
              </a:defRPr>
            </a:lvl1pPr>
            <a:lvl2pPr marL="742950" indent="-285750" eaLnBrk="0" hangingPunct="0">
              <a:buClr>
                <a:schemeClr val="bg1"/>
              </a:buClr>
              <a:buFont typeface="Wingdings" pitchFamily="2" charset="2"/>
              <a:buChar char="§"/>
              <a:defRPr sz="1600">
                <a:solidFill>
                  <a:srgbClr val="007CC2"/>
                </a:solidFill>
                <a:latin typeface="Arial" pitchFamily="34" charset="0"/>
                <a:cs typeface="Arial" pitchFamily="34" charset="0"/>
              </a:defRPr>
            </a:lvl2pPr>
            <a:lvl3pPr marL="1143000" indent="-228600" eaLnBrk="0" hangingPunct="0">
              <a:buClr>
                <a:schemeClr val="bg1"/>
              </a:buClr>
              <a:buFont typeface="Wingdings" pitchFamily="2" charset="2"/>
              <a:buChar char="w"/>
              <a:defRPr sz="1600">
                <a:solidFill>
                  <a:srgbClr val="007CC2"/>
                </a:solidFill>
                <a:latin typeface="Arial" pitchFamily="34" charset="0"/>
                <a:cs typeface="Arial" pitchFamily="34" charset="0"/>
              </a:defRPr>
            </a:lvl3pPr>
            <a:lvl4pPr marL="16002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4pPr>
            <a:lvl5pPr marL="20574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5pPr>
            <a:lvl6pPr marL="25146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6pPr>
            <a:lvl7pPr marL="29718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7pPr>
            <a:lvl8pPr marL="34290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8pPr>
            <a:lvl9pPr marL="38862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9pPr>
          </a:lstStyle>
          <a:p>
            <a:pPr>
              <a:spcBef>
                <a:spcPct val="50000"/>
              </a:spcBef>
              <a:buFontTx/>
              <a:buNone/>
            </a:pPr>
            <a:r>
              <a:rPr lang="en-US" altLang="en-US" sz="1100">
                <a:solidFill>
                  <a:srgbClr val="0070C0"/>
                </a:solidFill>
              </a:rPr>
              <a:t>12%</a:t>
            </a:r>
          </a:p>
        </p:txBody>
      </p:sp>
      <p:sp>
        <p:nvSpPr>
          <p:cNvPr id="16410" name="Text Box 37"/>
          <p:cNvSpPr txBox="1">
            <a:spLocks noChangeArrowheads="1"/>
          </p:cNvSpPr>
          <p:nvPr/>
        </p:nvSpPr>
        <p:spPr bwMode="auto">
          <a:xfrm>
            <a:off x="7964714" y="5910264"/>
            <a:ext cx="955524"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Char char="•"/>
              <a:defRPr sz="1600" b="1">
                <a:solidFill>
                  <a:srgbClr val="007CC2"/>
                </a:solidFill>
                <a:latin typeface="Arial" pitchFamily="34" charset="0"/>
                <a:cs typeface="Arial" pitchFamily="34" charset="0"/>
              </a:defRPr>
            </a:lvl1pPr>
            <a:lvl2pPr marL="742950" indent="-285750" eaLnBrk="0" hangingPunct="0">
              <a:buClr>
                <a:schemeClr val="bg1"/>
              </a:buClr>
              <a:buFont typeface="Wingdings" pitchFamily="2" charset="2"/>
              <a:buChar char="§"/>
              <a:defRPr sz="1600">
                <a:solidFill>
                  <a:srgbClr val="007CC2"/>
                </a:solidFill>
                <a:latin typeface="Arial" pitchFamily="34" charset="0"/>
                <a:cs typeface="Arial" pitchFamily="34" charset="0"/>
              </a:defRPr>
            </a:lvl2pPr>
            <a:lvl3pPr marL="1143000" indent="-228600" eaLnBrk="0" hangingPunct="0">
              <a:buClr>
                <a:schemeClr val="bg1"/>
              </a:buClr>
              <a:buFont typeface="Wingdings" pitchFamily="2" charset="2"/>
              <a:buChar char="w"/>
              <a:defRPr sz="1600">
                <a:solidFill>
                  <a:srgbClr val="007CC2"/>
                </a:solidFill>
                <a:latin typeface="Arial" pitchFamily="34" charset="0"/>
                <a:cs typeface="Arial" pitchFamily="34" charset="0"/>
              </a:defRPr>
            </a:lvl3pPr>
            <a:lvl4pPr marL="16002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4pPr>
            <a:lvl5pPr marL="20574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5pPr>
            <a:lvl6pPr marL="25146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6pPr>
            <a:lvl7pPr marL="29718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7pPr>
            <a:lvl8pPr marL="34290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8pPr>
            <a:lvl9pPr marL="38862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9pPr>
          </a:lstStyle>
          <a:p>
            <a:pPr>
              <a:spcBef>
                <a:spcPct val="50000"/>
              </a:spcBef>
              <a:buFontTx/>
              <a:buNone/>
            </a:pPr>
            <a:r>
              <a:rPr lang="en-US" altLang="en-US" sz="1100">
                <a:solidFill>
                  <a:srgbClr val="0070C0"/>
                </a:solidFill>
              </a:rPr>
              <a:t>36.5%</a:t>
            </a:r>
          </a:p>
        </p:txBody>
      </p:sp>
      <p:sp>
        <p:nvSpPr>
          <p:cNvPr id="16411" name="Line 63"/>
          <p:cNvSpPr>
            <a:spLocks noChangeShapeType="1"/>
          </p:cNvSpPr>
          <p:nvPr/>
        </p:nvSpPr>
        <p:spPr bwMode="auto">
          <a:xfrm>
            <a:off x="7291917" y="5105400"/>
            <a:ext cx="0" cy="400050"/>
          </a:xfrm>
          <a:prstGeom prst="line">
            <a:avLst/>
          </a:prstGeom>
          <a:noFill/>
          <a:ln w="38100">
            <a:solidFill>
              <a:srgbClr val="FF0000"/>
            </a:solidFill>
            <a:round/>
            <a:headEnd/>
            <a:tailEnd type="triangle" w="med" len="med"/>
          </a:ln>
          <a:extLst>
            <a:ext uri="{909E8E84-426E-40dd-AFC4-6F175D3DCCD1}">
              <a14:hiddenFill xmlns:a14="http://schemas.microsoft.com/office/drawing/2010/main">
                <a:noFill/>
              </a14:hiddenFill>
            </a:ext>
          </a:extLst>
        </p:spPr>
        <p:txBody>
          <a:bodyPr>
            <a:spAutoFit/>
          </a:bodyPr>
          <a:lstStyle/>
          <a:p>
            <a:endParaRPr lang="en-US"/>
          </a:p>
        </p:txBody>
      </p:sp>
      <p:grpSp>
        <p:nvGrpSpPr>
          <p:cNvPr id="16412" name="Group 73"/>
          <p:cNvGrpSpPr>
            <a:grpSpLocks/>
          </p:cNvGrpSpPr>
          <p:nvPr/>
        </p:nvGrpSpPr>
        <p:grpSpPr bwMode="auto">
          <a:xfrm>
            <a:off x="6841367" y="4017964"/>
            <a:ext cx="827702" cy="919827"/>
            <a:chOff x="4922" y="2464"/>
            <a:chExt cx="666" cy="451"/>
          </a:xfrm>
        </p:grpSpPr>
        <p:sp>
          <p:nvSpPr>
            <p:cNvPr id="16414" name="Freeform 74"/>
            <p:cNvSpPr>
              <a:spLocks/>
            </p:cNvSpPr>
            <p:nvPr/>
          </p:nvSpPr>
          <p:spPr bwMode="auto">
            <a:xfrm>
              <a:off x="4952" y="2677"/>
              <a:ext cx="257" cy="238"/>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99FF"/>
            </a:solidFill>
            <a:ln w="9525">
              <a:solidFill>
                <a:schemeClr val="tx1"/>
              </a:solidFill>
              <a:round/>
              <a:headEnd/>
              <a:tailEnd/>
            </a:ln>
          </p:spPr>
          <p:txBody>
            <a:bodyPr>
              <a:spAutoFit/>
            </a:bodyPr>
            <a:lstStyle/>
            <a:p>
              <a:endParaRPr lang="en-US"/>
            </a:p>
          </p:txBody>
        </p:sp>
        <p:grpSp>
          <p:nvGrpSpPr>
            <p:cNvPr id="16415" name="Group 75"/>
            <p:cNvGrpSpPr>
              <a:grpSpLocks/>
            </p:cNvGrpSpPr>
            <p:nvPr/>
          </p:nvGrpSpPr>
          <p:grpSpPr bwMode="auto">
            <a:xfrm>
              <a:off x="4922" y="2464"/>
              <a:ext cx="666" cy="451"/>
              <a:chOff x="4922" y="2464"/>
              <a:chExt cx="666" cy="451"/>
            </a:xfrm>
          </p:grpSpPr>
          <p:sp>
            <p:nvSpPr>
              <p:cNvPr id="16416" name="Freeform 76"/>
              <p:cNvSpPr>
                <a:spLocks/>
              </p:cNvSpPr>
              <p:nvPr/>
            </p:nvSpPr>
            <p:spPr bwMode="auto">
              <a:xfrm>
                <a:off x="5056" y="2637"/>
                <a:ext cx="257" cy="238"/>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99FF"/>
              </a:solidFill>
              <a:ln w="9525">
                <a:solidFill>
                  <a:schemeClr val="tx1"/>
                </a:solidFill>
                <a:round/>
                <a:headEnd/>
                <a:tailEnd/>
              </a:ln>
            </p:spPr>
            <p:txBody>
              <a:bodyPr>
                <a:spAutoFit/>
              </a:bodyPr>
              <a:lstStyle/>
              <a:p>
                <a:endParaRPr lang="en-US"/>
              </a:p>
            </p:txBody>
          </p:sp>
          <p:sp>
            <p:nvSpPr>
              <p:cNvPr id="16417" name="Freeform 77"/>
              <p:cNvSpPr>
                <a:spLocks/>
              </p:cNvSpPr>
              <p:nvPr/>
            </p:nvSpPr>
            <p:spPr bwMode="auto">
              <a:xfrm>
                <a:off x="5176" y="2677"/>
                <a:ext cx="257" cy="238"/>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99FF"/>
              </a:solidFill>
              <a:ln w="9525">
                <a:solidFill>
                  <a:schemeClr val="tx1"/>
                </a:solidFill>
                <a:round/>
                <a:headEnd/>
                <a:tailEnd/>
              </a:ln>
            </p:spPr>
            <p:txBody>
              <a:bodyPr>
                <a:spAutoFit/>
              </a:bodyPr>
              <a:lstStyle/>
              <a:p>
                <a:endParaRPr lang="en-US"/>
              </a:p>
            </p:txBody>
          </p:sp>
          <p:sp>
            <p:nvSpPr>
              <p:cNvPr id="16418" name="Freeform 78"/>
              <p:cNvSpPr>
                <a:spLocks/>
              </p:cNvSpPr>
              <p:nvPr/>
            </p:nvSpPr>
            <p:spPr bwMode="auto">
              <a:xfrm>
                <a:off x="5280" y="2637"/>
                <a:ext cx="257" cy="238"/>
              </a:xfrm>
              <a:custGeom>
                <a:avLst/>
                <a:gdLst>
                  <a:gd name="T0" fmla="*/ 0 w 2897"/>
                  <a:gd name="T1" fmla="*/ 0 h 4075"/>
                  <a:gd name="T2" fmla="*/ 0 w 2897"/>
                  <a:gd name="T3" fmla="*/ 0 h 4075"/>
                  <a:gd name="T4" fmla="*/ 0 w 2897"/>
                  <a:gd name="T5" fmla="*/ 0 h 4075"/>
                  <a:gd name="T6" fmla="*/ 0 w 2897"/>
                  <a:gd name="T7" fmla="*/ 0 h 4075"/>
                  <a:gd name="T8" fmla="*/ 0 w 2897"/>
                  <a:gd name="T9" fmla="*/ 0 h 4075"/>
                  <a:gd name="T10" fmla="*/ 0 w 2897"/>
                  <a:gd name="T11" fmla="*/ 0 h 4075"/>
                  <a:gd name="T12" fmla="*/ 0 w 2897"/>
                  <a:gd name="T13" fmla="*/ 0 h 4075"/>
                  <a:gd name="T14" fmla="*/ 0 w 2897"/>
                  <a:gd name="T15" fmla="*/ 0 h 4075"/>
                  <a:gd name="T16" fmla="*/ 0 w 2897"/>
                  <a:gd name="T17" fmla="*/ 0 h 4075"/>
                  <a:gd name="T18" fmla="*/ 0 w 2897"/>
                  <a:gd name="T19" fmla="*/ 0 h 4075"/>
                  <a:gd name="T20" fmla="*/ 0 w 2897"/>
                  <a:gd name="T21" fmla="*/ 0 h 4075"/>
                  <a:gd name="T22" fmla="*/ 0 w 2897"/>
                  <a:gd name="T23" fmla="*/ 0 h 4075"/>
                  <a:gd name="T24" fmla="*/ 0 w 2897"/>
                  <a:gd name="T25" fmla="*/ 0 h 4075"/>
                  <a:gd name="T26" fmla="*/ 0 w 2897"/>
                  <a:gd name="T27" fmla="*/ 0 h 4075"/>
                  <a:gd name="T28" fmla="*/ 0 w 2897"/>
                  <a:gd name="T29" fmla="*/ 0 h 4075"/>
                  <a:gd name="T30" fmla="*/ 0 w 2897"/>
                  <a:gd name="T31" fmla="*/ 0 h 4075"/>
                  <a:gd name="T32" fmla="*/ 0 w 2897"/>
                  <a:gd name="T33" fmla="*/ 0 h 4075"/>
                  <a:gd name="T34" fmla="*/ 0 w 2897"/>
                  <a:gd name="T35" fmla="*/ 0 h 4075"/>
                  <a:gd name="T36" fmla="*/ 0 w 2897"/>
                  <a:gd name="T37" fmla="*/ 0 h 4075"/>
                  <a:gd name="T38" fmla="*/ 0 w 2897"/>
                  <a:gd name="T39" fmla="*/ 0 h 4075"/>
                  <a:gd name="T40" fmla="*/ 0 w 2897"/>
                  <a:gd name="T41" fmla="*/ 0 h 4075"/>
                  <a:gd name="T42" fmla="*/ 0 w 2897"/>
                  <a:gd name="T43" fmla="*/ 0 h 4075"/>
                  <a:gd name="T44" fmla="*/ 0 w 2897"/>
                  <a:gd name="T45" fmla="*/ 0 h 4075"/>
                  <a:gd name="T46" fmla="*/ 0 w 2897"/>
                  <a:gd name="T47" fmla="*/ 0 h 4075"/>
                  <a:gd name="T48" fmla="*/ 0 w 2897"/>
                  <a:gd name="T49" fmla="*/ 0 h 4075"/>
                  <a:gd name="T50" fmla="*/ 0 w 2897"/>
                  <a:gd name="T51" fmla="*/ 0 h 4075"/>
                  <a:gd name="T52" fmla="*/ 0 w 2897"/>
                  <a:gd name="T53" fmla="*/ 0 h 4075"/>
                  <a:gd name="T54" fmla="*/ 0 w 2897"/>
                  <a:gd name="T55" fmla="*/ 0 h 4075"/>
                  <a:gd name="T56" fmla="*/ 0 w 2897"/>
                  <a:gd name="T57" fmla="*/ 0 h 4075"/>
                  <a:gd name="T58" fmla="*/ 0 w 2897"/>
                  <a:gd name="T59" fmla="*/ 0 h 4075"/>
                  <a:gd name="T60" fmla="*/ 0 w 2897"/>
                  <a:gd name="T61" fmla="*/ 0 h 4075"/>
                  <a:gd name="T62" fmla="*/ 0 w 2897"/>
                  <a:gd name="T63" fmla="*/ 0 h 4075"/>
                  <a:gd name="T64" fmla="*/ 0 w 2897"/>
                  <a:gd name="T65" fmla="*/ 0 h 4075"/>
                  <a:gd name="T66" fmla="*/ 0 w 2897"/>
                  <a:gd name="T67" fmla="*/ 0 h 4075"/>
                  <a:gd name="T68" fmla="*/ 0 w 2897"/>
                  <a:gd name="T69" fmla="*/ 0 h 4075"/>
                  <a:gd name="T70" fmla="*/ 0 w 2897"/>
                  <a:gd name="T71" fmla="*/ 0 h 4075"/>
                  <a:gd name="T72" fmla="*/ 0 w 2897"/>
                  <a:gd name="T73" fmla="*/ 0 h 4075"/>
                  <a:gd name="T74" fmla="*/ 0 w 2897"/>
                  <a:gd name="T75" fmla="*/ 0 h 4075"/>
                  <a:gd name="T76" fmla="*/ 0 w 2897"/>
                  <a:gd name="T77" fmla="*/ 0 h 4075"/>
                  <a:gd name="T78" fmla="*/ 0 w 2897"/>
                  <a:gd name="T79" fmla="*/ 0 h 4075"/>
                  <a:gd name="T80" fmla="*/ 0 w 2897"/>
                  <a:gd name="T81" fmla="*/ 0 h 4075"/>
                  <a:gd name="T82" fmla="*/ 0 w 2897"/>
                  <a:gd name="T83" fmla="*/ 0 h 4075"/>
                  <a:gd name="T84" fmla="*/ 0 w 2897"/>
                  <a:gd name="T85" fmla="*/ 0 h 4075"/>
                  <a:gd name="T86" fmla="*/ 0 w 2897"/>
                  <a:gd name="T87" fmla="*/ 0 h 4075"/>
                  <a:gd name="T88" fmla="*/ 0 w 2897"/>
                  <a:gd name="T89" fmla="*/ 0 h 4075"/>
                  <a:gd name="T90" fmla="*/ 0 w 2897"/>
                  <a:gd name="T91" fmla="*/ 0 h 4075"/>
                  <a:gd name="T92" fmla="*/ 0 w 2897"/>
                  <a:gd name="T93" fmla="*/ 0 h 4075"/>
                  <a:gd name="T94" fmla="*/ 0 w 2897"/>
                  <a:gd name="T95" fmla="*/ 0 h 4075"/>
                  <a:gd name="T96" fmla="*/ 0 w 2897"/>
                  <a:gd name="T97" fmla="*/ 0 h 4075"/>
                  <a:gd name="T98" fmla="*/ 0 w 2897"/>
                  <a:gd name="T99" fmla="*/ 0 h 4075"/>
                  <a:gd name="T100" fmla="*/ 0 w 2897"/>
                  <a:gd name="T101" fmla="*/ 0 h 4075"/>
                  <a:gd name="T102" fmla="*/ 0 w 2897"/>
                  <a:gd name="T103" fmla="*/ 0 h 4075"/>
                  <a:gd name="T104" fmla="*/ 0 w 2897"/>
                  <a:gd name="T105" fmla="*/ 0 h 40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97"/>
                  <a:gd name="T160" fmla="*/ 0 h 4075"/>
                  <a:gd name="T161" fmla="*/ 2897 w 2897"/>
                  <a:gd name="T162" fmla="*/ 4075 h 40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97" h="4075">
                    <a:moveTo>
                      <a:pt x="1448" y="35"/>
                    </a:moveTo>
                    <a:cubicBezTo>
                      <a:pt x="1397" y="39"/>
                      <a:pt x="1343" y="30"/>
                      <a:pt x="1296" y="51"/>
                    </a:cubicBezTo>
                    <a:cubicBezTo>
                      <a:pt x="1287" y="55"/>
                      <a:pt x="1288" y="69"/>
                      <a:pt x="1280" y="75"/>
                    </a:cubicBezTo>
                    <a:cubicBezTo>
                      <a:pt x="1264" y="88"/>
                      <a:pt x="1228" y="100"/>
                      <a:pt x="1208" y="107"/>
                    </a:cubicBezTo>
                    <a:cubicBezTo>
                      <a:pt x="1179" y="151"/>
                      <a:pt x="1189" y="200"/>
                      <a:pt x="1160" y="243"/>
                    </a:cubicBezTo>
                    <a:cubicBezTo>
                      <a:pt x="1164" y="314"/>
                      <a:pt x="1143" y="407"/>
                      <a:pt x="1224" y="427"/>
                    </a:cubicBezTo>
                    <a:cubicBezTo>
                      <a:pt x="1236" y="473"/>
                      <a:pt x="1256" y="506"/>
                      <a:pt x="1264" y="555"/>
                    </a:cubicBezTo>
                    <a:cubicBezTo>
                      <a:pt x="1261" y="574"/>
                      <a:pt x="1264" y="594"/>
                      <a:pt x="1256" y="611"/>
                    </a:cubicBezTo>
                    <a:cubicBezTo>
                      <a:pt x="1252" y="619"/>
                      <a:pt x="1238" y="613"/>
                      <a:pt x="1232" y="619"/>
                    </a:cubicBezTo>
                    <a:cubicBezTo>
                      <a:pt x="1190" y="661"/>
                      <a:pt x="1272" y="631"/>
                      <a:pt x="1192" y="651"/>
                    </a:cubicBezTo>
                    <a:cubicBezTo>
                      <a:pt x="1154" y="676"/>
                      <a:pt x="1117" y="691"/>
                      <a:pt x="1072" y="699"/>
                    </a:cubicBezTo>
                    <a:cubicBezTo>
                      <a:pt x="1019" y="734"/>
                      <a:pt x="947" y="729"/>
                      <a:pt x="896" y="763"/>
                    </a:cubicBezTo>
                    <a:cubicBezTo>
                      <a:pt x="858" y="788"/>
                      <a:pt x="881" y="776"/>
                      <a:pt x="824" y="795"/>
                    </a:cubicBezTo>
                    <a:cubicBezTo>
                      <a:pt x="816" y="798"/>
                      <a:pt x="800" y="803"/>
                      <a:pt x="800" y="803"/>
                    </a:cubicBezTo>
                    <a:cubicBezTo>
                      <a:pt x="795" y="811"/>
                      <a:pt x="791" y="821"/>
                      <a:pt x="784" y="827"/>
                    </a:cubicBezTo>
                    <a:cubicBezTo>
                      <a:pt x="770" y="840"/>
                      <a:pt x="736" y="859"/>
                      <a:pt x="736" y="859"/>
                    </a:cubicBezTo>
                    <a:cubicBezTo>
                      <a:pt x="710" y="936"/>
                      <a:pt x="740" y="1026"/>
                      <a:pt x="696" y="1091"/>
                    </a:cubicBezTo>
                    <a:cubicBezTo>
                      <a:pt x="680" y="1185"/>
                      <a:pt x="678" y="1285"/>
                      <a:pt x="608" y="1355"/>
                    </a:cubicBezTo>
                    <a:cubicBezTo>
                      <a:pt x="591" y="1405"/>
                      <a:pt x="565" y="1461"/>
                      <a:pt x="520" y="1491"/>
                    </a:cubicBezTo>
                    <a:cubicBezTo>
                      <a:pt x="495" y="1529"/>
                      <a:pt x="507" y="1506"/>
                      <a:pt x="488" y="1563"/>
                    </a:cubicBezTo>
                    <a:cubicBezTo>
                      <a:pt x="483" y="1579"/>
                      <a:pt x="472" y="1611"/>
                      <a:pt x="472" y="1611"/>
                    </a:cubicBezTo>
                    <a:cubicBezTo>
                      <a:pt x="465" y="1686"/>
                      <a:pt x="466" y="1743"/>
                      <a:pt x="400" y="1787"/>
                    </a:cubicBezTo>
                    <a:cubicBezTo>
                      <a:pt x="363" y="1842"/>
                      <a:pt x="374" y="1817"/>
                      <a:pt x="360" y="1859"/>
                    </a:cubicBezTo>
                    <a:cubicBezTo>
                      <a:pt x="356" y="1889"/>
                      <a:pt x="365" y="1926"/>
                      <a:pt x="344" y="1947"/>
                    </a:cubicBezTo>
                    <a:cubicBezTo>
                      <a:pt x="330" y="1961"/>
                      <a:pt x="296" y="1979"/>
                      <a:pt x="296" y="1979"/>
                    </a:cubicBezTo>
                    <a:cubicBezTo>
                      <a:pt x="295" y="1981"/>
                      <a:pt x="279" y="2044"/>
                      <a:pt x="264" y="2051"/>
                    </a:cubicBezTo>
                    <a:cubicBezTo>
                      <a:pt x="247" y="2059"/>
                      <a:pt x="227" y="2056"/>
                      <a:pt x="208" y="2059"/>
                    </a:cubicBezTo>
                    <a:cubicBezTo>
                      <a:pt x="174" y="2065"/>
                      <a:pt x="176" y="2067"/>
                      <a:pt x="144" y="2083"/>
                    </a:cubicBezTo>
                    <a:cubicBezTo>
                      <a:pt x="98" y="2152"/>
                      <a:pt x="159" y="2071"/>
                      <a:pt x="104" y="2115"/>
                    </a:cubicBezTo>
                    <a:cubicBezTo>
                      <a:pt x="52" y="2156"/>
                      <a:pt x="124" y="2127"/>
                      <a:pt x="64" y="2147"/>
                    </a:cubicBezTo>
                    <a:cubicBezTo>
                      <a:pt x="59" y="2155"/>
                      <a:pt x="55" y="2165"/>
                      <a:pt x="48" y="2171"/>
                    </a:cubicBezTo>
                    <a:cubicBezTo>
                      <a:pt x="34" y="2184"/>
                      <a:pt x="0" y="2203"/>
                      <a:pt x="0" y="2203"/>
                    </a:cubicBezTo>
                    <a:cubicBezTo>
                      <a:pt x="40" y="2230"/>
                      <a:pt x="107" y="2195"/>
                      <a:pt x="144" y="2227"/>
                    </a:cubicBezTo>
                    <a:cubicBezTo>
                      <a:pt x="166" y="2246"/>
                      <a:pt x="140" y="2286"/>
                      <a:pt x="136" y="2315"/>
                    </a:cubicBezTo>
                    <a:cubicBezTo>
                      <a:pt x="135" y="2323"/>
                      <a:pt x="131" y="2331"/>
                      <a:pt x="128" y="2339"/>
                    </a:cubicBezTo>
                    <a:cubicBezTo>
                      <a:pt x="137" y="2431"/>
                      <a:pt x="122" y="2418"/>
                      <a:pt x="192" y="2435"/>
                    </a:cubicBezTo>
                    <a:cubicBezTo>
                      <a:pt x="203" y="2469"/>
                      <a:pt x="200" y="2486"/>
                      <a:pt x="264" y="2451"/>
                    </a:cubicBezTo>
                    <a:cubicBezTo>
                      <a:pt x="274" y="2446"/>
                      <a:pt x="269" y="2430"/>
                      <a:pt x="272" y="2419"/>
                    </a:cubicBezTo>
                    <a:cubicBezTo>
                      <a:pt x="283" y="2422"/>
                      <a:pt x="295" y="2420"/>
                      <a:pt x="304" y="2427"/>
                    </a:cubicBezTo>
                    <a:cubicBezTo>
                      <a:pt x="343" y="2458"/>
                      <a:pt x="260" y="2461"/>
                      <a:pt x="352" y="2443"/>
                    </a:cubicBezTo>
                    <a:cubicBezTo>
                      <a:pt x="355" y="2435"/>
                      <a:pt x="352" y="2422"/>
                      <a:pt x="360" y="2419"/>
                    </a:cubicBezTo>
                    <a:cubicBezTo>
                      <a:pt x="380" y="2410"/>
                      <a:pt x="414" y="2430"/>
                      <a:pt x="424" y="2411"/>
                    </a:cubicBezTo>
                    <a:cubicBezTo>
                      <a:pt x="444" y="2370"/>
                      <a:pt x="425" y="2320"/>
                      <a:pt x="432" y="2275"/>
                    </a:cubicBezTo>
                    <a:cubicBezTo>
                      <a:pt x="433" y="2265"/>
                      <a:pt x="443" y="2259"/>
                      <a:pt x="448" y="2251"/>
                    </a:cubicBezTo>
                    <a:cubicBezTo>
                      <a:pt x="456" y="2192"/>
                      <a:pt x="435" y="2110"/>
                      <a:pt x="488" y="2075"/>
                    </a:cubicBezTo>
                    <a:cubicBezTo>
                      <a:pt x="513" y="2038"/>
                      <a:pt x="520" y="2008"/>
                      <a:pt x="560" y="1995"/>
                    </a:cubicBezTo>
                    <a:cubicBezTo>
                      <a:pt x="576" y="1947"/>
                      <a:pt x="602" y="1943"/>
                      <a:pt x="632" y="1899"/>
                    </a:cubicBezTo>
                    <a:cubicBezTo>
                      <a:pt x="651" y="1871"/>
                      <a:pt x="651" y="1854"/>
                      <a:pt x="680" y="1835"/>
                    </a:cubicBezTo>
                    <a:cubicBezTo>
                      <a:pt x="690" y="1806"/>
                      <a:pt x="726" y="1772"/>
                      <a:pt x="752" y="1755"/>
                    </a:cubicBezTo>
                    <a:cubicBezTo>
                      <a:pt x="764" y="1661"/>
                      <a:pt x="748" y="1707"/>
                      <a:pt x="808" y="1667"/>
                    </a:cubicBezTo>
                    <a:cubicBezTo>
                      <a:pt x="818" y="1636"/>
                      <a:pt x="822" y="1602"/>
                      <a:pt x="832" y="1571"/>
                    </a:cubicBezTo>
                    <a:cubicBezTo>
                      <a:pt x="838" y="1554"/>
                      <a:pt x="850" y="1540"/>
                      <a:pt x="856" y="1523"/>
                    </a:cubicBezTo>
                    <a:cubicBezTo>
                      <a:pt x="859" y="1488"/>
                      <a:pt x="854" y="1452"/>
                      <a:pt x="864" y="1419"/>
                    </a:cubicBezTo>
                    <a:cubicBezTo>
                      <a:pt x="866" y="1411"/>
                      <a:pt x="883" y="1418"/>
                      <a:pt x="888" y="1411"/>
                    </a:cubicBezTo>
                    <a:cubicBezTo>
                      <a:pt x="901" y="1392"/>
                      <a:pt x="899" y="1366"/>
                      <a:pt x="912" y="1347"/>
                    </a:cubicBezTo>
                    <a:cubicBezTo>
                      <a:pt x="1048" y="1381"/>
                      <a:pt x="1067" y="1730"/>
                      <a:pt x="920" y="1779"/>
                    </a:cubicBezTo>
                    <a:cubicBezTo>
                      <a:pt x="915" y="1787"/>
                      <a:pt x="908" y="1794"/>
                      <a:pt x="904" y="1803"/>
                    </a:cubicBezTo>
                    <a:cubicBezTo>
                      <a:pt x="897" y="1818"/>
                      <a:pt x="888" y="1851"/>
                      <a:pt x="888" y="1851"/>
                    </a:cubicBezTo>
                    <a:cubicBezTo>
                      <a:pt x="891" y="2110"/>
                      <a:pt x="745" y="2444"/>
                      <a:pt x="928" y="2627"/>
                    </a:cubicBezTo>
                    <a:cubicBezTo>
                      <a:pt x="931" y="2636"/>
                      <a:pt x="935" y="3540"/>
                      <a:pt x="936" y="3555"/>
                    </a:cubicBezTo>
                    <a:cubicBezTo>
                      <a:pt x="937" y="3563"/>
                      <a:pt x="952" y="3560"/>
                      <a:pt x="960" y="3563"/>
                    </a:cubicBezTo>
                    <a:cubicBezTo>
                      <a:pt x="957" y="3627"/>
                      <a:pt x="962" y="3692"/>
                      <a:pt x="952" y="3755"/>
                    </a:cubicBezTo>
                    <a:cubicBezTo>
                      <a:pt x="951" y="3763"/>
                      <a:pt x="935" y="3758"/>
                      <a:pt x="928" y="3763"/>
                    </a:cubicBezTo>
                    <a:cubicBezTo>
                      <a:pt x="907" y="3779"/>
                      <a:pt x="922" y="3830"/>
                      <a:pt x="896" y="3835"/>
                    </a:cubicBezTo>
                    <a:cubicBezTo>
                      <a:pt x="883" y="3838"/>
                      <a:pt x="869" y="3840"/>
                      <a:pt x="856" y="3843"/>
                    </a:cubicBezTo>
                    <a:cubicBezTo>
                      <a:pt x="816" y="3902"/>
                      <a:pt x="843" y="3887"/>
                      <a:pt x="784" y="3899"/>
                    </a:cubicBezTo>
                    <a:cubicBezTo>
                      <a:pt x="756" y="3927"/>
                      <a:pt x="752" y="3944"/>
                      <a:pt x="712" y="3931"/>
                    </a:cubicBezTo>
                    <a:cubicBezTo>
                      <a:pt x="697" y="3976"/>
                      <a:pt x="697" y="3983"/>
                      <a:pt x="744" y="3995"/>
                    </a:cubicBezTo>
                    <a:cubicBezTo>
                      <a:pt x="755" y="4027"/>
                      <a:pt x="768" y="4040"/>
                      <a:pt x="800" y="4051"/>
                    </a:cubicBezTo>
                    <a:cubicBezTo>
                      <a:pt x="1055" y="4039"/>
                      <a:pt x="897" y="4046"/>
                      <a:pt x="1032" y="4019"/>
                    </a:cubicBezTo>
                    <a:cubicBezTo>
                      <a:pt x="1078" y="3950"/>
                      <a:pt x="1017" y="4031"/>
                      <a:pt x="1072" y="3987"/>
                    </a:cubicBezTo>
                    <a:cubicBezTo>
                      <a:pt x="1080" y="3981"/>
                      <a:pt x="1080" y="3968"/>
                      <a:pt x="1088" y="3963"/>
                    </a:cubicBezTo>
                    <a:cubicBezTo>
                      <a:pt x="1107" y="3952"/>
                      <a:pt x="1131" y="3954"/>
                      <a:pt x="1152" y="3947"/>
                    </a:cubicBezTo>
                    <a:cubicBezTo>
                      <a:pt x="1163" y="3931"/>
                      <a:pt x="1173" y="3915"/>
                      <a:pt x="1184" y="3899"/>
                    </a:cubicBezTo>
                    <a:cubicBezTo>
                      <a:pt x="1189" y="3891"/>
                      <a:pt x="1200" y="3875"/>
                      <a:pt x="1200" y="3875"/>
                    </a:cubicBezTo>
                    <a:cubicBezTo>
                      <a:pt x="1202" y="3787"/>
                      <a:pt x="1143" y="3460"/>
                      <a:pt x="1264" y="3339"/>
                    </a:cubicBezTo>
                    <a:cubicBezTo>
                      <a:pt x="1267" y="3214"/>
                      <a:pt x="1267" y="3088"/>
                      <a:pt x="1272" y="2963"/>
                    </a:cubicBezTo>
                    <a:cubicBezTo>
                      <a:pt x="1272" y="2955"/>
                      <a:pt x="1279" y="2947"/>
                      <a:pt x="1280" y="2939"/>
                    </a:cubicBezTo>
                    <a:cubicBezTo>
                      <a:pt x="1287" y="2860"/>
                      <a:pt x="1256" y="2789"/>
                      <a:pt x="1320" y="2747"/>
                    </a:cubicBezTo>
                    <a:cubicBezTo>
                      <a:pt x="1334" y="2675"/>
                      <a:pt x="1321" y="2600"/>
                      <a:pt x="1344" y="2531"/>
                    </a:cubicBezTo>
                    <a:cubicBezTo>
                      <a:pt x="1348" y="2491"/>
                      <a:pt x="1349" y="2434"/>
                      <a:pt x="1368" y="2395"/>
                    </a:cubicBezTo>
                    <a:cubicBezTo>
                      <a:pt x="1406" y="2319"/>
                      <a:pt x="1359" y="2447"/>
                      <a:pt x="1400" y="2323"/>
                    </a:cubicBezTo>
                    <a:cubicBezTo>
                      <a:pt x="1409" y="2297"/>
                      <a:pt x="1440" y="2251"/>
                      <a:pt x="1440" y="2251"/>
                    </a:cubicBezTo>
                    <a:cubicBezTo>
                      <a:pt x="1448" y="2334"/>
                      <a:pt x="1431" y="2341"/>
                      <a:pt x="1496" y="2363"/>
                    </a:cubicBezTo>
                    <a:cubicBezTo>
                      <a:pt x="1526" y="2454"/>
                      <a:pt x="1487" y="2328"/>
                      <a:pt x="1512" y="2579"/>
                    </a:cubicBezTo>
                    <a:cubicBezTo>
                      <a:pt x="1514" y="2596"/>
                      <a:pt x="1523" y="2611"/>
                      <a:pt x="1528" y="2627"/>
                    </a:cubicBezTo>
                    <a:cubicBezTo>
                      <a:pt x="1531" y="2635"/>
                      <a:pt x="1536" y="2651"/>
                      <a:pt x="1536" y="2651"/>
                    </a:cubicBezTo>
                    <a:cubicBezTo>
                      <a:pt x="1545" y="2722"/>
                      <a:pt x="1554" y="2713"/>
                      <a:pt x="1568" y="2771"/>
                    </a:cubicBezTo>
                    <a:cubicBezTo>
                      <a:pt x="1585" y="2963"/>
                      <a:pt x="1565" y="2897"/>
                      <a:pt x="1592" y="2979"/>
                    </a:cubicBezTo>
                    <a:cubicBezTo>
                      <a:pt x="1595" y="3008"/>
                      <a:pt x="1595" y="3038"/>
                      <a:pt x="1600" y="3067"/>
                    </a:cubicBezTo>
                    <a:cubicBezTo>
                      <a:pt x="1603" y="3084"/>
                      <a:pt x="1616" y="3115"/>
                      <a:pt x="1616" y="3115"/>
                    </a:cubicBezTo>
                    <a:cubicBezTo>
                      <a:pt x="1620" y="3225"/>
                      <a:pt x="1579" y="3379"/>
                      <a:pt x="1688" y="3451"/>
                    </a:cubicBezTo>
                    <a:cubicBezTo>
                      <a:pt x="1691" y="3494"/>
                      <a:pt x="1694" y="3536"/>
                      <a:pt x="1696" y="3579"/>
                    </a:cubicBezTo>
                    <a:cubicBezTo>
                      <a:pt x="1702" y="3696"/>
                      <a:pt x="1596" y="3912"/>
                      <a:pt x="1712" y="3931"/>
                    </a:cubicBezTo>
                    <a:cubicBezTo>
                      <a:pt x="1771" y="3941"/>
                      <a:pt x="1744" y="3935"/>
                      <a:pt x="1792" y="3947"/>
                    </a:cubicBezTo>
                    <a:cubicBezTo>
                      <a:pt x="1849" y="3985"/>
                      <a:pt x="1821" y="3974"/>
                      <a:pt x="1872" y="3987"/>
                    </a:cubicBezTo>
                    <a:cubicBezTo>
                      <a:pt x="1880" y="3995"/>
                      <a:pt x="1886" y="4006"/>
                      <a:pt x="1896" y="4011"/>
                    </a:cubicBezTo>
                    <a:cubicBezTo>
                      <a:pt x="1911" y="4019"/>
                      <a:pt x="1944" y="4027"/>
                      <a:pt x="1944" y="4027"/>
                    </a:cubicBezTo>
                    <a:cubicBezTo>
                      <a:pt x="1963" y="4055"/>
                      <a:pt x="1976" y="4064"/>
                      <a:pt x="2008" y="4075"/>
                    </a:cubicBezTo>
                    <a:cubicBezTo>
                      <a:pt x="2032" y="4072"/>
                      <a:pt x="2057" y="4075"/>
                      <a:pt x="2080" y="4067"/>
                    </a:cubicBezTo>
                    <a:cubicBezTo>
                      <a:pt x="2098" y="4061"/>
                      <a:pt x="2109" y="4039"/>
                      <a:pt x="2128" y="4035"/>
                    </a:cubicBezTo>
                    <a:cubicBezTo>
                      <a:pt x="2141" y="4032"/>
                      <a:pt x="2155" y="4030"/>
                      <a:pt x="2168" y="4027"/>
                    </a:cubicBezTo>
                    <a:cubicBezTo>
                      <a:pt x="2165" y="3998"/>
                      <a:pt x="2172" y="3966"/>
                      <a:pt x="2160" y="3939"/>
                    </a:cubicBezTo>
                    <a:cubicBezTo>
                      <a:pt x="2149" y="3915"/>
                      <a:pt x="2086" y="3898"/>
                      <a:pt x="2064" y="3891"/>
                    </a:cubicBezTo>
                    <a:cubicBezTo>
                      <a:pt x="2043" y="3884"/>
                      <a:pt x="2033" y="3864"/>
                      <a:pt x="2016" y="3851"/>
                    </a:cubicBezTo>
                    <a:cubicBezTo>
                      <a:pt x="2001" y="3839"/>
                      <a:pt x="1968" y="3819"/>
                      <a:pt x="1968" y="3819"/>
                    </a:cubicBezTo>
                    <a:cubicBezTo>
                      <a:pt x="1951" y="3793"/>
                      <a:pt x="1930" y="3777"/>
                      <a:pt x="1920" y="3747"/>
                    </a:cubicBezTo>
                    <a:cubicBezTo>
                      <a:pt x="1923" y="3653"/>
                      <a:pt x="1909" y="3399"/>
                      <a:pt x="1976" y="3299"/>
                    </a:cubicBezTo>
                    <a:cubicBezTo>
                      <a:pt x="1964" y="2838"/>
                      <a:pt x="1997" y="3107"/>
                      <a:pt x="1944" y="2947"/>
                    </a:cubicBezTo>
                    <a:cubicBezTo>
                      <a:pt x="1947" y="2827"/>
                      <a:pt x="1946" y="2707"/>
                      <a:pt x="1952" y="2587"/>
                    </a:cubicBezTo>
                    <a:cubicBezTo>
                      <a:pt x="1954" y="2549"/>
                      <a:pt x="1968" y="2475"/>
                      <a:pt x="1968" y="2475"/>
                    </a:cubicBezTo>
                    <a:cubicBezTo>
                      <a:pt x="1971" y="2400"/>
                      <a:pt x="1973" y="2326"/>
                      <a:pt x="1976" y="2251"/>
                    </a:cubicBezTo>
                    <a:cubicBezTo>
                      <a:pt x="1980" y="2162"/>
                      <a:pt x="2006" y="2045"/>
                      <a:pt x="1952" y="1963"/>
                    </a:cubicBezTo>
                    <a:cubicBezTo>
                      <a:pt x="1929" y="1651"/>
                      <a:pt x="1956" y="1832"/>
                      <a:pt x="1904" y="1675"/>
                    </a:cubicBezTo>
                    <a:cubicBezTo>
                      <a:pt x="1907" y="1571"/>
                      <a:pt x="1907" y="1467"/>
                      <a:pt x="1912" y="1363"/>
                    </a:cubicBezTo>
                    <a:cubicBezTo>
                      <a:pt x="1913" y="1332"/>
                      <a:pt x="1934" y="1316"/>
                      <a:pt x="1960" y="1307"/>
                    </a:cubicBezTo>
                    <a:cubicBezTo>
                      <a:pt x="1965" y="1315"/>
                      <a:pt x="1972" y="1322"/>
                      <a:pt x="1976" y="1331"/>
                    </a:cubicBezTo>
                    <a:cubicBezTo>
                      <a:pt x="1983" y="1346"/>
                      <a:pt x="1992" y="1379"/>
                      <a:pt x="1992" y="1379"/>
                    </a:cubicBezTo>
                    <a:cubicBezTo>
                      <a:pt x="1995" y="1424"/>
                      <a:pt x="1995" y="1470"/>
                      <a:pt x="2000" y="1515"/>
                    </a:cubicBezTo>
                    <a:cubicBezTo>
                      <a:pt x="2001" y="1523"/>
                      <a:pt x="2002" y="1533"/>
                      <a:pt x="2008" y="1539"/>
                    </a:cubicBezTo>
                    <a:cubicBezTo>
                      <a:pt x="2014" y="1545"/>
                      <a:pt x="2025" y="1543"/>
                      <a:pt x="2032" y="1547"/>
                    </a:cubicBezTo>
                    <a:cubicBezTo>
                      <a:pt x="2049" y="1556"/>
                      <a:pt x="2080" y="1579"/>
                      <a:pt x="2080" y="1579"/>
                    </a:cubicBezTo>
                    <a:cubicBezTo>
                      <a:pt x="2090" y="1649"/>
                      <a:pt x="2106" y="1714"/>
                      <a:pt x="2168" y="1755"/>
                    </a:cubicBezTo>
                    <a:cubicBezTo>
                      <a:pt x="2215" y="1825"/>
                      <a:pt x="2188" y="1868"/>
                      <a:pt x="2280" y="1899"/>
                    </a:cubicBezTo>
                    <a:cubicBezTo>
                      <a:pt x="2290" y="1928"/>
                      <a:pt x="2323" y="1961"/>
                      <a:pt x="2352" y="1971"/>
                    </a:cubicBezTo>
                    <a:cubicBezTo>
                      <a:pt x="2389" y="2027"/>
                      <a:pt x="2368" y="2008"/>
                      <a:pt x="2408" y="2035"/>
                    </a:cubicBezTo>
                    <a:cubicBezTo>
                      <a:pt x="2466" y="2122"/>
                      <a:pt x="2375" y="2263"/>
                      <a:pt x="2464" y="2323"/>
                    </a:cubicBezTo>
                    <a:cubicBezTo>
                      <a:pt x="2474" y="2429"/>
                      <a:pt x="2462" y="2423"/>
                      <a:pt x="2560" y="2435"/>
                    </a:cubicBezTo>
                    <a:cubicBezTo>
                      <a:pt x="2585" y="2472"/>
                      <a:pt x="2594" y="2468"/>
                      <a:pt x="2608" y="2427"/>
                    </a:cubicBezTo>
                    <a:cubicBezTo>
                      <a:pt x="2657" y="2439"/>
                      <a:pt x="2665" y="2443"/>
                      <a:pt x="2720" y="2435"/>
                    </a:cubicBezTo>
                    <a:cubicBezTo>
                      <a:pt x="2735" y="2345"/>
                      <a:pt x="2711" y="2397"/>
                      <a:pt x="2752" y="2403"/>
                    </a:cubicBezTo>
                    <a:cubicBezTo>
                      <a:pt x="2763" y="2405"/>
                      <a:pt x="2773" y="2398"/>
                      <a:pt x="2784" y="2395"/>
                    </a:cubicBezTo>
                    <a:cubicBezTo>
                      <a:pt x="2775" y="2359"/>
                      <a:pt x="2756" y="2338"/>
                      <a:pt x="2736" y="2307"/>
                    </a:cubicBezTo>
                    <a:cubicBezTo>
                      <a:pt x="2739" y="2283"/>
                      <a:pt x="2723" y="2246"/>
                      <a:pt x="2744" y="2235"/>
                    </a:cubicBezTo>
                    <a:cubicBezTo>
                      <a:pt x="2787" y="2213"/>
                      <a:pt x="2841" y="2239"/>
                      <a:pt x="2888" y="2227"/>
                    </a:cubicBezTo>
                    <a:cubicBezTo>
                      <a:pt x="2897" y="2225"/>
                      <a:pt x="2880" y="2209"/>
                      <a:pt x="2872" y="2203"/>
                    </a:cubicBezTo>
                    <a:cubicBezTo>
                      <a:pt x="2858" y="2192"/>
                      <a:pt x="2839" y="2189"/>
                      <a:pt x="2824" y="2179"/>
                    </a:cubicBezTo>
                    <a:cubicBezTo>
                      <a:pt x="2805" y="2151"/>
                      <a:pt x="2792" y="2142"/>
                      <a:pt x="2760" y="2131"/>
                    </a:cubicBezTo>
                    <a:cubicBezTo>
                      <a:pt x="2754" y="2122"/>
                      <a:pt x="2701" y="2063"/>
                      <a:pt x="2696" y="2059"/>
                    </a:cubicBezTo>
                    <a:cubicBezTo>
                      <a:pt x="2676" y="2045"/>
                      <a:pt x="2612" y="2038"/>
                      <a:pt x="2592" y="2035"/>
                    </a:cubicBezTo>
                    <a:cubicBezTo>
                      <a:pt x="2567" y="1998"/>
                      <a:pt x="2550" y="1957"/>
                      <a:pt x="2536" y="1915"/>
                    </a:cubicBezTo>
                    <a:cubicBezTo>
                      <a:pt x="2532" y="1904"/>
                      <a:pt x="2514" y="1818"/>
                      <a:pt x="2504" y="1803"/>
                    </a:cubicBezTo>
                    <a:cubicBezTo>
                      <a:pt x="2479" y="1765"/>
                      <a:pt x="2462" y="1722"/>
                      <a:pt x="2440" y="1683"/>
                    </a:cubicBezTo>
                    <a:cubicBezTo>
                      <a:pt x="2398" y="1607"/>
                      <a:pt x="2347" y="1538"/>
                      <a:pt x="2312" y="1459"/>
                    </a:cubicBezTo>
                    <a:cubicBezTo>
                      <a:pt x="2299" y="1429"/>
                      <a:pt x="2290" y="1394"/>
                      <a:pt x="2280" y="1363"/>
                    </a:cubicBezTo>
                    <a:cubicBezTo>
                      <a:pt x="2272" y="1339"/>
                      <a:pt x="2251" y="1314"/>
                      <a:pt x="2240" y="1291"/>
                    </a:cubicBezTo>
                    <a:cubicBezTo>
                      <a:pt x="2233" y="1278"/>
                      <a:pt x="2228" y="1248"/>
                      <a:pt x="2224" y="1235"/>
                    </a:cubicBezTo>
                    <a:cubicBezTo>
                      <a:pt x="2219" y="1219"/>
                      <a:pt x="2208" y="1187"/>
                      <a:pt x="2208" y="1187"/>
                    </a:cubicBezTo>
                    <a:cubicBezTo>
                      <a:pt x="2205" y="1118"/>
                      <a:pt x="2226" y="1040"/>
                      <a:pt x="2192" y="979"/>
                    </a:cubicBezTo>
                    <a:cubicBezTo>
                      <a:pt x="2183" y="962"/>
                      <a:pt x="2166" y="949"/>
                      <a:pt x="2160" y="931"/>
                    </a:cubicBezTo>
                    <a:cubicBezTo>
                      <a:pt x="2150" y="900"/>
                      <a:pt x="2144" y="886"/>
                      <a:pt x="2112" y="875"/>
                    </a:cubicBezTo>
                    <a:cubicBezTo>
                      <a:pt x="2089" y="840"/>
                      <a:pt x="2018" y="766"/>
                      <a:pt x="1976" y="747"/>
                    </a:cubicBezTo>
                    <a:cubicBezTo>
                      <a:pt x="1943" y="732"/>
                      <a:pt x="1911" y="724"/>
                      <a:pt x="1880" y="707"/>
                    </a:cubicBezTo>
                    <a:cubicBezTo>
                      <a:pt x="1863" y="698"/>
                      <a:pt x="1851" y="677"/>
                      <a:pt x="1832" y="675"/>
                    </a:cubicBezTo>
                    <a:cubicBezTo>
                      <a:pt x="1800" y="672"/>
                      <a:pt x="1768" y="670"/>
                      <a:pt x="1736" y="667"/>
                    </a:cubicBezTo>
                    <a:cubicBezTo>
                      <a:pt x="1712" y="643"/>
                      <a:pt x="1696" y="630"/>
                      <a:pt x="1664" y="619"/>
                    </a:cubicBezTo>
                    <a:cubicBezTo>
                      <a:pt x="1634" y="574"/>
                      <a:pt x="1601" y="549"/>
                      <a:pt x="1664" y="507"/>
                    </a:cubicBezTo>
                    <a:cubicBezTo>
                      <a:pt x="1675" y="475"/>
                      <a:pt x="1692" y="462"/>
                      <a:pt x="1720" y="443"/>
                    </a:cubicBezTo>
                    <a:cubicBezTo>
                      <a:pt x="1749" y="300"/>
                      <a:pt x="1757" y="114"/>
                      <a:pt x="1592" y="59"/>
                    </a:cubicBezTo>
                    <a:cubicBezTo>
                      <a:pt x="1572" y="0"/>
                      <a:pt x="1498" y="35"/>
                      <a:pt x="1448" y="35"/>
                    </a:cubicBezTo>
                    <a:close/>
                  </a:path>
                </a:pathLst>
              </a:custGeom>
              <a:solidFill>
                <a:srgbClr val="FF99FF"/>
              </a:solidFill>
              <a:ln w="9525">
                <a:solidFill>
                  <a:schemeClr val="tx1"/>
                </a:solidFill>
                <a:round/>
                <a:headEnd/>
                <a:tailEnd/>
              </a:ln>
            </p:spPr>
            <p:txBody>
              <a:bodyPr>
                <a:spAutoFit/>
              </a:bodyPr>
              <a:lstStyle/>
              <a:p>
                <a:endParaRPr lang="en-US"/>
              </a:p>
            </p:txBody>
          </p:sp>
          <p:sp>
            <p:nvSpPr>
              <p:cNvPr id="16419" name="Text Box 79"/>
              <p:cNvSpPr txBox="1">
                <a:spLocks noChangeArrowheads="1"/>
              </p:cNvSpPr>
              <p:nvPr/>
            </p:nvSpPr>
            <p:spPr bwMode="auto">
              <a:xfrm>
                <a:off x="4922" y="2464"/>
                <a:ext cx="666" cy="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sz="1600" b="1">
                    <a:solidFill>
                      <a:srgbClr val="007CC2"/>
                    </a:solidFill>
                    <a:latin typeface="Arial" pitchFamily="34" charset="0"/>
                    <a:cs typeface="Arial" pitchFamily="34" charset="0"/>
                  </a:defRPr>
                </a:lvl1pPr>
                <a:lvl2pPr marL="742950" indent="-285750" eaLnBrk="0" hangingPunct="0">
                  <a:buClr>
                    <a:schemeClr val="bg1"/>
                  </a:buClr>
                  <a:buFont typeface="Wingdings" pitchFamily="2" charset="2"/>
                  <a:buChar char="§"/>
                  <a:defRPr sz="1600">
                    <a:solidFill>
                      <a:srgbClr val="007CC2"/>
                    </a:solidFill>
                    <a:latin typeface="Arial" pitchFamily="34" charset="0"/>
                    <a:cs typeface="Arial" pitchFamily="34" charset="0"/>
                  </a:defRPr>
                </a:lvl2pPr>
                <a:lvl3pPr marL="1143000" indent="-228600" eaLnBrk="0" hangingPunct="0">
                  <a:buClr>
                    <a:schemeClr val="bg1"/>
                  </a:buClr>
                  <a:buFont typeface="Wingdings" pitchFamily="2" charset="2"/>
                  <a:buChar char="w"/>
                  <a:defRPr sz="1600">
                    <a:solidFill>
                      <a:srgbClr val="007CC2"/>
                    </a:solidFill>
                    <a:latin typeface="Arial" pitchFamily="34" charset="0"/>
                    <a:cs typeface="Arial" pitchFamily="34" charset="0"/>
                  </a:defRPr>
                </a:lvl3pPr>
                <a:lvl4pPr marL="16002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4pPr>
                <a:lvl5pPr marL="20574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5pPr>
                <a:lvl6pPr marL="25146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6pPr>
                <a:lvl7pPr marL="29718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7pPr>
                <a:lvl8pPr marL="34290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8pPr>
                <a:lvl9pPr marL="38862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9pPr>
              </a:lstStyle>
              <a:p>
                <a:pPr>
                  <a:spcBef>
                    <a:spcPct val="50000"/>
                  </a:spcBef>
                  <a:buFontTx/>
                  <a:buNone/>
                </a:pPr>
                <a:r>
                  <a:rPr lang="en-US" altLang="en-US" sz="1000" dirty="0">
                    <a:solidFill>
                      <a:srgbClr val="ED1121"/>
                    </a:solidFill>
                  </a:rPr>
                  <a:t>Luminal A</a:t>
                </a:r>
                <a:endParaRPr lang="en-US" altLang="en-US" sz="1000" baseline="30000" dirty="0">
                  <a:solidFill>
                    <a:srgbClr val="ED1121"/>
                  </a:solidFill>
                </a:endParaRPr>
              </a:p>
            </p:txBody>
          </p:sp>
        </p:grpSp>
      </p:grpSp>
      <p:sp>
        <p:nvSpPr>
          <p:cNvPr id="16413" name="Text Box 37"/>
          <p:cNvSpPr txBox="1">
            <a:spLocks noChangeArrowheads="1"/>
          </p:cNvSpPr>
          <p:nvPr/>
        </p:nvSpPr>
        <p:spPr bwMode="auto">
          <a:xfrm>
            <a:off x="6873119" y="5910264"/>
            <a:ext cx="955524"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Char char="•"/>
              <a:defRPr sz="1600" b="1">
                <a:solidFill>
                  <a:srgbClr val="007CC2"/>
                </a:solidFill>
                <a:latin typeface="Arial" pitchFamily="34" charset="0"/>
                <a:cs typeface="Arial" pitchFamily="34" charset="0"/>
              </a:defRPr>
            </a:lvl1pPr>
            <a:lvl2pPr marL="742950" indent="-285750" eaLnBrk="0" hangingPunct="0">
              <a:buClr>
                <a:schemeClr val="bg1"/>
              </a:buClr>
              <a:buFont typeface="Wingdings" pitchFamily="2" charset="2"/>
              <a:buChar char="§"/>
              <a:defRPr sz="1600">
                <a:solidFill>
                  <a:srgbClr val="007CC2"/>
                </a:solidFill>
                <a:latin typeface="Arial" pitchFamily="34" charset="0"/>
                <a:cs typeface="Arial" pitchFamily="34" charset="0"/>
              </a:defRPr>
            </a:lvl2pPr>
            <a:lvl3pPr marL="1143000" indent="-228600" eaLnBrk="0" hangingPunct="0">
              <a:buClr>
                <a:schemeClr val="bg1"/>
              </a:buClr>
              <a:buFont typeface="Wingdings" pitchFamily="2" charset="2"/>
              <a:buChar char="w"/>
              <a:defRPr sz="1600">
                <a:solidFill>
                  <a:srgbClr val="007CC2"/>
                </a:solidFill>
                <a:latin typeface="Arial" pitchFamily="34" charset="0"/>
                <a:cs typeface="Arial" pitchFamily="34" charset="0"/>
              </a:defRPr>
            </a:lvl3pPr>
            <a:lvl4pPr marL="16002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4pPr>
            <a:lvl5pPr marL="2057400" indent="-228600" eaLnBrk="0" hangingPunct="0">
              <a:buClr>
                <a:schemeClr val="bg1"/>
              </a:buClr>
              <a:buFont typeface="Arial" pitchFamily="34" charset="0"/>
              <a:buChar char="–"/>
              <a:defRPr sz="1600">
                <a:solidFill>
                  <a:srgbClr val="007CC2"/>
                </a:solidFill>
                <a:latin typeface="Arial" pitchFamily="34" charset="0"/>
                <a:cs typeface="Arial" pitchFamily="34" charset="0"/>
              </a:defRPr>
            </a:lvl5pPr>
            <a:lvl6pPr marL="25146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6pPr>
            <a:lvl7pPr marL="29718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7pPr>
            <a:lvl8pPr marL="34290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8pPr>
            <a:lvl9pPr marL="3886200" indent="-228600" eaLnBrk="0" fontAlgn="base" hangingPunct="0">
              <a:spcBef>
                <a:spcPct val="0"/>
              </a:spcBef>
              <a:spcAft>
                <a:spcPct val="0"/>
              </a:spcAft>
              <a:buClr>
                <a:schemeClr val="bg1"/>
              </a:buClr>
              <a:buFont typeface="Arial" pitchFamily="34" charset="0"/>
              <a:buChar char="–"/>
              <a:defRPr sz="1600">
                <a:solidFill>
                  <a:srgbClr val="007CC2"/>
                </a:solidFill>
                <a:latin typeface="Arial" pitchFamily="34" charset="0"/>
                <a:cs typeface="Arial" pitchFamily="34" charset="0"/>
              </a:defRPr>
            </a:lvl9pPr>
          </a:lstStyle>
          <a:p>
            <a:pPr>
              <a:spcBef>
                <a:spcPct val="50000"/>
              </a:spcBef>
              <a:buFontTx/>
              <a:buNone/>
            </a:pPr>
            <a:r>
              <a:rPr lang="en-US" altLang="en-US" sz="1100">
                <a:solidFill>
                  <a:srgbClr val="0070C0"/>
                </a:solidFill>
              </a:rPr>
              <a:t>6.3%</a:t>
            </a:r>
          </a:p>
        </p:txBody>
      </p:sp>
    </p:spTree>
    <p:extLst>
      <p:ext uri="{BB962C8B-B14F-4D97-AF65-F5344CB8AC3E}">
        <p14:creationId xmlns:p14="http://schemas.microsoft.com/office/powerpoint/2010/main" val="25505549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40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38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38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39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40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639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639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39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639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640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639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639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6386"/>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6395"/>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6396"/>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639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640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6401"/>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6409"/>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6410"/>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6411"/>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641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641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640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86" grpId="0"/>
      <p:bldP spid="16390" grpId="0"/>
      <p:bldP spid="16392" grpId="0" animBg="1"/>
      <p:bldP spid="16393" grpId="0" animBg="1"/>
      <p:bldP spid="16394" grpId="0" animBg="1"/>
      <p:bldP spid="16395" grpId="0" animBg="1"/>
      <p:bldP spid="16396" grpId="0" animBg="1"/>
      <p:bldP spid="16397" grpId="0" animBg="1"/>
      <p:bldP spid="16398" grpId="0"/>
      <p:bldP spid="16402" grpId="0" animBg="1"/>
      <p:bldP spid="16403" grpId="0" animBg="1"/>
      <p:bldP spid="16408" grpId="0"/>
      <p:bldP spid="16409" grpId="0"/>
      <p:bldP spid="16410" grpId="0"/>
      <p:bldP spid="16411" grpId="0" animBg="1"/>
      <p:bldP spid="1641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l"/>
            <a:r>
              <a:rPr lang="es-CL" sz="3200" b="0" dirty="0" smtClean="0"/>
              <a:t>Pfizer en Chile</a:t>
            </a:r>
            <a:endParaRPr lang="es-CL" sz="3200" b="0" dirty="0"/>
          </a:p>
        </p:txBody>
      </p:sp>
      <p:grpSp>
        <p:nvGrpSpPr>
          <p:cNvPr id="38" name="Group 37"/>
          <p:cNvGrpSpPr/>
          <p:nvPr/>
        </p:nvGrpSpPr>
        <p:grpSpPr>
          <a:xfrm>
            <a:off x="324644" y="1548343"/>
            <a:ext cx="8495828" cy="1952665"/>
            <a:chOff x="251520" y="1224930"/>
            <a:chExt cx="8495828" cy="1952665"/>
          </a:xfrm>
        </p:grpSpPr>
        <p:grpSp>
          <p:nvGrpSpPr>
            <p:cNvPr id="30" name="Group 29"/>
            <p:cNvGrpSpPr/>
            <p:nvPr/>
          </p:nvGrpSpPr>
          <p:grpSpPr>
            <a:xfrm>
              <a:off x="251520" y="1335730"/>
              <a:ext cx="1943100" cy="1579076"/>
              <a:chOff x="670790" y="1181100"/>
              <a:chExt cx="1943100" cy="1579076"/>
            </a:xfrm>
          </p:grpSpPr>
          <p:sp>
            <p:nvSpPr>
              <p:cNvPr id="5" name="Rectangle 4"/>
              <p:cNvSpPr/>
              <p:nvPr/>
            </p:nvSpPr>
            <p:spPr>
              <a:xfrm>
                <a:off x="677140" y="2316978"/>
                <a:ext cx="1930400" cy="443198"/>
              </a:xfrm>
              <a:prstGeom prst="rect">
                <a:avLst/>
              </a:prstGeom>
            </p:spPr>
            <p:txBody>
              <a:bodyPr wrap="square" lIns="0" tIns="0" rIns="0" bIns="0">
                <a:spAutoFit/>
              </a:bodyPr>
              <a:lstStyle/>
              <a:p>
                <a:pPr algn="ctr" eaLnBrk="0" fontAlgn="base" hangingPunct="0">
                  <a:lnSpc>
                    <a:spcPct val="90000"/>
                  </a:lnSpc>
                  <a:spcBef>
                    <a:spcPct val="20000"/>
                  </a:spcBef>
                  <a:spcAft>
                    <a:spcPct val="0"/>
                  </a:spcAft>
                </a:pPr>
                <a:r>
                  <a:rPr lang="es-CL" sz="1600" dirty="0" smtClean="0">
                    <a:latin typeface="Arial" pitchFamily="34" charset="0"/>
                  </a:rPr>
                  <a:t>Pfizer abre sus oficinas en Chile</a:t>
                </a:r>
                <a:endParaRPr lang="es-CL" sz="1600" dirty="0">
                  <a:latin typeface="Arial" pitchFamily="34" charset="0"/>
                  <a:ea typeface="ＭＳ Ｐゴシック" pitchFamily="-109" charset="-128"/>
                </a:endParaRPr>
              </a:p>
            </p:txBody>
          </p:sp>
          <p:sp>
            <p:nvSpPr>
              <p:cNvPr id="6" name="TextBox 5"/>
              <p:cNvSpPr txBox="1"/>
              <p:nvPr/>
            </p:nvSpPr>
            <p:spPr>
              <a:xfrm>
                <a:off x="670790" y="1181100"/>
                <a:ext cx="1943100" cy="1015663"/>
              </a:xfrm>
              <a:prstGeom prst="rect">
                <a:avLst/>
              </a:prstGeom>
              <a:noFill/>
            </p:spPr>
            <p:txBody>
              <a:bodyPr wrap="square" lIns="0" tIns="0" rIns="0" bIns="0" rtlCol="0">
                <a:spAutoFit/>
              </a:bodyPr>
              <a:lstStyle/>
              <a:p>
                <a:pPr algn="ctr" fontAlgn="base">
                  <a:spcBef>
                    <a:spcPct val="0"/>
                  </a:spcBef>
                  <a:spcAft>
                    <a:spcPct val="0"/>
                  </a:spcAft>
                </a:pPr>
                <a:r>
                  <a:rPr lang="es-CL" sz="6600" b="1" dirty="0" smtClean="0">
                    <a:solidFill>
                      <a:srgbClr val="0093CF"/>
                    </a:solidFill>
                    <a:latin typeface="Arial" pitchFamily="34" charset="0"/>
                  </a:rPr>
                  <a:t>1959</a:t>
                </a:r>
                <a:endParaRPr lang="es-CL" sz="6600" b="1" dirty="0">
                  <a:solidFill>
                    <a:srgbClr val="0093CF"/>
                  </a:solidFill>
                  <a:latin typeface="Arial" pitchFamily="34" charset="0"/>
                </a:endParaRPr>
              </a:p>
            </p:txBody>
          </p:sp>
        </p:grpSp>
        <p:grpSp>
          <p:nvGrpSpPr>
            <p:cNvPr id="32" name="Group 31"/>
            <p:cNvGrpSpPr/>
            <p:nvPr/>
          </p:nvGrpSpPr>
          <p:grpSpPr>
            <a:xfrm>
              <a:off x="4603072" y="1325354"/>
              <a:ext cx="1962150" cy="1599828"/>
              <a:chOff x="4559300" y="1181100"/>
              <a:chExt cx="1962150" cy="1599828"/>
            </a:xfrm>
          </p:grpSpPr>
          <p:sp>
            <p:nvSpPr>
              <p:cNvPr id="8" name="TextBox 7"/>
              <p:cNvSpPr txBox="1"/>
              <p:nvPr/>
            </p:nvSpPr>
            <p:spPr>
              <a:xfrm>
                <a:off x="4559300" y="1181100"/>
                <a:ext cx="1949450" cy="1015663"/>
              </a:xfrm>
              <a:prstGeom prst="rect">
                <a:avLst/>
              </a:prstGeom>
              <a:noFill/>
            </p:spPr>
            <p:txBody>
              <a:bodyPr wrap="square" lIns="0" tIns="0" rIns="0" bIns="0" rtlCol="0">
                <a:spAutoFit/>
              </a:bodyPr>
              <a:lstStyle/>
              <a:p>
                <a:pPr algn="ctr" fontAlgn="base">
                  <a:spcBef>
                    <a:spcPct val="0"/>
                  </a:spcBef>
                  <a:spcAft>
                    <a:spcPct val="0"/>
                  </a:spcAft>
                </a:pPr>
                <a:r>
                  <a:rPr lang="es-CL" sz="6600" b="1" dirty="0" smtClean="0">
                    <a:solidFill>
                      <a:srgbClr val="0093CF"/>
                    </a:solidFill>
                    <a:latin typeface="Arial" pitchFamily="34" charset="0"/>
                  </a:rPr>
                  <a:t>370</a:t>
                </a:r>
                <a:endParaRPr lang="es-CL" sz="6600" b="1" dirty="0">
                  <a:solidFill>
                    <a:srgbClr val="0093CF"/>
                  </a:solidFill>
                  <a:latin typeface="Arial" pitchFamily="34" charset="0"/>
                </a:endParaRPr>
              </a:p>
            </p:txBody>
          </p:sp>
          <p:sp>
            <p:nvSpPr>
              <p:cNvPr id="9" name="Rectangle 34"/>
              <p:cNvSpPr>
                <a:spLocks noChangeArrowheads="1"/>
              </p:cNvSpPr>
              <p:nvPr/>
            </p:nvSpPr>
            <p:spPr bwMode="auto">
              <a:xfrm>
                <a:off x="4591051" y="2337730"/>
                <a:ext cx="1930399" cy="443198"/>
              </a:xfrm>
              <a:prstGeom prst="rect">
                <a:avLst/>
              </a:prstGeom>
              <a:noFill/>
              <a:ln w="9525">
                <a:noFill/>
                <a:miter lim="800000"/>
                <a:headEnd/>
                <a:tailEnd/>
              </a:ln>
              <a:effectLst/>
            </p:spPr>
            <p:txBody>
              <a:bodyPr wrap="square" lIns="0" tIns="0" rIns="0" bIns="0" anchor="ctr">
                <a:spAutoFit/>
              </a:bodyPr>
              <a:lstStyle/>
              <a:p>
                <a:pPr algn="ctr" eaLnBrk="0" fontAlgn="base" hangingPunct="0">
                  <a:lnSpc>
                    <a:spcPct val="90000"/>
                  </a:lnSpc>
                  <a:spcBef>
                    <a:spcPct val="20000"/>
                  </a:spcBef>
                  <a:spcAft>
                    <a:spcPct val="0"/>
                  </a:spcAft>
                </a:pPr>
                <a:r>
                  <a:rPr lang="es-CL" sz="1600" smtClean="0">
                    <a:latin typeface="Arial" pitchFamily="34" charset="0"/>
                    <a:ea typeface="ＭＳ Ｐゴシック" pitchFamily="-109" charset="-128"/>
                  </a:rPr>
                  <a:t>Empleados a lo largo de Chile</a:t>
                </a:r>
                <a:endParaRPr lang="es-CL" sz="1600">
                  <a:latin typeface="Arial" pitchFamily="34" charset="0"/>
                  <a:ea typeface="ＭＳ Ｐゴシック" pitchFamily="-109" charset="-128"/>
                </a:endParaRPr>
              </a:p>
            </p:txBody>
          </p:sp>
        </p:grpSp>
        <p:grpSp>
          <p:nvGrpSpPr>
            <p:cNvPr id="33" name="Group 32"/>
            <p:cNvGrpSpPr/>
            <p:nvPr/>
          </p:nvGrpSpPr>
          <p:grpSpPr>
            <a:xfrm>
              <a:off x="6804248" y="1224930"/>
              <a:ext cx="1943100" cy="1800676"/>
              <a:chOff x="6508750" y="1181100"/>
              <a:chExt cx="1943100" cy="1800676"/>
            </a:xfrm>
          </p:grpSpPr>
          <p:sp>
            <p:nvSpPr>
              <p:cNvPr id="10" name="TextBox 9"/>
              <p:cNvSpPr txBox="1"/>
              <p:nvPr/>
            </p:nvSpPr>
            <p:spPr>
              <a:xfrm>
                <a:off x="6508750" y="1181100"/>
                <a:ext cx="1943100" cy="1015663"/>
              </a:xfrm>
              <a:prstGeom prst="rect">
                <a:avLst/>
              </a:prstGeom>
              <a:noFill/>
            </p:spPr>
            <p:txBody>
              <a:bodyPr wrap="square" lIns="0" tIns="0" rIns="0" bIns="0" rtlCol="0">
                <a:spAutoFit/>
              </a:bodyPr>
              <a:lstStyle/>
              <a:p>
                <a:pPr algn="ctr" fontAlgn="base">
                  <a:spcBef>
                    <a:spcPct val="0"/>
                  </a:spcBef>
                  <a:spcAft>
                    <a:spcPct val="0"/>
                  </a:spcAft>
                </a:pPr>
                <a:r>
                  <a:rPr lang="es-CL" sz="6600" b="1" dirty="0" smtClean="0">
                    <a:solidFill>
                      <a:srgbClr val="0093CF">
                        <a:alpha val="55000"/>
                      </a:srgbClr>
                    </a:solidFill>
                    <a:latin typeface="Arial" pitchFamily="34" charset="0"/>
                  </a:rPr>
                  <a:t>56%</a:t>
                </a:r>
                <a:endParaRPr lang="es-CL" sz="6600" b="1" dirty="0">
                  <a:solidFill>
                    <a:srgbClr val="0093CF">
                      <a:alpha val="55000"/>
                    </a:srgbClr>
                  </a:solidFill>
                  <a:latin typeface="Arial" pitchFamily="34" charset="0"/>
                </a:endParaRPr>
              </a:p>
            </p:txBody>
          </p:sp>
          <p:sp>
            <p:nvSpPr>
              <p:cNvPr id="11" name="Rectangle 34"/>
              <p:cNvSpPr>
                <a:spLocks noChangeArrowheads="1"/>
              </p:cNvSpPr>
              <p:nvPr/>
            </p:nvSpPr>
            <p:spPr bwMode="auto">
              <a:xfrm>
                <a:off x="6515101" y="2316979"/>
                <a:ext cx="1936749" cy="664797"/>
              </a:xfrm>
              <a:prstGeom prst="rect">
                <a:avLst/>
              </a:prstGeom>
              <a:noFill/>
              <a:ln w="9525">
                <a:noFill/>
                <a:miter lim="800000"/>
                <a:headEnd/>
                <a:tailEnd/>
              </a:ln>
              <a:effectLst/>
            </p:spPr>
            <p:txBody>
              <a:bodyPr wrap="square" lIns="0" tIns="0" rIns="0" bIns="0" anchor="ctr">
                <a:spAutoFit/>
              </a:bodyPr>
              <a:lstStyle/>
              <a:p>
                <a:pPr algn="ctr" eaLnBrk="0" fontAlgn="base" hangingPunct="0">
                  <a:lnSpc>
                    <a:spcPct val="90000"/>
                  </a:lnSpc>
                  <a:spcBef>
                    <a:spcPct val="20000"/>
                  </a:spcBef>
                  <a:spcAft>
                    <a:spcPct val="0"/>
                  </a:spcAft>
                </a:pPr>
                <a:r>
                  <a:rPr lang="es-CL" sz="1600" smtClean="0">
                    <a:latin typeface="Arial" pitchFamily="34" charset="0"/>
                    <a:ea typeface="ＭＳ Ｐゴシック" pitchFamily="-109" charset="-128"/>
                  </a:rPr>
                  <a:t>Porcentaje de mujeres en el total de empleados</a:t>
                </a:r>
                <a:endParaRPr lang="es-CL" sz="1600">
                  <a:latin typeface="Arial" pitchFamily="34" charset="0"/>
                  <a:ea typeface="ＭＳ Ｐゴシック" pitchFamily="-109" charset="-128"/>
                </a:endParaRPr>
              </a:p>
            </p:txBody>
          </p:sp>
        </p:grpSp>
        <p:cxnSp>
          <p:nvCxnSpPr>
            <p:cNvPr id="13" name="Straight Connector 12"/>
            <p:cNvCxnSpPr/>
            <p:nvPr/>
          </p:nvCxnSpPr>
          <p:spPr>
            <a:xfrm rot="5400000">
              <a:off x="1456599" y="2292854"/>
              <a:ext cx="1767895" cy="1588"/>
            </a:xfrm>
            <a:prstGeom prst="line">
              <a:avLst/>
            </a:prstGeom>
            <a:ln w="12700" cap="flat" cmpd="sng" algn="ctr">
              <a:solidFill>
                <a:srgbClr val="006699"/>
              </a:solidFill>
              <a:prstDash val="dot"/>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rot="5400000">
              <a:off x="3630633" y="2292854"/>
              <a:ext cx="1767895" cy="1588"/>
            </a:xfrm>
            <a:prstGeom prst="line">
              <a:avLst/>
            </a:prstGeom>
            <a:ln w="12700" cap="flat" cmpd="sng" algn="ctr">
              <a:solidFill>
                <a:srgbClr val="006699"/>
              </a:solidFill>
              <a:prstDash val="dot"/>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rot="5400000">
              <a:off x="5840295" y="2292854"/>
              <a:ext cx="1767895" cy="1588"/>
            </a:xfrm>
            <a:prstGeom prst="line">
              <a:avLst/>
            </a:prstGeom>
            <a:ln w="12700" cap="flat" cmpd="sng" algn="ctr">
              <a:solidFill>
                <a:srgbClr val="006699"/>
              </a:solidFill>
              <a:prstDash val="dot"/>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31" name="Group 30"/>
            <p:cNvGrpSpPr/>
            <p:nvPr/>
          </p:nvGrpSpPr>
          <p:grpSpPr>
            <a:xfrm>
              <a:off x="2433646" y="1334704"/>
              <a:ext cx="1930400" cy="1470329"/>
              <a:chOff x="2654300" y="1181100"/>
              <a:chExt cx="1930400" cy="1470329"/>
            </a:xfrm>
          </p:grpSpPr>
          <p:sp>
            <p:nvSpPr>
              <p:cNvPr id="4" name="Rectangle 34"/>
              <p:cNvSpPr>
                <a:spLocks noChangeArrowheads="1"/>
              </p:cNvSpPr>
              <p:nvPr/>
            </p:nvSpPr>
            <p:spPr bwMode="auto">
              <a:xfrm>
                <a:off x="2667000" y="2429830"/>
                <a:ext cx="1917699" cy="221599"/>
              </a:xfrm>
              <a:prstGeom prst="rect">
                <a:avLst/>
              </a:prstGeom>
              <a:noFill/>
              <a:ln w="9525">
                <a:noFill/>
                <a:miter lim="800000"/>
                <a:headEnd/>
                <a:tailEnd/>
              </a:ln>
              <a:effectLst/>
            </p:spPr>
            <p:txBody>
              <a:bodyPr wrap="square" lIns="0" tIns="0" rIns="0" bIns="0" anchor="ctr">
                <a:spAutoFit/>
              </a:bodyPr>
              <a:lstStyle/>
              <a:p>
                <a:pPr algn="ctr" eaLnBrk="0" fontAlgn="base" hangingPunct="0">
                  <a:lnSpc>
                    <a:spcPct val="90000"/>
                  </a:lnSpc>
                  <a:spcBef>
                    <a:spcPct val="20000"/>
                  </a:spcBef>
                  <a:spcAft>
                    <a:spcPct val="0"/>
                  </a:spcAft>
                </a:pPr>
                <a:r>
                  <a:rPr lang="es-CL" sz="1600" dirty="0" smtClean="0">
                    <a:latin typeface="Arial" pitchFamily="34" charset="0"/>
                    <a:ea typeface="ＭＳ Ｐゴシック" pitchFamily="-109" charset="-128"/>
                  </a:rPr>
                  <a:t>Nacionalidades</a:t>
                </a:r>
                <a:endParaRPr lang="es-CL" sz="1600" dirty="0">
                  <a:latin typeface="Arial" pitchFamily="34" charset="0"/>
                  <a:ea typeface="ＭＳ Ｐゴシック" pitchFamily="-109" charset="-128"/>
                </a:endParaRPr>
              </a:p>
            </p:txBody>
          </p:sp>
          <p:sp>
            <p:nvSpPr>
              <p:cNvPr id="7" name="TextBox 6"/>
              <p:cNvSpPr txBox="1"/>
              <p:nvPr/>
            </p:nvSpPr>
            <p:spPr>
              <a:xfrm>
                <a:off x="2654300" y="1181100"/>
                <a:ext cx="1930400" cy="1015663"/>
              </a:xfrm>
              <a:prstGeom prst="rect">
                <a:avLst/>
              </a:prstGeom>
              <a:noFill/>
            </p:spPr>
            <p:txBody>
              <a:bodyPr wrap="square" lIns="0" tIns="0" rIns="0" bIns="0" rtlCol="0">
                <a:spAutoFit/>
              </a:bodyPr>
              <a:lstStyle/>
              <a:p>
                <a:pPr algn="ctr" fontAlgn="base">
                  <a:spcBef>
                    <a:spcPct val="0"/>
                  </a:spcBef>
                  <a:spcAft>
                    <a:spcPct val="0"/>
                  </a:spcAft>
                </a:pPr>
                <a:r>
                  <a:rPr lang="es-CL" sz="6600" b="1" dirty="0" smtClean="0">
                    <a:solidFill>
                      <a:srgbClr val="0093CF">
                        <a:alpha val="55000"/>
                      </a:srgbClr>
                    </a:solidFill>
                    <a:latin typeface="Arial" pitchFamily="34" charset="0"/>
                  </a:rPr>
                  <a:t>18</a:t>
                </a:r>
                <a:endParaRPr lang="es-CL" sz="6600" b="1" dirty="0">
                  <a:solidFill>
                    <a:srgbClr val="0093CF">
                      <a:alpha val="55000"/>
                    </a:srgbClr>
                  </a:solidFill>
                  <a:latin typeface="Arial" pitchFamily="34" charset="0"/>
                </a:endParaRPr>
              </a:p>
            </p:txBody>
          </p:sp>
        </p:grpSp>
      </p:grpSp>
      <p:grpSp>
        <p:nvGrpSpPr>
          <p:cNvPr id="39" name="Group 38"/>
          <p:cNvGrpSpPr/>
          <p:nvPr/>
        </p:nvGrpSpPr>
        <p:grpSpPr>
          <a:xfrm>
            <a:off x="323528" y="3938140"/>
            <a:ext cx="8555136" cy="2227164"/>
            <a:chOff x="323528" y="3897052"/>
            <a:chExt cx="8555136" cy="2227164"/>
          </a:xfrm>
        </p:grpSpPr>
        <p:grpSp>
          <p:nvGrpSpPr>
            <p:cNvPr id="35" name="Group 34"/>
            <p:cNvGrpSpPr/>
            <p:nvPr/>
          </p:nvGrpSpPr>
          <p:grpSpPr>
            <a:xfrm>
              <a:off x="2529219" y="3935403"/>
              <a:ext cx="1925363" cy="2078416"/>
              <a:chOff x="2652203" y="3901716"/>
              <a:chExt cx="1925363" cy="2078416"/>
            </a:xfrm>
          </p:grpSpPr>
          <p:sp>
            <p:nvSpPr>
              <p:cNvPr id="17" name="Rectangle 16"/>
              <p:cNvSpPr/>
              <p:nvPr/>
            </p:nvSpPr>
            <p:spPr>
              <a:xfrm>
                <a:off x="2667947" y="5044491"/>
                <a:ext cx="1909619" cy="935641"/>
              </a:xfrm>
              <a:prstGeom prst="rect">
                <a:avLst/>
              </a:prstGeom>
            </p:spPr>
            <p:txBody>
              <a:bodyPr wrap="square" lIns="0" tIns="0" rIns="0" bIns="0">
                <a:spAutoFit/>
              </a:bodyPr>
              <a:lstStyle/>
              <a:p>
                <a:pPr algn="ctr" eaLnBrk="0" fontAlgn="base" hangingPunct="0">
                  <a:lnSpc>
                    <a:spcPct val="90000"/>
                  </a:lnSpc>
                  <a:spcBef>
                    <a:spcPct val="20000"/>
                  </a:spcBef>
                  <a:spcAft>
                    <a:spcPct val="0"/>
                  </a:spcAft>
                </a:pPr>
                <a:r>
                  <a:rPr lang="es-CL" sz="1600" dirty="0" smtClean="0">
                    <a:latin typeface="Arial" pitchFamily="34" charset="0"/>
                  </a:rPr>
                  <a:t>Centros Médicos han realizado estudios para Pfizer.</a:t>
                </a:r>
              </a:p>
              <a:p>
                <a:pPr algn="ctr" eaLnBrk="0" fontAlgn="base" hangingPunct="0">
                  <a:lnSpc>
                    <a:spcPct val="90000"/>
                  </a:lnSpc>
                  <a:spcBef>
                    <a:spcPct val="20000"/>
                  </a:spcBef>
                  <a:spcAft>
                    <a:spcPct val="0"/>
                  </a:spcAft>
                </a:pPr>
                <a:r>
                  <a:rPr lang="es-CL" sz="1600" dirty="0" smtClean="0">
                    <a:latin typeface="Arial" pitchFamily="34" charset="0"/>
                    <a:ea typeface="ＭＳ Ｐゴシック" pitchFamily="-109" charset="-128"/>
                  </a:rPr>
                  <a:t>Actualmente 49</a:t>
                </a:r>
                <a:endParaRPr lang="es-CL" sz="1600" dirty="0">
                  <a:latin typeface="Arial" pitchFamily="34" charset="0"/>
                  <a:ea typeface="ＭＳ Ｐゴシック" pitchFamily="-109" charset="-128"/>
                </a:endParaRPr>
              </a:p>
            </p:txBody>
          </p:sp>
          <p:sp>
            <p:nvSpPr>
              <p:cNvPr id="18" name="TextBox 17"/>
              <p:cNvSpPr txBox="1"/>
              <p:nvPr/>
            </p:nvSpPr>
            <p:spPr>
              <a:xfrm>
                <a:off x="2652203" y="3901716"/>
                <a:ext cx="1920247" cy="1015663"/>
              </a:xfrm>
              <a:prstGeom prst="rect">
                <a:avLst/>
              </a:prstGeom>
              <a:noFill/>
            </p:spPr>
            <p:txBody>
              <a:bodyPr wrap="square" lIns="0" tIns="0" rIns="0" bIns="0" rtlCol="0">
                <a:spAutoFit/>
              </a:bodyPr>
              <a:lstStyle/>
              <a:p>
                <a:pPr algn="ctr" fontAlgn="base">
                  <a:spcBef>
                    <a:spcPct val="0"/>
                  </a:spcBef>
                  <a:spcAft>
                    <a:spcPct val="0"/>
                  </a:spcAft>
                </a:pPr>
                <a:r>
                  <a:rPr lang="es-CL" sz="6600" b="1" dirty="0" smtClean="0">
                    <a:solidFill>
                      <a:srgbClr val="0093CF"/>
                    </a:solidFill>
                    <a:latin typeface="Arial" pitchFamily="34" charset="0"/>
                  </a:rPr>
                  <a:t>114</a:t>
                </a:r>
                <a:endParaRPr lang="es-CL" sz="6600" b="1" dirty="0">
                  <a:solidFill>
                    <a:srgbClr val="0093CF"/>
                  </a:solidFill>
                  <a:latin typeface="Arial" pitchFamily="34" charset="0"/>
                </a:endParaRPr>
              </a:p>
            </p:txBody>
          </p:sp>
        </p:grpSp>
        <p:grpSp>
          <p:nvGrpSpPr>
            <p:cNvPr id="34" name="Group 33"/>
            <p:cNvGrpSpPr/>
            <p:nvPr/>
          </p:nvGrpSpPr>
          <p:grpSpPr>
            <a:xfrm>
              <a:off x="323528" y="3971308"/>
              <a:ext cx="1930400" cy="1735763"/>
              <a:chOff x="680519" y="3901716"/>
              <a:chExt cx="1930400" cy="1735763"/>
            </a:xfrm>
          </p:grpSpPr>
          <p:sp>
            <p:nvSpPr>
              <p:cNvPr id="16" name="Rectangle 34"/>
              <p:cNvSpPr>
                <a:spLocks noChangeArrowheads="1"/>
              </p:cNvSpPr>
              <p:nvPr/>
            </p:nvSpPr>
            <p:spPr bwMode="auto">
              <a:xfrm>
                <a:off x="686870" y="4898815"/>
                <a:ext cx="1917699" cy="738664"/>
              </a:xfrm>
              <a:prstGeom prst="rect">
                <a:avLst/>
              </a:prstGeom>
              <a:noFill/>
              <a:ln w="9525">
                <a:noFill/>
                <a:miter lim="800000"/>
                <a:headEnd/>
                <a:tailEnd/>
              </a:ln>
              <a:effectLst/>
            </p:spPr>
            <p:txBody>
              <a:bodyPr wrap="square" lIns="0" tIns="0" rIns="0" bIns="0" anchor="ctr">
                <a:spAutoFit/>
              </a:bodyPr>
              <a:lstStyle/>
              <a:p>
                <a:pPr fontAlgn="base">
                  <a:spcBef>
                    <a:spcPct val="0"/>
                  </a:spcBef>
                  <a:spcAft>
                    <a:spcPct val="0"/>
                  </a:spcAft>
                </a:pPr>
                <a:r>
                  <a:rPr lang="es-CL" sz="1600" dirty="0" smtClean="0">
                    <a:latin typeface="Arial" pitchFamily="34" charset="0"/>
                  </a:rPr>
                  <a:t>Estudios Clínicos realizándose en el Chile</a:t>
                </a:r>
                <a:endParaRPr lang="es-CL" sz="1600" dirty="0">
                  <a:latin typeface="Arial" pitchFamily="34" charset="0"/>
                </a:endParaRPr>
              </a:p>
            </p:txBody>
          </p:sp>
          <p:sp>
            <p:nvSpPr>
              <p:cNvPr id="19" name="TextBox 18"/>
              <p:cNvSpPr txBox="1"/>
              <p:nvPr/>
            </p:nvSpPr>
            <p:spPr>
              <a:xfrm>
                <a:off x="680519" y="3901716"/>
                <a:ext cx="1930400" cy="1015663"/>
              </a:xfrm>
              <a:prstGeom prst="rect">
                <a:avLst/>
              </a:prstGeom>
              <a:noFill/>
            </p:spPr>
            <p:txBody>
              <a:bodyPr wrap="square" lIns="0" tIns="0" rIns="0" bIns="0" rtlCol="0">
                <a:spAutoFit/>
              </a:bodyPr>
              <a:lstStyle/>
              <a:p>
                <a:pPr algn="ctr" fontAlgn="base">
                  <a:spcBef>
                    <a:spcPct val="0"/>
                  </a:spcBef>
                  <a:spcAft>
                    <a:spcPct val="0"/>
                  </a:spcAft>
                </a:pPr>
                <a:r>
                  <a:rPr lang="es-CL" sz="6600" b="1" dirty="0" smtClean="0">
                    <a:solidFill>
                      <a:srgbClr val="0093CF">
                        <a:alpha val="55000"/>
                      </a:srgbClr>
                    </a:solidFill>
                    <a:latin typeface="Arial" pitchFamily="34" charset="0"/>
                  </a:rPr>
                  <a:t>13</a:t>
                </a:r>
                <a:endParaRPr lang="es-CL" sz="6600" b="1" dirty="0">
                  <a:solidFill>
                    <a:srgbClr val="0093CF">
                      <a:alpha val="55000"/>
                    </a:srgbClr>
                  </a:solidFill>
                  <a:latin typeface="Arial" pitchFamily="34" charset="0"/>
                </a:endParaRPr>
              </a:p>
            </p:txBody>
          </p:sp>
        </p:grpSp>
        <p:cxnSp>
          <p:nvCxnSpPr>
            <p:cNvPr id="21" name="Straight Connector 20"/>
            <p:cNvCxnSpPr/>
            <p:nvPr/>
          </p:nvCxnSpPr>
          <p:spPr>
            <a:xfrm rot="5400000">
              <a:off x="1343596" y="5126472"/>
              <a:ext cx="1993900" cy="1588"/>
            </a:xfrm>
            <a:prstGeom prst="line">
              <a:avLst/>
            </a:prstGeom>
            <a:ln w="12700" cap="flat" cmpd="sng" algn="ctr">
              <a:solidFill>
                <a:srgbClr val="006699"/>
              </a:solidFill>
              <a:prstDash val="dot"/>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rot="5400000">
              <a:off x="3581798" y="5126472"/>
              <a:ext cx="1993900" cy="1588"/>
            </a:xfrm>
            <a:prstGeom prst="line">
              <a:avLst/>
            </a:prstGeom>
            <a:ln w="12700" cap="flat" cmpd="sng" algn="ctr">
              <a:solidFill>
                <a:srgbClr val="006699"/>
              </a:solidFill>
              <a:prstDash val="dot"/>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rot="5400000">
              <a:off x="5662488" y="5126472"/>
              <a:ext cx="1993900" cy="1588"/>
            </a:xfrm>
            <a:prstGeom prst="line">
              <a:avLst/>
            </a:prstGeom>
            <a:ln w="12700" cap="flat" cmpd="sng" algn="ctr">
              <a:solidFill>
                <a:srgbClr val="006699"/>
              </a:solidFill>
              <a:prstDash val="dot"/>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36" name="Group 35"/>
            <p:cNvGrpSpPr/>
            <p:nvPr/>
          </p:nvGrpSpPr>
          <p:grpSpPr>
            <a:xfrm>
              <a:off x="4729873" y="4014811"/>
              <a:ext cx="1943100" cy="1648757"/>
              <a:chOff x="4531330" y="4027985"/>
              <a:chExt cx="1943100" cy="1648757"/>
            </a:xfrm>
          </p:grpSpPr>
          <p:sp>
            <p:nvSpPr>
              <p:cNvPr id="25" name="TextBox 24"/>
              <p:cNvSpPr txBox="1"/>
              <p:nvPr/>
            </p:nvSpPr>
            <p:spPr>
              <a:xfrm>
                <a:off x="4531330" y="4182637"/>
                <a:ext cx="1943100" cy="677108"/>
              </a:xfrm>
              <a:prstGeom prst="rect">
                <a:avLst/>
              </a:prstGeom>
              <a:noFill/>
            </p:spPr>
            <p:txBody>
              <a:bodyPr wrap="square" lIns="0" tIns="0" rIns="0" bIns="0" rtlCol="0">
                <a:spAutoFit/>
              </a:bodyPr>
              <a:lstStyle/>
              <a:p>
                <a:pPr algn="ctr" fontAlgn="base">
                  <a:spcBef>
                    <a:spcPct val="0"/>
                  </a:spcBef>
                  <a:spcAft>
                    <a:spcPct val="0"/>
                  </a:spcAft>
                </a:pPr>
                <a:r>
                  <a:rPr lang="es-CL" sz="4400" b="1" smtClean="0">
                    <a:solidFill>
                      <a:srgbClr val="0093CF"/>
                    </a:solidFill>
                    <a:latin typeface="Arial" pitchFamily="34" charset="0"/>
                  </a:rPr>
                  <a:t>1.060</a:t>
                </a:r>
                <a:endParaRPr lang="es-CL" sz="4400" b="1">
                  <a:solidFill>
                    <a:srgbClr val="0093CF"/>
                  </a:solidFill>
                  <a:latin typeface="Arial" pitchFamily="34" charset="0"/>
                </a:endParaRPr>
              </a:p>
            </p:txBody>
          </p:sp>
          <p:sp>
            <p:nvSpPr>
              <p:cNvPr id="26" name="Rectangle 25"/>
              <p:cNvSpPr>
                <a:spLocks noChangeArrowheads="1"/>
              </p:cNvSpPr>
              <p:nvPr/>
            </p:nvSpPr>
            <p:spPr bwMode="auto">
              <a:xfrm>
                <a:off x="4656206" y="5011945"/>
                <a:ext cx="1750944" cy="664797"/>
              </a:xfrm>
              <a:prstGeom prst="rect">
                <a:avLst/>
              </a:prstGeom>
              <a:noFill/>
              <a:ln w="9525">
                <a:noFill/>
                <a:miter lim="800000"/>
                <a:headEnd/>
                <a:tailEnd/>
              </a:ln>
              <a:effectLst/>
            </p:spPr>
            <p:txBody>
              <a:bodyPr wrap="square" lIns="0" tIns="0" rIns="0" bIns="0" anchor="ctr">
                <a:spAutoFit/>
              </a:bodyPr>
              <a:lstStyle/>
              <a:p>
                <a:pPr algn="ctr" eaLnBrk="0" fontAlgn="base" hangingPunct="0">
                  <a:lnSpc>
                    <a:spcPct val="90000"/>
                  </a:lnSpc>
                  <a:spcBef>
                    <a:spcPct val="20000"/>
                  </a:spcBef>
                  <a:spcAft>
                    <a:spcPct val="0"/>
                  </a:spcAft>
                </a:pPr>
                <a:r>
                  <a:rPr lang="es-CL" sz="1600" smtClean="0">
                    <a:latin typeface="Arial" pitchFamily="34" charset="0"/>
                  </a:rPr>
                  <a:t>Voluntarios enrolados en los  estudios clínicos</a:t>
                </a:r>
                <a:endParaRPr lang="es-CL" sz="1600">
                  <a:latin typeface="Arial" pitchFamily="34" charset="0"/>
                  <a:ea typeface="ＭＳ Ｐゴシック" pitchFamily="-109" charset="-128"/>
                </a:endParaRPr>
              </a:p>
            </p:txBody>
          </p:sp>
          <p:sp>
            <p:nvSpPr>
              <p:cNvPr id="27" name="Rectangle 34"/>
              <p:cNvSpPr>
                <a:spLocks noChangeArrowheads="1"/>
              </p:cNvSpPr>
              <p:nvPr/>
            </p:nvSpPr>
            <p:spPr bwMode="auto">
              <a:xfrm>
                <a:off x="4703778" y="4027985"/>
                <a:ext cx="1581150" cy="197490"/>
              </a:xfrm>
              <a:prstGeom prst="rect">
                <a:avLst/>
              </a:prstGeom>
              <a:noFill/>
              <a:ln w="9525">
                <a:noFill/>
                <a:miter lim="800000"/>
                <a:headEnd/>
                <a:tailEnd/>
              </a:ln>
              <a:effectLst/>
            </p:spPr>
            <p:txBody>
              <a:bodyPr wrap="square" lIns="0" tIns="0" rIns="0" bIns="0" anchor="ctr">
                <a:spAutoFit/>
              </a:bodyPr>
              <a:lstStyle/>
              <a:p>
                <a:pPr eaLnBrk="0" fontAlgn="base" hangingPunct="0">
                  <a:lnSpc>
                    <a:spcPct val="90000"/>
                  </a:lnSpc>
                  <a:spcBef>
                    <a:spcPct val="20000"/>
                  </a:spcBef>
                  <a:spcAft>
                    <a:spcPct val="0"/>
                  </a:spcAft>
                </a:pPr>
                <a:r>
                  <a:rPr lang="es-CL" sz="1400" b="1" dirty="0" smtClean="0">
                    <a:solidFill>
                      <a:srgbClr val="0093CF"/>
                    </a:solidFill>
                    <a:ea typeface="ＭＳ Ｐゴシック" pitchFamily="-109" charset="-128"/>
                  </a:rPr>
                  <a:t>MÁS DE</a:t>
                </a:r>
                <a:endParaRPr lang="es-CL" sz="1400" b="1" dirty="0">
                  <a:solidFill>
                    <a:srgbClr val="0093CF"/>
                  </a:solidFill>
                  <a:latin typeface="Arial" pitchFamily="34" charset="0"/>
                  <a:ea typeface="ＭＳ Ｐゴシック" pitchFamily="-109" charset="-128"/>
                </a:endParaRPr>
              </a:p>
            </p:txBody>
          </p:sp>
        </p:grpSp>
        <p:grpSp>
          <p:nvGrpSpPr>
            <p:cNvPr id="37" name="Group 36"/>
            <p:cNvGrpSpPr/>
            <p:nvPr/>
          </p:nvGrpSpPr>
          <p:grpSpPr>
            <a:xfrm>
              <a:off x="6948264" y="3897052"/>
              <a:ext cx="1930400" cy="1884274"/>
              <a:chOff x="6687619" y="3952516"/>
              <a:chExt cx="1930400" cy="1884274"/>
            </a:xfrm>
          </p:grpSpPr>
          <p:sp>
            <p:nvSpPr>
              <p:cNvPr id="28" name="Rectangle 34"/>
              <p:cNvSpPr>
                <a:spLocks noChangeArrowheads="1"/>
              </p:cNvSpPr>
              <p:nvPr/>
            </p:nvSpPr>
            <p:spPr bwMode="auto">
              <a:xfrm>
                <a:off x="6693970" y="4851905"/>
                <a:ext cx="1917699" cy="984885"/>
              </a:xfrm>
              <a:prstGeom prst="rect">
                <a:avLst/>
              </a:prstGeom>
              <a:noFill/>
              <a:ln w="9525">
                <a:noFill/>
                <a:miter lim="800000"/>
                <a:headEnd/>
                <a:tailEnd/>
              </a:ln>
              <a:effectLst/>
            </p:spPr>
            <p:txBody>
              <a:bodyPr wrap="square" lIns="0" tIns="0" rIns="0" bIns="0" anchor="ctr">
                <a:spAutoFit/>
              </a:bodyPr>
              <a:lstStyle/>
              <a:p>
                <a:pPr fontAlgn="base">
                  <a:spcBef>
                    <a:spcPct val="0"/>
                  </a:spcBef>
                  <a:spcAft>
                    <a:spcPct val="0"/>
                  </a:spcAft>
                </a:pPr>
                <a:r>
                  <a:rPr lang="es-CL" sz="1600" dirty="0" smtClean="0">
                    <a:latin typeface="Arial" pitchFamily="34" charset="0"/>
                  </a:rPr>
                  <a:t>Centro Internacional de Excelencia en Medicina de Precisión en </a:t>
                </a:r>
                <a:r>
                  <a:rPr lang="es-CL" sz="1600" dirty="0" err="1" smtClean="0">
                    <a:latin typeface="Arial" pitchFamily="34" charset="0"/>
                  </a:rPr>
                  <a:t>Latam</a:t>
                </a:r>
                <a:endParaRPr lang="es-CL" sz="1600" dirty="0">
                  <a:latin typeface="Arial" pitchFamily="34" charset="0"/>
                </a:endParaRPr>
              </a:p>
            </p:txBody>
          </p:sp>
          <p:sp>
            <p:nvSpPr>
              <p:cNvPr id="29" name="TextBox 28"/>
              <p:cNvSpPr txBox="1"/>
              <p:nvPr/>
            </p:nvSpPr>
            <p:spPr>
              <a:xfrm>
                <a:off x="6687619" y="3952516"/>
                <a:ext cx="1930400" cy="1015663"/>
              </a:xfrm>
              <a:prstGeom prst="rect">
                <a:avLst/>
              </a:prstGeom>
              <a:noFill/>
            </p:spPr>
            <p:txBody>
              <a:bodyPr wrap="square" lIns="0" tIns="0" rIns="0" bIns="0" rtlCol="0">
                <a:spAutoFit/>
              </a:bodyPr>
              <a:lstStyle/>
              <a:p>
                <a:pPr algn="ctr" fontAlgn="base">
                  <a:spcBef>
                    <a:spcPct val="0"/>
                  </a:spcBef>
                  <a:spcAft>
                    <a:spcPct val="0"/>
                  </a:spcAft>
                </a:pPr>
                <a:r>
                  <a:rPr lang="es-CL" sz="6600" b="1" dirty="0" smtClean="0">
                    <a:solidFill>
                      <a:srgbClr val="0093CF">
                        <a:alpha val="55000"/>
                      </a:srgbClr>
                    </a:solidFill>
                  </a:rPr>
                  <a:t>1°</a:t>
                </a:r>
                <a:endParaRPr lang="es-CL" sz="6600" b="1" dirty="0">
                  <a:solidFill>
                    <a:srgbClr val="0093CF">
                      <a:alpha val="55000"/>
                    </a:srgbClr>
                  </a:solidFill>
                  <a:latin typeface="Arial" pitchFamily="34" charset="0"/>
                </a:endParaRPr>
              </a:p>
            </p:txBody>
          </p:sp>
        </p:grpSp>
      </p:grpSp>
    </p:spTree>
    <p:extLst>
      <p:ext uri="{BB962C8B-B14F-4D97-AF65-F5344CB8AC3E}">
        <p14:creationId xmlns:p14="http://schemas.microsoft.com/office/powerpoint/2010/main" val="31294484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YxoD8qBH.0.RdIGaPyI_r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QdKcgLDdhUORapdVfTUyE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zB4Tx2_mzUGSdqPySZG.t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HJnCv7pJ5E6X3BR.7dHzC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6w8A1msJP0SLGxzBICX8F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1Ak3j9LUU0yNJRoPJ7HZV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OAfllEjUtkmByJSF8Ype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L9G_taLiUK_mHwGrjpQh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dj3czj4sWke5h9qXqR9kw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XbMroaXb6kOW7lQUV_juR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IMKG9vyeoEWUICic4G._I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lRcDOYaw3EWiiWnjBaefo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cti4k.KrXkuNLyFj3eL3p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PG9.Sra5zk2SvJZP4BPZM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fT7edFcDY0WEimZGsM86i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R5qPHHqEe0iB0kvXcR4So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8hnZbo1cMUe4.JNjTbeiK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SxitzCKtG0iETl2qMy4pD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7qK.Twjy_U.yE4_XYCeZU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2MRC.kbnB0aWNEWDjfOeP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WzX_rCs8SUijmsM86Wgv7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z535jPvcXE.b52Ei373tH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YbnyOfnYPUiGUR1T7f6dU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rmGIqS46HEqOuOtJXTfdp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ZuvAR1xi0amMJ9_rzbEr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n3lwQyvrb0qxYvHwmid0E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YuNvDsMmZ0S8OFvpkeDj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Bpr62OGBG0m8.TqLOtRDJ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5UeMjnwlM0.1HIr_fh1Wa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SlRU.FUgUi8pLa5NzQbP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mThDl1ieSkC2890IUzgb.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pgXJnDonCUKR.F5YKDUa5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pIwbY5xrvEiNfR06n04QE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7R8RN5.AXEOcteBJazCQ5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vbKCAKsO.Emtp2qIk0FpY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4no..Sde5U2cr.NL_4a2W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BSdKkDKpKEyotgb4niZnm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_HkhUvxDiU.t2lfX5VqE1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hBVBlf_iT0Ojnb0Eo2EBY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_.GS5mKuUqb0GJ5GePdS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gSXTO_iolECbg_V5JR_B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CYWCC._QbUSsJ_h61T4Ou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baTigiaW_EKR_7HTZA.JE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2k_0D.zT1kqwxKgFzsZ0v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XliSywhFDU6R.q9tBEk5.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znBkcBxm60qx8COhUIK7q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OYus9GbDke3KACcLhID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b_zC.YvNl0Ka3OrMgJSkg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AFj52MO0aoSX4IA3F9f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ZOUcOyd_wkGgDwWbdY1FN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gWohfUEsUyz0ubR.B3po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AfLY7WU2pUaLxb3Gb3zMb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zf9YBEfa0ki61JIFnGRRB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AVELXla6.kGAPSQR6J0fJ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FNMTKiG.8UeL3JmcQkiE3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Q9ADcWbbPkONSCleYIbBI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T53552w4gUKSt8zHXYdi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pHGwUF9QfUSiuj_BLoUhz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BJ2RyHFrXUqs.eV_Rfoyx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D9jp0RwxgkmfrUVj82Kew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mm.k1rgY20.A4Q.x1I0SX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k6OH.uO5gkqxq_tSFkRa1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0gDhxYd70qoEZ.dkQtM7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okB651ZdA0Gd9aw7zFk7Z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L8GTlQ1Y2EG7jXN3xhSpT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zcfuD45av0ejJYpT75v9V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I_9eTU8NY0iGkfJlpqc3v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8hnZbo1cMUe4.JNjTbeiK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PU5ewT_11EuVQ87ehJ4ZY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9l4BwH7xEU697SNfim332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qC3sP1oGiEebMNHfgp92W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TfOyhQlMhkSZ3atAw7F6v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PpzEEuFkVES1EBM1tezFr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qz8wddhJHEWP3R4XJgp.G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aGP48DJ_zEuGSzqVeOORU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mERqWJU42UWhQj5xuo5qz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XXkexw6hOUiLZ5agvmxu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bvc0iYk_zUK.ecLct5pGH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tc.ewGp3KkCTK4aF6mqc1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UOByIc6bmUuSVCb2KL2zl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Yx.rIvJ8k0SUK1WSeegfD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CoO2JGwL8UehozcJLLS61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__VTeqczCUGzqIGa9K1TO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aFrm1CyKukKZnhEizZzhQ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P2w_5YISsky9uCCpQCIlg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EjhjqhPZsU6YUd6tJNxa0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RdP.PZ.KWE2vI1AwVfHBw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PODmquu0vkyCPneup6fLE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bQgNMA.QqEeelX0GEntOi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QTpV9RjhqUKtDgKuZ4Kno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zRasjNvsQEeSvDqpuUBTC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mqIGw5s02yEtHC5w8yZ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SzO.2ZmawUGkP8HQXfkaC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1wf_J9Y6Ck.tZ2ZSBWtkWg"/>
</p:tagLst>
</file>

<file path=ppt/tags/tag217.xml><?xml version="1.0" encoding="utf-8"?>
<p:tagLst xmlns:a="http://schemas.openxmlformats.org/drawingml/2006/main" xmlns:r="http://schemas.openxmlformats.org/officeDocument/2006/relationships" xmlns:p="http://schemas.openxmlformats.org/presentationml/2006/main">
  <p:tag name="PICTUREPATH" val="..\..\PNGS\LAYER 15.PNG"/>
  <p:tag name="PSDSOURCE" val="F:\Users\the Mayor\Documents\Work\ZERO 6\_Jobs\GLM 2011\D3_AM1_Dolsten\"/>
  <p:tag name="PSDSOURCELAYER" val="Layer 15"/>
</p:tagLst>
</file>

<file path=ppt/tags/tag218.xml><?xml version="1.0" encoding="utf-8"?>
<p:tagLst xmlns:a="http://schemas.openxmlformats.org/drawingml/2006/main" xmlns:r="http://schemas.openxmlformats.org/officeDocument/2006/relationships" xmlns:p="http://schemas.openxmlformats.org/presentationml/2006/main">
  <p:tag name="PICTUREPATH" val="..\PNGS\LAYER 18.PNG"/>
  <p:tag name="PSDSOURCE" val="F:\Users\the Mayor\Documents\Work\ZERO 6\_Jobs\GLM 2011\D3_AM1_Dolsten\"/>
  <p:tag name="PSDSOURCELAYER" val="Layer 18"/>
</p:tagLst>
</file>

<file path=ppt/tags/tag219.xml><?xml version="1.0" encoding="utf-8"?>
<p:tagLst xmlns:a="http://schemas.openxmlformats.org/drawingml/2006/main" xmlns:r="http://schemas.openxmlformats.org/officeDocument/2006/relationships" xmlns:p="http://schemas.openxmlformats.org/presentationml/2006/main">
  <p:tag name="PICTUREPATH" val="..\PNGS\LAYER 16.PNG"/>
  <p:tag name="PSDSOURCE" val="F:\Users\the Mayor\Documents\Work\ZERO 6\_Jobs\GLM 2011\D3_AM1_Dolsten\"/>
  <p:tag name="PSDSOURCELAYER" val="Layer 16"/>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xOoUPSI54kS48aHKQM8Ux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xOoUPSI54kS48aHKQM8Ux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xoD8qBH.0.RdIGaPyI_r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xoD8qBH.0.RdIGaPyI_r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dKcgLDdhUORapdVfTUyE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B4Tx2_mzUGSdqPySZG.t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YxoD8qBH.0.RdIGaPyI_r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QdKcgLDdhUORapdVfTUyE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B4Tx2_mzUGSdqPySZG.t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YxoD8qBH.0.RdIGaPyI_r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fMCAClyfkiwiK.yHvI_X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dX4avtw4G0uZp.9LMaGC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02Vru1nRvkC9KavHeq5th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QdKcgLDdhUORapdVfTUy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zB4Tx2_mzUGSdqPySZG.tg"/>
</p:tagLst>
</file>

<file path=ppt/theme/theme1.xml><?xml version="1.0" encoding="utf-8"?>
<a:theme xmlns:a="http://schemas.openxmlformats.org/drawingml/2006/main" name="2_PFE WYE PMI format">
  <a:themeElements>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fontScheme name="PFE WYE PMI format">
      <a:majorFont>
        <a:latin typeface="Trebuchet MS"/>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Pfizer">
  <a:themeElements>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fontScheme name="PFE WYE PMI format">
      <a:majorFont>
        <a:latin typeface="Trebuchet MS"/>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PFE WYE PMI format">
  <a:themeElements>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fontScheme name="PFE WYE PMI format">
      <a:majorFont>
        <a:latin typeface="Trebuchet MS"/>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Pfizer">
  <a:themeElements>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fontScheme name="PFE WYE PMI format">
      <a:majorFont>
        <a:latin typeface="Trebuchet MS"/>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PFE WYE PMI format">
  <a:themeElements>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fontScheme name="PFE WYE PMI format">
      <a:majorFont>
        <a:latin typeface="Trebuchet MS"/>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gradFill rotWithShape="1">
          <a:gsLst>
            <a:gs pos="0">
              <a:schemeClr val="tx2"/>
            </a:gs>
            <a:gs pos="50000">
              <a:srgbClr val="B2B2B2"/>
            </a:gs>
            <a:gs pos="100000">
              <a:schemeClr val="tx2"/>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009900"/>
          </a:buClr>
          <a:buSzTx/>
          <a:buFont typeface="Arial" charset="0"/>
          <a:buChar char="–"/>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PFE WYE PMI format 1">
        <a:dk1>
          <a:srgbClr val="003366"/>
        </a:dk1>
        <a:lt1>
          <a:srgbClr val="FFFFFF"/>
        </a:lt1>
        <a:dk2>
          <a:srgbClr val="003366"/>
        </a:dk2>
        <a:lt2>
          <a:srgbClr val="666666"/>
        </a:lt2>
        <a:accent1>
          <a:srgbClr val="E2E2E2"/>
        </a:accent1>
        <a:accent2>
          <a:srgbClr val="CAE4FF"/>
        </a:accent2>
        <a:accent3>
          <a:srgbClr val="FFFFFF"/>
        </a:accent3>
        <a:accent4>
          <a:srgbClr val="002A56"/>
        </a:accent4>
        <a:accent5>
          <a:srgbClr val="EEEEEE"/>
        </a:accent5>
        <a:accent6>
          <a:srgbClr val="B7CFE7"/>
        </a:accent6>
        <a:hlink>
          <a:srgbClr val="2B5CA3"/>
        </a:hlink>
        <a:folHlink>
          <a:srgbClr val="398AE9"/>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Pfizer CEM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spPr>
      <a:bodyPr wrap="square">
        <a:spAutoFit/>
      </a:bodyPr>
      <a:lstStyle>
        <a:defPPr>
          <a:buClr>
            <a:srgbClr val="F79646"/>
          </a:buClr>
          <a:defRPr sz="3600" dirty="0" err="1" smtClean="0">
            <a:solidFill>
              <a:prstClr val="white"/>
            </a:solidFill>
            <a:latin typeface="Arial"/>
            <a:cs typeface="Arial"/>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1611</TotalTime>
  <Words>2372</Words>
  <Application>Microsoft Macintosh PowerPoint</Application>
  <PresentationFormat>On-screen Show (4:3)</PresentationFormat>
  <Paragraphs>377</Paragraphs>
  <Slides>36</Slides>
  <Notes>14</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36</vt:i4>
      </vt:variant>
    </vt:vector>
  </HeadingPairs>
  <TitlesOfParts>
    <vt:vector size="43" baseType="lpstr">
      <vt:lpstr>2_PFE WYE PMI format</vt:lpstr>
      <vt:lpstr>Pfizer</vt:lpstr>
      <vt:lpstr>3_PFE WYE PMI format</vt:lpstr>
      <vt:lpstr>1_Pfizer</vt:lpstr>
      <vt:lpstr>4_PFE WYE PMI format</vt:lpstr>
      <vt:lpstr>Pfizer CEMP</vt:lpstr>
      <vt:lpstr>think-cell Slide</vt:lpstr>
      <vt:lpstr>PowerPoint Presentation</vt:lpstr>
      <vt:lpstr>PowerPoint Presentation</vt:lpstr>
      <vt:lpstr>Platform: Research &amp; Development </vt:lpstr>
      <vt:lpstr>Our Commitments</vt:lpstr>
      <vt:lpstr>R&amp;D Focus</vt:lpstr>
      <vt:lpstr>PowerPoint Presentation</vt:lpstr>
      <vt:lpstr>A Comprehensive Turn-Around Strategy is Underway</vt:lpstr>
      <vt:lpstr>PowerPoint Presentation</vt:lpstr>
      <vt:lpstr>Pfizer en Chile</vt:lpstr>
      <vt:lpstr>PowerPoint Presentation</vt:lpstr>
      <vt:lpstr>PowerPoint Presentation</vt:lpstr>
      <vt:lpstr>Instituciones vinculadas</vt:lpstr>
      <vt:lpstr>Instituciones vinculadas</vt:lpstr>
      <vt:lpstr>Líneas de Investigación</vt:lpstr>
      <vt:lpstr>PowerPoint Presentation</vt:lpstr>
      <vt:lpstr>PowerPoint Presentation</vt:lpstr>
      <vt:lpstr>PowerPoint Presentation</vt:lpstr>
      <vt:lpstr>DNA sequencing</vt:lpstr>
      <vt:lpstr>Human Genome</vt:lpstr>
      <vt:lpstr>PowerPoint Presentation</vt:lpstr>
      <vt:lpstr>PowerPoint Presentation</vt:lpstr>
      <vt:lpstr>PowerPoint Presentation</vt:lpstr>
      <vt:lpstr>PowerPoint Presentation</vt:lpstr>
      <vt:lpstr>PowerPoint Presentation</vt:lpstr>
      <vt:lpstr>PowerPoint Presentation</vt:lpstr>
      <vt:lpstr>Líneas de Investigación</vt:lpstr>
      <vt:lpstr>Líneas de Investigación</vt:lpstr>
      <vt:lpstr>Líneas de Investigación</vt:lpstr>
      <vt:lpstr>PowerPoint Presentation</vt:lpstr>
      <vt:lpstr>Redes de colaboración</vt:lpstr>
      <vt:lpstr>Acuerdos Estratégicos</vt:lpstr>
      <vt:lpstr>PowerPoint Presentation</vt:lpstr>
      <vt:lpstr>Visión de mediano y largo plazo</vt:lpstr>
      <vt:lpstr>PowerPoint Presentation</vt:lpstr>
      <vt:lpstr>PowerPoint Presentation</vt:lpstr>
      <vt:lpstr>PowerPoint Presentation</vt:lpstr>
    </vt:vector>
  </TitlesOfParts>
  <Company>Pfizer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ALDOG04</dc:creator>
  <cp:lastModifiedBy>Ricardo Armisen</cp:lastModifiedBy>
  <cp:revision>563</cp:revision>
  <dcterms:created xsi:type="dcterms:W3CDTF">2014-08-26T15:25:56Z</dcterms:created>
  <dcterms:modified xsi:type="dcterms:W3CDTF">2016-05-31T03:10:43Z</dcterms:modified>
</cp:coreProperties>
</file>